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3" r:id="rId1"/>
  </p:sldMasterIdLst>
  <p:notesMasterIdLst>
    <p:notesMasterId r:id="rId16"/>
  </p:notesMasterIdLst>
  <p:handoutMasterIdLst>
    <p:handoutMasterId r:id="rId17"/>
  </p:handoutMasterIdLst>
  <p:sldIdLst>
    <p:sldId id="256" r:id="rId2"/>
    <p:sldId id="262" r:id="rId3"/>
    <p:sldId id="284" r:id="rId4"/>
    <p:sldId id="264" r:id="rId5"/>
    <p:sldId id="266" r:id="rId6"/>
    <p:sldId id="285" r:id="rId7"/>
    <p:sldId id="289" r:id="rId8"/>
    <p:sldId id="287" r:id="rId9"/>
    <p:sldId id="288" r:id="rId10"/>
    <p:sldId id="291" r:id="rId11"/>
    <p:sldId id="292" r:id="rId12"/>
    <p:sldId id="294" r:id="rId13"/>
    <p:sldId id="281" r:id="rId14"/>
    <p:sldId id="282" r:id="rId15"/>
  </p:sldIdLst>
  <p:sldSz cx="9906000" cy="6858000" type="A4"/>
  <p:notesSz cx="9947275" cy="6858000"/>
  <p:custDataLst>
    <p:tags r:id="rId18"/>
  </p:custDataLst>
  <p:defaultTex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285"/>
    <a:srgbClr val="FFC000"/>
    <a:srgbClr val="00B050"/>
    <a:srgbClr val="1F4E79"/>
    <a:srgbClr val="4778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586"/>
    <p:restoredTop sz="57527" autoAdjust="0"/>
  </p:normalViewPr>
  <p:slideViewPr>
    <p:cSldViewPr snapToGrid="0" snapToObjects="1">
      <p:cViewPr varScale="1">
        <p:scale>
          <a:sx n="66" d="100"/>
          <a:sy n="66" d="100"/>
        </p:scale>
        <p:origin x="3210" y="60"/>
      </p:cViewPr>
      <p:guideLst>
        <p:guide orient="horz" pos="2160"/>
        <p:guide pos="312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114" d="100"/>
          <a:sy n="114" d="100"/>
        </p:scale>
        <p:origin x="273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10486" cy="344091"/>
          </a:xfrm>
          <a:prstGeom prst="rect">
            <a:avLst/>
          </a:prstGeom>
        </p:spPr>
        <p:txBody>
          <a:bodyPr vert="horz" lIns="91879" tIns="45939" rIns="91879" bIns="45939" rtlCol="0"/>
          <a:lstStyle>
            <a:lvl1pPr algn="l">
              <a:defRPr sz="1200"/>
            </a:lvl1pPr>
          </a:lstStyle>
          <a:p>
            <a:endParaRPr lang="de-DE"/>
          </a:p>
        </p:txBody>
      </p:sp>
      <p:sp>
        <p:nvSpPr>
          <p:cNvPr id="3" name="Datumsplatzhalter 2"/>
          <p:cNvSpPr>
            <a:spLocks noGrp="1"/>
          </p:cNvSpPr>
          <p:nvPr>
            <p:ph type="dt" sz="quarter" idx="1"/>
          </p:nvPr>
        </p:nvSpPr>
        <p:spPr>
          <a:xfrm>
            <a:off x="5634489" y="0"/>
            <a:ext cx="4310486" cy="344091"/>
          </a:xfrm>
          <a:prstGeom prst="rect">
            <a:avLst/>
          </a:prstGeom>
        </p:spPr>
        <p:txBody>
          <a:bodyPr vert="horz" lIns="91879" tIns="45939" rIns="91879" bIns="45939" rtlCol="0"/>
          <a:lstStyle>
            <a:lvl1pPr algn="r">
              <a:defRPr sz="1200"/>
            </a:lvl1pPr>
          </a:lstStyle>
          <a:p>
            <a:fld id="{D236357F-7628-405D-8AC2-ABDE658EA0D7}" type="datetimeFigureOut">
              <a:rPr lang="de-DE" smtClean="0"/>
              <a:pPr/>
              <a:t>11.10.2019</a:t>
            </a:fld>
            <a:endParaRPr lang="de-DE"/>
          </a:p>
        </p:txBody>
      </p:sp>
      <p:sp>
        <p:nvSpPr>
          <p:cNvPr id="4" name="Fußzeilenplatzhalter 3"/>
          <p:cNvSpPr>
            <a:spLocks noGrp="1"/>
          </p:cNvSpPr>
          <p:nvPr>
            <p:ph type="ftr" sz="quarter" idx="2"/>
          </p:nvPr>
        </p:nvSpPr>
        <p:spPr>
          <a:xfrm>
            <a:off x="1" y="6513910"/>
            <a:ext cx="4310486" cy="344091"/>
          </a:xfrm>
          <a:prstGeom prst="rect">
            <a:avLst/>
          </a:prstGeom>
        </p:spPr>
        <p:txBody>
          <a:bodyPr vert="horz" lIns="91879" tIns="45939" rIns="91879" bIns="45939" rtlCol="0" anchor="b"/>
          <a:lstStyle>
            <a:lvl1pPr algn="l">
              <a:defRPr sz="1200"/>
            </a:lvl1pPr>
          </a:lstStyle>
          <a:p>
            <a:endParaRPr lang="de-DE"/>
          </a:p>
        </p:txBody>
      </p:sp>
      <p:sp>
        <p:nvSpPr>
          <p:cNvPr id="5" name="Foliennummernplatzhalter 4"/>
          <p:cNvSpPr>
            <a:spLocks noGrp="1"/>
          </p:cNvSpPr>
          <p:nvPr>
            <p:ph type="sldNum" sz="quarter" idx="3"/>
          </p:nvPr>
        </p:nvSpPr>
        <p:spPr>
          <a:xfrm>
            <a:off x="5634489" y="6513910"/>
            <a:ext cx="4310486" cy="344091"/>
          </a:xfrm>
          <a:prstGeom prst="rect">
            <a:avLst/>
          </a:prstGeom>
        </p:spPr>
        <p:txBody>
          <a:bodyPr vert="horz" lIns="91879" tIns="45939" rIns="91879" bIns="45939" rtlCol="0" anchor="b"/>
          <a:lstStyle>
            <a:lvl1pPr algn="r">
              <a:defRPr sz="1200"/>
            </a:lvl1pPr>
          </a:lstStyle>
          <a:p>
            <a:fld id="{C64ED3EE-3BF1-450D-9132-B5052DEC936D}" type="slidenum">
              <a:rPr lang="de-DE" smtClean="0"/>
              <a:pPr/>
              <a:t>‹#›</a:t>
            </a:fld>
            <a:endParaRPr lang="de-DE"/>
          </a:p>
        </p:txBody>
      </p:sp>
    </p:spTree>
    <p:extLst>
      <p:ext uri="{BB962C8B-B14F-4D97-AF65-F5344CB8AC3E}">
        <p14:creationId xmlns:p14="http://schemas.microsoft.com/office/powerpoint/2010/main" val="33067877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4310486" cy="344091"/>
          </a:xfrm>
          <a:prstGeom prst="rect">
            <a:avLst/>
          </a:prstGeom>
        </p:spPr>
        <p:txBody>
          <a:bodyPr vert="horz" lIns="91879" tIns="45939" rIns="91879" bIns="45939" rtlCol="0"/>
          <a:lstStyle>
            <a:lvl1pPr algn="l">
              <a:defRPr sz="1200"/>
            </a:lvl1pPr>
          </a:lstStyle>
          <a:p>
            <a:endParaRPr lang="es-ES_tradnl"/>
          </a:p>
        </p:txBody>
      </p:sp>
      <p:sp>
        <p:nvSpPr>
          <p:cNvPr id="3" name="Marcador de fecha 2"/>
          <p:cNvSpPr>
            <a:spLocks noGrp="1"/>
          </p:cNvSpPr>
          <p:nvPr>
            <p:ph type="dt" idx="1"/>
          </p:nvPr>
        </p:nvSpPr>
        <p:spPr>
          <a:xfrm>
            <a:off x="5634489" y="0"/>
            <a:ext cx="4310486" cy="344091"/>
          </a:xfrm>
          <a:prstGeom prst="rect">
            <a:avLst/>
          </a:prstGeom>
        </p:spPr>
        <p:txBody>
          <a:bodyPr vert="horz" lIns="91879" tIns="45939" rIns="91879" bIns="45939" rtlCol="0"/>
          <a:lstStyle>
            <a:lvl1pPr algn="r">
              <a:defRPr sz="1200"/>
            </a:lvl1pPr>
          </a:lstStyle>
          <a:p>
            <a:fld id="{4C6A39CC-D849-854A-BDFC-1F0C2764A241}" type="datetimeFigureOut">
              <a:rPr lang="es-ES_tradnl" smtClean="0"/>
              <a:pPr/>
              <a:t>11/10/2019</a:t>
            </a:fld>
            <a:endParaRPr lang="es-ES_tradnl"/>
          </a:p>
        </p:txBody>
      </p:sp>
      <p:sp>
        <p:nvSpPr>
          <p:cNvPr id="4" name="Marcador de imagen de diapositiva 3"/>
          <p:cNvSpPr>
            <a:spLocks noGrp="1" noRot="1" noChangeAspect="1"/>
          </p:cNvSpPr>
          <p:nvPr>
            <p:ph type="sldImg" idx="2"/>
          </p:nvPr>
        </p:nvSpPr>
        <p:spPr>
          <a:xfrm>
            <a:off x="3303588" y="858838"/>
            <a:ext cx="3340100" cy="2312987"/>
          </a:xfrm>
          <a:prstGeom prst="rect">
            <a:avLst/>
          </a:prstGeom>
          <a:noFill/>
          <a:ln w="12700">
            <a:solidFill>
              <a:prstClr val="black"/>
            </a:solidFill>
          </a:ln>
        </p:spPr>
        <p:txBody>
          <a:bodyPr vert="horz" lIns="91879" tIns="45939" rIns="91879" bIns="45939" rtlCol="0" anchor="ctr"/>
          <a:lstStyle/>
          <a:p>
            <a:endParaRPr lang="es-ES_tradnl"/>
          </a:p>
        </p:txBody>
      </p:sp>
      <p:sp>
        <p:nvSpPr>
          <p:cNvPr id="5" name="Marcador de notas 4"/>
          <p:cNvSpPr>
            <a:spLocks noGrp="1"/>
          </p:cNvSpPr>
          <p:nvPr>
            <p:ph type="body" sz="quarter" idx="3"/>
          </p:nvPr>
        </p:nvSpPr>
        <p:spPr>
          <a:xfrm>
            <a:off x="994729" y="3300413"/>
            <a:ext cx="7957820" cy="2700338"/>
          </a:xfrm>
          <a:prstGeom prst="rect">
            <a:avLst/>
          </a:prstGeom>
        </p:spPr>
        <p:txBody>
          <a:bodyPr vert="horz" lIns="91879" tIns="45939" rIns="91879" bIns="45939"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_tradnl"/>
          </a:p>
        </p:txBody>
      </p:sp>
      <p:sp>
        <p:nvSpPr>
          <p:cNvPr id="6" name="Marcador de pie de página 5"/>
          <p:cNvSpPr>
            <a:spLocks noGrp="1"/>
          </p:cNvSpPr>
          <p:nvPr>
            <p:ph type="ftr" sz="quarter" idx="4"/>
          </p:nvPr>
        </p:nvSpPr>
        <p:spPr>
          <a:xfrm>
            <a:off x="1" y="6513910"/>
            <a:ext cx="4310486" cy="344091"/>
          </a:xfrm>
          <a:prstGeom prst="rect">
            <a:avLst/>
          </a:prstGeom>
        </p:spPr>
        <p:txBody>
          <a:bodyPr vert="horz" lIns="91879" tIns="45939" rIns="91879" bIns="45939" rtlCol="0" anchor="b"/>
          <a:lstStyle>
            <a:lvl1pPr algn="l">
              <a:defRPr sz="1200"/>
            </a:lvl1pPr>
          </a:lstStyle>
          <a:p>
            <a:endParaRPr lang="es-ES_tradnl"/>
          </a:p>
        </p:txBody>
      </p:sp>
      <p:sp>
        <p:nvSpPr>
          <p:cNvPr id="7" name="Marcador de número de diapositiva 6"/>
          <p:cNvSpPr>
            <a:spLocks noGrp="1"/>
          </p:cNvSpPr>
          <p:nvPr>
            <p:ph type="sldNum" sz="quarter" idx="5"/>
          </p:nvPr>
        </p:nvSpPr>
        <p:spPr>
          <a:xfrm>
            <a:off x="5634489" y="6513910"/>
            <a:ext cx="4310486" cy="344091"/>
          </a:xfrm>
          <a:prstGeom prst="rect">
            <a:avLst/>
          </a:prstGeom>
        </p:spPr>
        <p:txBody>
          <a:bodyPr vert="horz" lIns="91879" tIns="45939" rIns="91879" bIns="45939" rtlCol="0" anchor="b"/>
          <a:lstStyle>
            <a:lvl1pPr algn="r">
              <a:defRPr sz="1200"/>
            </a:lvl1pPr>
          </a:lstStyle>
          <a:p>
            <a:fld id="{BC06A0BF-FDB6-BF4D-811F-5B86A7118020}" type="slidenum">
              <a:rPr lang="es-ES_tradnl" smtClean="0"/>
              <a:pPr/>
              <a:t>‹#›</a:t>
            </a:fld>
            <a:endParaRPr lang="es-ES_tradnl"/>
          </a:p>
        </p:txBody>
      </p:sp>
    </p:spTree>
    <p:extLst>
      <p:ext uri="{BB962C8B-B14F-4D97-AF65-F5344CB8AC3E}">
        <p14:creationId xmlns:p14="http://schemas.microsoft.com/office/powerpoint/2010/main" val="321162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a:t>
            </a:r>
            <a:r>
              <a:rPr lang="hu-HU" dirty="0" err="1"/>
              <a:t>short</a:t>
            </a:r>
            <a:r>
              <a:rPr lang="hu-HU" dirty="0"/>
              <a:t> </a:t>
            </a:r>
            <a:r>
              <a:rPr lang="hu-HU" dirty="0" err="1"/>
              <a:t>overview</a:t>
            </a:r>
            <a:r>
              <a:rPr lang="hu-HU" baseline="0" dirty="0"/>
              <a:t> </a:t>
            </a:r>
            <a:r>
              <a:rPr lang="hu-HU" baseline="0" dirty="0" err="1"/>
              <a:t>on</a:t>
            </a:r>
            <a:r>
              <a:rPr lang="hu-HU" baseline="0" dirty="0"/>
              <a:t> </a:t>
            </a:r>
            <a:r>
              <a:rPr lang="hu-HU" baseline="0" dirty="0" err="1"/>
              <a:t>the</a:t>
            </a:r>
            <a:r>
              <a:rPr lang="hu-HU" baseline="0" dirty="0"/>
              <a:t> ENRICH </a:t>
            </a:r>
            <a:r>
              <a:rPr lang="hu-HU" baseline="0" dirty="0" err="1"/>
              <a:t>in</a:t>
            </a:r>
            <a:r>
              <a:rPr lang="hu-HU" baseline="0" dirty="0"/>
              <a:t> Brazil centre / CEBRABIC project </a:t>
            </a:r>
            <a:endParaRPr lang="hu-HU" dirty="0"/>
          </a:p>
        </p:txBody>
      </p:sp>
      <p:sp>
        <p:nvSpPr>
          <p:cNvPr id="4" name="Dia számának helye 3"/>
          <p:cNvSpPr>
            <a:spLocks noGrp="1"/>
          </p:cNvSpPr>
          <p:nvPr>
            <p:ph type="sldNum" sz="quarter" idx="10"/>
          </p:nvPr>
        </p:nvSpPr>
        <p:spPr/>
        <p:txBody>
          <a:bodyPr/>
          <a:lstStyle/>
          <a:p>
            <a:fld id="{BC06A0BF-FDB6-BF4D-811F-5B86A7118020}" type="slidenum">
              <a:rPr lang="es-ES_tradnl" smtClean="0"/>
              <a:pPr/>
              <a:t>1</a:t>
            </a:fld>
            <a:endParaRPr lang="es-ES_tradnl"/>
          </a:p>
        </p:txBody>
      </p:sp>
    </p:spTree>
    <p:extLst>
      <p:ext uri="{BB962C8B-B14F-4D97-AF65-F5344CB8AC3E}">
        <p14:creationId xmlns:p14="http://schemas.microsoft.com/office/powerpoint/2010/main" val="6305508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normAutofit/>
          </a:bodyPr>
          <a:lstStyle/>
          <a:p>
            <a:r>
              <a:rPr lang="hu-HU" dirty="0" err="1"/>
              <a:t>Some</a:t>
            </a:r>
            <a:r>
              <a:rPr lang="hu-HU" dirty="0"/>
              <a:t> of </a:t>
            </a:r>
            <a:r>
              <a:rPr lang="hu-HU" dirty="0" err="1"/>
              <a:t>the</a:t>
            </a:r>
            <a:r>
              <a:rPr lang="hu-HU" dirty="0"/>
              <a:t> </a:t>
            </a:r>
            <a:r>
              <a:rPr lang="hu-HU" dirty="0" err="1"/>
              <a:t>services</a:t>
            </a:r>
            <a:r>
              <a:rPr lang="hu-HU" dirty="0"/>
              <a:t> -  </a:t>
            </a:r>
            <a:r>
              <a:rPr lang="hu-HU" dirty="0" err="1"/>
              <a:t>delivered</a:t>
            </a:r>
            <a:r>
              <a:rPr lang="hu-HU" dirty="0"/>
              <a:t> </a:t>
            </a:r>
            <a:r>
              <a:rPr lang="hu-HU" baseline="0" dirty="0" err="1"/>
              <a:t>during</a:t>
            </a:r>
            <a:r>
              <a:rPr lang="hu-HU" baseline="0" dirty="0"/>
              <a:t> </a:t>
            </a:r>
            <a:r>
              <a:rPr lang="hu-HU" baseline="0" dirty="0" err="1"/>
              <a:t>the</a:t>
            </a:r>
            <a:r>
              <a:rPr lang="hu-HU" baseline="0" dirty="0"/>
              <a:t> pilot </a:t>
            </a:r>
            <a:r>
              <a:rPr lang="hu-HU" baseline="0" dirty="0" err="1"/>
              <a:t>period</a:t>
            </a:r>
            <a:r>
              <a:rPr lang="hu-HU" baseline="0" dirty="0"/>
              <a:t> free of </a:t>
            </a:r>
            <a:r>
              <a:rPr lang="hu-HU" baseline="0" dirty="0" err="1"/>
              <a:t>charge</a:t>
            </a:r>
            <a:r>
              <a:rPr lang="hu-HU" baseline="0" dirty="0"/>
              <a:t> </a:t>
            </a:r>
            <a:endParaRPr lang="hu-HU" dirty="0"/>
          </a:p>
          <a:p>
            <a:pPr>
              <a:buFontTx/>
              <a:buChar char="-"/>
            </a:pPr>
            <a:r>
              <a:rPr lang="hu-HU" dirty="0"/>
              <a:t> </a:t>
            </a:r>
            <a:r>
              <a:rPr lang="hu-HU" b="1" dirty="0" err="1"/>
              <a:t>Webinar</a:t>
            </a:r>
            <a:r>
              <a:rPr lang="hu-HU" dirty="0"/>
              <a:t> </a:t>
            </a:r>
            <a:r>
              <a:rPr lang="hu-HU" dirty="0" err="1"/>
              <a:t>on</a:t>
            </a:r>
            <a:r>
              <a:rPr lang="hu-HU" dirty="0"/>
              <a:t> </a:t>
            </a:r>
            <a:r>
              <a:rPr lang="hu-HU" dirty="0" err="1"/>
              <a:t>Brazilian</a:t>
            </a:r>
            <a:r>
              <a:rPr lang="hu-HU" baseline="0" dirty="0"/>
              <a:t> </a:t>
            </a:r>
            <a:r>
              <a:rPr lang="hu-HU" baseline="0" dirty="0" err="1"/>
              <a:t>innovation</a:t>
            </a:r>
            <a:r>
              <a:rPr lang="hu-HU" baseline="0" dirty="0"/>
              <a:t> </a:t>
            </a:r>
            <a:r>
              <a:rPr lang="hu-HU" baseline="0" dirty="0" err="1"/>
              <a:t>ecosystem</a:t>
            </a:r>
            <a:r>
              <a:rPr lang="hu-HU" baseline="0" dirty="0"/>
              <a:t>  </a:t>
            </a:r>
          </a:p>
          <a:p>
            <a:pPr>
              <a:buFontTx/>
              <a:buChar char="-"/>
            </a:pPr>
            <a:r>
              <a:rPr lang="hu-HU" baseline="0" dirty="0"/>
              <a:t> </a:t>
            </a:r>
            <a:r>
              <a:rPr lang="hu-HU" b="1" baseline="0" dirty="0" err="1"/>
              <a:t>Bootcamp</a:t>
            </a:r>
            <a:r>
              <a:rPr lang="hu-HU" baseline="0" dirty="0"/>
              <a:t> </a:t>
            </a:r>
            <a:r>
              <a:rPr lang="hu-HU" baseline="0" dirty="0" err="1"/>
              <a:t>in</a:t>
            </a:r>
            <a:r>
              <a:rPr lang="hu-HU" baseline="0" dirty="0"/>
              <a:t> Malaga, </a:t>
            </a:r>
            <a:r>
              <a:rPr lang="hu-HU" baseline="0" dirty="0" err="1"/>
              <a:t>introducing</a:t>
            </a:r>
            <a:r>
              <a:rPr lang="hu-HU" baseline="0" dirty="0"/>
              <a:t> business </a:t>
            </a:r>
            <a:r>
              <a:rPr lang="hu-HU" baseline="0" dirty="0" err="1"/>
              <a:t>environment</a:t>
            </a:r>
            <a:r>
              <a:rPr lang="hu-HU" baseline="0" dirty="0"/>
              <a:t> </a:t>
            </a:r>
            <a:r>
              <a:rPr lang="hu-HU" baseline="0" dirty="0" err="1"/>
              <a:t>in</a:t>
            </a:r>
            <a:r>
              <a:rPr lang="hu-HU" baseline="0" dirty="0"/>
              <a:t> Brazil, </a:t>
            </a:r>
            <a:r>
              <a:rPr lang="hu-HU" baseline="0" dirty="0" err="1"/>
              <a:t>with</a:t>
            </a:r>
            <a:r>
              <a:rPr lang="hu-HU" baseline="0" dirty="0"/>
              <a:t> </a:t>
            </a:r>
            <a:r>
              <a:rPr lang="hu-HU" baseline="0" dirty="0" err="1"/>
              <a:t>practical</a:t>
            </a:r>
            <a:r>
              <a:rPr lang="hu-HU" baseline="0" dirty="0"/>
              <a:t> </a:t>
            </a:r>
            <a:r>
              <a:rPr lang="hu-HU" baseline="0" dirty="0" err="1"/>
              <a:t>excercises</a:t>
            </a:r>
            <a:r>
              <a:rPr lang="hu-HU" baseline="0" dirty="0"/>
              <a:t>: business </a:t>
            </a:r>
            <a:r>
              <a:rPr lang="hu-HU" baseline="0" dirty="0" err="1"/>
              <a:t>plan</a:t>
            </a:r>
            <a:r>
              <a:rPr lang="hu-HU" baseline="0" dirty="0"/>
              <a:t> </a:t>
            </a:r>
            <a:r>
              <a:rPr lang="hu-HU" baseline="0" dirty="0" err="1"/>
              <a:t>writing</a:t>
            </a:r>
            <a:r>
              <a:rPr lang="hu-HU" baseline="0" dirty="0"/>
              <a:t>, marketing, </a:t>
            </a:r>
            <a:r>
              <a:rPr lang="hu-HU" baseline="0" dirty="0" err="1"/>
              <a:t>legal</a:t>
            </a:r>
            <a:r>
              <a:rPr lang="hu-HU" baseline="0" dirty="0"/>
              <a:t> </a:t>
            </a:r>
            <a:r>
              <a:rPr lang="hu-HU" baseline="0" dirty="0" err="1"/>
              <a:t>advice</a:t>
            </a:r>
            <a:r>
              <a:rPr lang="hu-HU" baseline="0" dirty="0"/>
              <a:t>,  </a:t>
            </a:r>
            <a:r>
              <a:rPr lang="hu-HU" baseline="0" dirty="0" err="1"/>
              <a:t>networking</a:t>
            </a:r>
            <a:r>
              <a:rPr lang="hu-HU" baseline="0" dirty="0"/>
              <a:t> and </a:t>
            </a:r>
            <a:r>
              <a:rPr lang="hu-HU" baseline="0" dirty="0" err="1"/>
              <a:t>pitching</a:t>
            </a:r>
            <a:r>
              <a:rPr lang="hu-HU" baseline="0" dirty="0"/>
              <a:t> session, etc. – </a:t>
            </a:r>
            <a:r>
              <a:rPr lang="hu-HU" baseline="0" dirty="0" err="1"/>
              <a:t>for</a:t>
            </a:r>
            <a:r>
              <a:rPr lang="hu-HU" baseline="0" dirty="0"/>
              <a:t> </a:t>
            </a:r>
            <a:r>
              <a:rPr lang="hu-HU" baseline="0" dirty="0" err="1"/>
              <a:t>researchers</a:t>
            </a:r>
            <a:r>
              <a:rPr lang="hu-HU" baseline="0" dirty="0"/>
              <a:t>, </a:t>
            </a:r>
            <a:r>
              <a:rPr lang="hu-HU" baseline="0" dirty="0" err="1"/>
              <a:t>start-ups</a:t>
            </a:r>
            <a:r>
              <a:rPr lang="hu-HU" baseline="0" dirty="0"/>
              <a:t>… </a:t>
            </a:r>
          </a:p>
          <a:p>
            <a:pPr>
              <a:buFontTx/>
              <a:buChar char="-"/>
            </a:pPr>
            <a:r>
              <a:rPr lang="hu-HU" baseline="0" dirty="0"/>
              <a:t> </a:t>
            </a:r>
            <a:r>
              <a:rPr lang="hu-HU" b="1" baseline="0" dirty="0" err="1"/>
              <a:t>Innovation</a:t>
            </a:r>
            <a:r>
              <a:rPr lang="hu-HU" b="1" baseline="0" dirty="0"/>
              <a:t> </a:t>
            </a:r>
            <a:r>
              <a:rPr lang="hu-HU" b="1" baseline="0" dirty="0" err="1"/>
              <a:t>tour</a:t>
            </a:r>
            <a:r>
              <a:rPr lang="hu-HU" b="1" baseline="0" dirty="0"/>
              <a:t> </a:t>
            </a:r>
            <a:r>
              <a:rPr lang="hu-HU" baseline="0" dirty="0" err="1"/>
              <a:t>to</a:t>
            </a:r>
            <a:r>
              <a:rPr lang="hu-HU" baseline="0" dirty="0"/>
              <a:t> Brazil – </a:t>
            </a:r>
            <a:r>
              <a:rPr lang="hu-HU" baseline="0" dirty="0" err="1"/>
              <a:t>target</a:t>
            </a:r>
            <a:r>
              <a:rPr lang="hu-HU" baseline="0" dirty="0"/>
              <a:t> </a:t>
            </a:r>
            <a:r>
              <a:rPr lang="hu-HU" baseline="0" dirty="0" err="1"/>
              <a:t>group</a:t>
            </a:r>
            <a:r>
              <a:rPr lang="hu-HU" baseline="0" dirty="0"/>
              <a:t>: business </a:t>
            </a:r>
            <a:r>
              <a:rPr lang="hu-HU" baseline="0" dirty="0" err="1"/>
              <a:t>entities</a:t>
            </a:r>
            <a:r>
              <a:rPr lang="hu-HU" baseline="0" dirty="0"/>
              <a:t>, R2M </a:t>
            </a:r>
            <a:r>
              <a:rPr lang="hu-HU" baseline="0" dirty="0" err="1"/>
              <a:t>org</a:t>
            </a:r>
            <a:r>
              <a:rPr lang="hu-HU" baseline="0" dirty="0"/>
              <a:t>., </a:t>
            </a:r>
            <a:r>
              <a:rPr lang="hu-HU" baseline="0" dirty="0" err="1"/>
              <a:t>research</a:t>
            </a:r>
            <a:r>
              <a:rPr lang="hu-HU" baseline="0" dirty="0"/>
              <a:t> </a:t>
            </a:r>
            <a:r>
              <a:rPr lang="hu-HU" baseline="0" dirty="0" err="1"/>
              <a:t>organizations</a:t>
            </a:r>
            <a:endParaRPr lang="hu-HU" baseline="0" dirty="0"/>
          </a:p>
          <a:p>
            <a:pPr>
              <a:buFontTx/>
              <a:buNone/>
            </a:pPr>
            <a:r>
              <a:rPr lang="hu-HU" baseline="0" dirty="0" err="1"/>
              <a:t>Focus</a:t>
            </a:r>
            <a:r>
              <a:rPr lang="hu-HU" baseline="0" dirty="0"/>
              <a:t> </a:t>
            </a:r>
            <a:r>
              <a:rPr lang="hu-HU" baseline="0" dirty="0" err="1"/>
              <a:t>topics</a:t>
            </a:r>
            <a:r>
              <a:rPr lang="hu-HU" baseline="0" dirty="0"/>
              <a:t>: </a:t>
            </a:r>
            <a:r>
              <a:rPr lang="en-US" sz="1200" b="0" i="0" u="none" strike="noStrike" kern="1200" dirty="0" err="1">
                <a:solidFill>
                  <a:schemeClr val="tx1"/>
                </a:solidFill>
                <a:latin typeface="+mn-lt"/>
                <a:ea typeface="+mn-ea"/>
                <a:cs typeface="+mn-cs"/>
              </a:rPr>
              <a:t>Bioeconomy</a:t>
            </a:r>
            <a:r>
              <a:rPr lang="en-US" sz="1200" b="0" i="0" u="none" strike="noStrike" kern="1200" dirty="0">
                <a:solidFill>
                  <a:schemeClr val="tx1"/>
                </a:solidFill>
                <a:latin typeface="+mn-lt"/>
                <a:ea typeface="+mn-ea"/>
                <a:cs typeface="+mn-cs"/>
              </a:rPr>
              <a:t> &amp; Biotechnology, Nanotechnology &amp; Material Science, (</a:t>
            </a:r>
            <a:r>
              <a:rPr lang="hu-HU" sz="1200" b="0" i="0" u="none" strike="noStrike" kern="1200" dirty="0">
                <a:solidFill>
                  <a:schemeClr val="tx1"/>
                </a:solidFill>
                <a:latin typeface="+mn-lt"/>
                <a:ea typeface="+mn-ea"/>
                <a:cs typeface="+mn-cs"/>
              </a:rPr>
              <a:t>r</a:t>
            </a:r>
            <a:r>
              <a:rPr lang="en-US" sz="1200" b="0" i="0" u="none" strike="noStrike" kern="1200" dirty="0" err="1">
                <a:solidFill>
                  <a:schemeClr val="tx1"/>
                </a:solidFill>
                <a:latin typeface="+mn-lt"/>
                <a:ea typeface="+mn-ea"/>
                <a:cs typeface="+mn-cs"/>
              </a:rPr>
              <a:t>enewable</a:t>
            </a:r>
            <a:r>
              <a:rPr lang="en-US" sz="1200" b="0" i="0" u="none" strike="noStrike" kern="1200" dirty="0">
                <a:solidFill>
                  <a:schemeClr val="tx1"/>
                </a:solidFill>
                <a:latin typeface="+mn-lt"/>
                <a:ea typeface="+mn-ea"/>
                <a:cs typeface="+mn-cs"/>
              </a:rPr>
              <a:t>) Energy</a:t>
            </a:r>
            <a:endParaRPr lang="hu-HU" sz="1200" b="0" i="0" u="none" strike="noStrike" kern="1200" dirty="0">
              <a:solidFill>
                <a:schemeClr val="tx1"/>
              </a:solidFill>
              <a:latin typeface="+mn-lt"/>
              <a:ea typeface="+mn-ea"/>
              <a:cs typeface="+mn-cs"/>
            </a:endParaRPr>
          </a:p>
          <a:p>
            <a:pPr>
              <a:buFontTx/>
              <a:buNone/>
            </a:pPr>
            <a:r>
              <a:rPr lang="hu-HU" sz="1200" b="0" i="0" u="none" strike="noStrike" kern="1200" dirty="0" err="1">
                <a:solidFill>
                  <a:schemeClr val="tx1"/>
                </a:solidFill>
                <a:latin typeface="+mn-lt"/>
                <a:ea typeface="+mn-ea"/>
                <a:cs typeface="+mn-cs"/>
              </a:rPr>
              <a:t>Location</a:t>
            </a:r>
            <a:r>
              <a:rPr lang="hu-HU" sz="1200" b="0" i="0" u="none" strike="noStrike" kern="1200" dirty="0">
                <a:solidFill>
                  <a:schemeClr val="tx1"/>
                </a:solidFill>
                <a:latin typeface="+mn-lt"/>
                <a:ea typeface="+mn-ea"/>
                <a:cs typeface="+mn-cs"/>
              </a:rPr>
              <a:t>: </a:t>
            </a:r>
            <a:r>
              <a:rPr lang="pt-BR" sz="1200" b="0" i="0" u="none" strike="noStrike" kern="1200" dirty="0">
                <a:solidFill>
                  <a:schemeClr val="tx1"/>
                </a:solidFill>
                <a:latin typeface="+mn-lt"/>
                <a:ea typeface="+mn-ea"/>
                <a:cs typeface="+mn-cs"/>
              </a:rPr>
              <a:t>Sao Paulo, Belo Horizonte, Rio de Janeiro</a:t>
            </a:r>
            <a:endParaRPr lang="hu-HU" sz="1200" b="0" i="0" u="none" strike="noStrike" kern="1200" dirty="0">
              <a:solidFill>
                <a:schemeClr val="tx1"/>
              </a:solidFill>
              <a:latin typeface="+mn-lt"/>
              <a:ea typeface="+mn-ea"/>
              <a:cs typeface="+mn-cs"/>
            </a:endParaRPr>
          </a:p>
          <a:p>
            <a:pPr>
              <a:buFontTx/>
              <a:buNone/>
            </a:pPr>
            <a:r>
              <a:rPr lang="hu-HU" sz="1200" b="0" i="0" u="none" strike="noStrike" kern="1200" dirty="0" err="1">
                <a:solidFill>
                  <a:schemeClr val="tx1"/>
                </a:solidFill>
                <a:latin typeface="+mn-lt"/>
                <a:ea typeface="+mn-ea"/>
                <a:cs typeface="+mn-cs"/>
              </a:rPr>
              <a:t>Participation</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was</a:t>
            </a:r>
            <a:r>
              <a:rPr lang="hu-HU" sz="1200" b="0" i="0" u="none" strike="noStrike" kern="1200" baseline="0" dirty="0">
                <a:solidFill>
                  <a:schemeClr val="tx1"/>
                </a:solidFill>
                <a:latin typeface="+mn-lt"/>
                <a:ea typeface="+mn-ea"/>
                <a:cs typeface="+mn-cs"/>
              </a:rPr>
              <a:t> free </a:t>
            </a:r>
            <a:r>
              <a:rPr lang="hu-HU" sz="1200" b="0" i="0" u="none" strike="noStrike" kern="1200" baseline="0" dirty="0" err="1">
                <a:solidFill>
                  <a:schemeClr val="tx1"/>
                </a:solidFill>
                <a:latin typeface="+mn-lt"/>
                <a:ea typeface="+mn-ea"/>
                <a:cs typeface="+mn-cs"/>
              </a:rPr>
              <a:t>for</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selected</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participants</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however</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excluding</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travel</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costs</a:t>
            </a:r>
            <a:r>
              <a:rPr lang="hu-HU" sz="1200" b="0" i="0" u="none" strike="noStrike" kern="1200" baseline="0" dirty="0">
                <a:solidFill>
                  <a:schemeClr val="tx1"/>
                </a:solidFill>
                <a:latin typeface="+mn-lt"/>
                <a:ea typeface="+mn-ea"/>
                <a:cs typeface="+mn-cs"/>
              </a:rPr>
              <a:t>. </a:t>
            </a:r>
            <a:endParaRPr lang="hu-HU" dirty="0"/>
          </a:p>
        </p:txBody>
      </p:sp>
      <p:sp>
        <p:nvSpPr>
          <p:cNvPr id="4" name="Dia számának helye 3"/>
          <p:cNvSpPr>
            <a:spLocks noGrp="1"/>
          </p:cNvSpPr>
          <p:nvPr>
            <p:ph type="sldNum" sz="quarter" idx="10"/>
          </p:nvPr>
        </p:nvSpPr>
        <p:spPr/>
        <p:txBody>
          <a:bodyPr/>
          <a:lstStyle/>
          <a:p>
            <a:fld id="{BC06A0BF-FDB6-BF4D-811F-5B86A7118020}" type="slidenum">
              <a:rPr lang="es-ES_tradnl" smtClean="0"/>
              <a:pPr/>
              <a:t>10</a:t>
            </a:fld>
            <a:endParaRPr lang="es-ES_tradnl"/>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normAutofit/>
          </a:bodyPr>
          <a:lstStyle/>
          <a:p>
            <a:r>
              <a:rPr lang="hu-HU" b="1" u="sng" dirty="0"/>
              <a:t>HQ</a:t>
            </a:r>
            <a:r>
              <a:rPr lang="hu-HU" dirty="0"/>
              <a:t> </a:t>
            </a:r>
            <a:r>
              <a:rPr lang="hu-HU" dirty="0" err="1"/>
              <a:t>in</a:t>
            </a:r>
            <a:r>
              <a:rPr lang="hu-HU" dirty="0"/>
              <a:t> </a:t>
            </a:r>
            <a:r>
              <a:rPr lang="hu-HU" dirty="0" err="1"/>
              <a:t>Brasilia</a:t>
            </a:r>
            <a:r>
              <a:rPr lang="hu-HU" dirty="0"/>
              <a:t> – </a:t>
            </a:r>
            <a:r>
              <a:rPr lang="hu-HU" dirty="0" err="1"/>
              <a:t>offices</a:t>
            </a:r>
            <a:r>
              <a:rPr lang="hu-HU" dirty="0"/>
              <a:t> </a:t>
            </a:r>
            <a:r>
              <a:rPr lang="hu-HU" dirty="0" err="1"/>
              <a:t>foreseen</a:t>
            </a:r>
            <a:r>
              <a:rPr lang="hu-HU" dirty="0"/>
              <a:t> </a:t>
            </a:r>
            <a:r>
              <a:rPr lang="hu-HU" dirty="0" err="1"/>
              <a:t>in</a:t>
            </a:r>
            <a:r>
              <a:rPr lang="hu-HU" dirty="0"/>
              <a:t> Sao Paolo</a:t>
            </a:r>
            <a:r>
              <a:rPr lang="hu-HU" baseline="0" dirty="0"/>
              <a:t> and Rio de Janeiro</a:t>
            </a:r>
            <a:endParaRPr lang="hu-HU" dirty="0"/>
          </a:p>
          <a:p>
            <a:r>
              <a:rPr lang="hu-HU" b="1" u="sng" baseline="0" dirty="0"/>
              <a:t>Service </a:t>
            </a:r>
            <a:r>
              <a:rPr lang="hu-HU" b="1" u="sng" baseline="0" dirty="0" err="1"/>
              <a:t>providers</a:t>
            </a:r>
            <a:r>
              <a:rPr lang="hu-HU" baseline="0" dirty="0"/>
              <a:t>: RDI </a:t>
            </a:r>
            <a:r>
              <a:rPr lang="hu-HU" baseline="0" dirty="0" err="1"/>
              <a:t>coaches</a:t>
            </a:r>
            <a:r>
              <a:rPr lang="hu-HU" baseline="0" dirty="0"/>
              <a:t>, </a:t>
            </a:r>
            <a:r>
              <a:rPr lang="hu-HU" baseline="0" dirty="0" err="1"/>
              <a:t>experts</a:t>
            </a:r>
            <a:r>
              <a:rPr lang="hu-HU" baseline="0" dirty="0"/>
              <a:t>, R&amp;I </a:t>
            </a:r>
            <a:r>
              <a:rPr lang="hu-HU" baseline="0" dirty="0" err="1"/>
              <a:t>agents</a:t>
            </a:r>
            <a:r>
              <a:rPr lang="hu-HU" baseline="0" dirty="0"/>
              <a:t>, Business </a:t>
            </a:r>
            <a:r>
              <a:rPr lang="hu-HU" baseline="0" dirty="0" err="1"/>
              <a:t>support</a:t>
            </a:r>
            <a:r>
              <a:rPr lang="hu-HU" baseline="0" dirty="0"/>
              <a:t> </a:t>
            </a:r>
            <a:r>
              <a:rPr lang="hu-HU" baseline="0" dirty="0" err="1"/>
              <a:t>providers</a:t>
            </a:r>
            <a:r>
              <a:rPr lang="hu-HU" baseline="0" dirty="0"/>
              <a:t>, </a:t>
            </a:r>
            <a:r>
              <a:rPr lang="hu-HU" baseline="0" dirty="0" err="1"/>
              <a:t>Legal</a:t>
            </a:r>
            <a:r>
              <a:rPr lang="hu-HU" baseline="0" dirty="0"/>
              <a:t> </a:t>
            </a:r>
            <a:r>
              <a:rPr lang="hu-HU" baseline="0" dirty="0" err="1"/>
              <a:t>experts</a:t>
            </a:r>
            <a:r>
              <a:rPr lang="hu-HU" baseline="0" dirty="0"/>
              <a:t> (STI)</a:t>
            </a:r>
          </a:p>
          <a:p>
            <a:r>
              <a:rPr lang="en-US" dirty="0"/>
              <a:t>Service Providers will offer services under the umbrella of ENRICH in Brazil. </a:t>
            </a:r>
            <a:endParaRPr lang="hu-HU" dirty="0"/>
          </a:p>
          <a:p>
            <a:pPr marL="0" marR="0" indent="0" algn="l" defTabSz="914400" rtl="0" eaLnBrk="1" fontAlgn="auto" latinLnBrk="0" hangingPunct="1">
              <a:lnSpc>
                <a:spcPct val="100000"/>
              </a:lnSpc>
              <a:spcBef>
                <a:spcPts val="0"/>
              </a:spcBef>
              <a:spcAft>
                <a:spcPts val="0"/>
              </a:spcAft>
              <a:buClrTx/>
              <a:buSzTx/>
              <a:buFontTx/>
              <a:buNone/>
              <a:tabLst/>
              <a:defRPr/>
            </a:pPr>
            <a:r>
              <a:rPr lang="hu-HU" b="1" u="sng" dirty="0" err="1"/>
              <a:t>Soft</a:t>
            </a:r>
            <a:r>
              <a:rPr lang="hu-HU" b="1" u="sng" dirty="0"/>
              <a:t> </a:t>
            </a:r>
            <a:r>
              <a:rPr lang="hu-HU" b="1" u="sng" dirty="0" err="1"/>
              <a:t>landing</a:t>
            </a:r>
            <a:r>
              <a:rPr lang="hu-HU" b="1" u="sng" dirty="0"/>
              <a:t> </a:t>
            </a:r>
            <a:r>
              <a:rPr lang="hu-HU" b="1" u="sng" dirty="0" err="1"/>
              <a:t>hubs</a:t>
            </a:r>
            <a:r>
              <a:rPr lang="hu-HU" dirty="0"/>
              <a:t>: </a:t>
            </a:r>
            <a:r>
              <a:rPr lang="hu-HU" dirty="0" err="1"/>
              <a:t>Sci&amp;Technology</a:t>
            </a:r>
            <a:r>
              <a:rPr lang="hu-HU" baseline="0" dirty="0"/>
              <a:t> </a:t>
            </a:r>
            <a:r>
              <a:rPr lang="hu-HU" baseline="0" dirty="0" err="1"/>
              <a:t>parks</a:t>
            </a:r>
            <a:r>
              <a:rPr lang="hu-HU" baseline="0" dirty="0"/>
              <a:t>, Res. </a:t>
            </a:r>
            <a:r>
              <a:rPr lang="hu-HU" baseline="0" dirty="0" err="1"/>
              <a:t>Centres</a:t>
            </a:r>
            <a:r>
              <a:rPr lang="hu-HU" baseline="0" dirty="0"/>
              <a:t>, </a:t>
            </a:r>
            <a:r>
              <a:rPr lang="hu-HU" baseline="0" dirty="0" err="1"/>
              <a:t>Incubators</a:t>
            </a:r>
            <a:r>
              <a:rPr lang="hu-HU" baseline="0" dirty="0"/>
              <a:t>, </a:t>
            </a:r>
            <a:r>
              <a:rPr lang="hu-HU" baseline="0" dirty="0" err="1"/>
              <a:t>Accelerators</a:t>
            </a:r>
            <a:endParaRPr lang="hu-HU" baseline="0" dirty="0"/>
          </a:p>
          <a:p>
            <a:r>
              <a:rPr lang="hu-HU" b="1" u="sng" dirty="0" err="1"/>
              <a:t>Supporters</a:t>
            </a:r>
            <a:r>
              <a:rPr lang="hu-HU" b="1" u="sng" dirty="0"/>
              <a:t> &amp; </a:t>
            </a:r>
            <a:r>
              <a:rPr lang="hu-HU" b="1" u="sng" dirty="0" err="1"/>
              <a:t>Ambassadors</a:t>
            </a:r>
            <a:r>
              <a:rPr lang="hu-HU" dirty="0"/>
              <a:t>: </a:t>
            </a:r>
            <a:r>
              <a:rPr lang="en-US" dirty="0"/>
              <a:t>European and Brazilian organizations interested in engaging with ENRICH in Brazil, as they see synergies and mutual benefits in promoting ENRICH services and activities to their networks. </a:t>
            </a:r>
            <a:endParaRPr lang="hu-HU" dirty="0"/>
          </a:p>
          <a:p>
            <a:r>
              <a:rPr lang="hu-HU" dirty="0" err="1"/>
              <a:t>Government</a:t>
            </a:r>
            <a:r>
              <a:rPr lang="hu-HU" dirty="0"/>
              <a:t> </a:t>
            </a:r>
            <a:r>
              <a:rPr lang="hu-HU" dirty="0" err="1"/>
              <a:t>actors</a:t>
            </a:r>
            <a:r>
              <a:rPr lang="hu-HU" dirty="0"/>
              <a:t> (</a:t>
            </a:r>
            <a:r>
              <a:rPr lang="hu-HU" dirty="0" err="1"/>
              <a:t>funding</a:t>
            </a:r>
            <a:r>
              <a:rPr lang="hu-HU" dirty="0"/>
              <a:t> </a:t>
            </a:r>
            <a:r>
              <a:rPr lang="hu-HU" dirty="0" err="1"/>
              <a:t>agencies</a:t>
            </a:r>
            <a:r>
              <a:rPr lang="hu-HU" dirty="0"/>
              <a:t>, </a:t>
            </a:r>
            <a:r>
              <a:rPr lang="hu-HU" dirty="0" err="1"/>
              <a:t>embassies</a:t>
            </a:r>
            <a:r>
              <a:rPr lang="hu-HU" dirty="0"/>
              <a:t>,</a:t>
            </a:r>
            <a:r>
              <a:rPr lang="hu-HU" baseline="0" dirty="0"/>
              <a:t> </a:t>
            </a:r>
            <a:r>
              <a:rPr lang="hu-HU" baseline="0" dirty="0" err="1"/>
              <a:t>ministries</a:t>
            </a:r>
            <a:r>
              <a:rPr lang="hu-HU" baseline="0" dirty="0"/>
              <a:t>, </a:t>
            </a:r>
            <a:r>
              <a:rPr lang="hu-HU" baseline="0" dirty="0" err="1"/>
              <a:t>etc</a:t>
            </a:r>
            <a:r>
              <a:rPr lang="hu-HU" baseline="0" dirty="0"/>
              <a:t>)</a:t>
            </a:r>
            <a:r>
              <a:rPr lang="hu-HU" dirty="0"/>
              <a:t>, </a:t>
            </a:r>
            <a:r>
              <a:rPr lang="hu-HU" dirty="0" err="1"/>
              <a:t>existing</a:t>
            </a:r>
            <a:r>
              <a:rPr lang="hu-HU" dirty="0"/>
              <a:t> project &amp; </a:t>
            </a:r>
            <a:r>
              <a:rPr lang="hu-HU" dirty="0" err="1"/>
              <a:t>initiatives</a:t>
            </a:r>
            <a:r>
              <a:rPr lang="hu-HU" dirty="0"/>
              <a:t> </a:t>
            </a:r>
            <a:r>
              <a:rPr lang="hu-HU" dirty="0" err="1"/>
              <a:t>funded</a:t>
            </a:r>
            <a:r>
              <a:rPr lang="hu-HU" dirty="0"/>
              <a:t> </a:t>
            </a:r>
            <a:r>
              <a:rPr lang="hu-HU" dirty="0" err="1"/>
              <a:t>by</a:t>
            </a:r>
            <a:r>
              <a:rPr lang="hu-HU" dirty="0"/>
              <a:t> </a:t>
            </a:r>
            <a:r>
              <a:rPr lang="hu-HU" dirty="0" err="1"/>
              <a:t>the</a:t>
            </a:r>
            <a:r>
              <a:rPr lang="hu-HU" dirty="0"/>
              <a:t> EC and </a:t>
            </a:r>
            <a:r>
              <a:rPr lang="hu-HU" dirty="0" err="1"/>
              <a:t>by</a:t>
            </a:r>
            <a:r>
              <a:rPr lang="hu-HU" dirty="0"/>
              <a:t> </a:t>
            </a:r>
            <a:r>
              <a:rPr lang="hu-HU" dirty="0" err="1"/>
              <a:t>brazilian</a:t>
            </a:r>
            <a:r>
              <a:rPr lang="hu-HU" dirty="0"/>
              <a:t> </a:t>
            </a:r>
            <a:r>
              <a:rPr lang="hu-HU" dirty="0" err="1"/>
              <a:t>funding</a:t>
            </a:r>
            <a:r>
              <a:rPr lang="hu-HU" dirty="0"/>
              <a:t> </a:t>
            </a:r>
            <a:r>
              <a:rPr lang="hu-HU" dirty="0" err="1"/>
              <a:t>lines</a:t>
            </a:r>
            <a:r>
              <a:rPr lang="hu-HU" dirty="0"/>
              <a:t>, </a:t>
            </a:r>
            <a:r>
              <a:rPr lang="hu-HU" dirty="0" err="1"/>
              <a:t>networks</a:t>
            </a:r>
            <a:r>
              <a:rPr lang="hu-HU" dirty="0"/>
              <a:t> &amp; nonprofit </a:t>
            </a:r>
            <a:r>
              <a:rPr lang="hu-HU" dirty="0" err="1"/>
              <a:t>organisations</a:t>
            </a:r>
            <a:endParaRPr lang="hu-HU" dirty="0"/>
          </a:p>
          <a:p>
            <a:pPr marL="0" marR="0" indent="0" algn="l" defTabSz="914400" rtl="0" eaLnBrk="1" fontAlgn="auto" latinLnBrk="0" hangingPunct="1">
              <a:lnSpc>
                <a:spcPct val="100000"/>
              </a:lnSpc>
              <a:spcBef>
                <a:spcPts val="0"/>
              </a:spcBef>
              <a:spcAft>
                <a:spcPts val="0"/>
              </a:spcAft>
              <a:buClrTx/>
              <a:buSzTx/>
              <a:buFontTx/>
              <a:buNone/>
              <a:tabLst/>
              <a:defRPr/>
            </a:pPr>
            <a:endParaRPr lang="hu-HU" baseline="0" dirty="0"/>
          </a:p>
          <a:p>
            <a:endParaRPr lang="hu-HU" dirty="0"/>
          </a:p>
        </p:txBody>
      </p:sp>
      <p:sp>
        <p:nvSpPr>
          <p:cNvPr id="4" name="Dia számának helye 3"/>
          <p:cNvSpPr>
            <a:spLocks noGrp="1"/>
          </p:cNvSpPr>
          <p:nvPr>
            <p:ph type="sldNum" sz="quarter" idx="10"/>
          </p:nvPr>
        </p:nvSpPr>
        <p:spPr/>
        <p:txBody>
          <a:bodyPr/>
          <a:lstStyle/>
          <a:p>
            <a:fld id="{BC06A0BF-FDB6-BF4D-811F-5B86A7118020}" type="slidenum">
              <a:rPr lang="es-ES_tradnl" smtClean="0"/>
              <a:pPr/>
              <a:t>11</a:t>
            </a:fld>
            <a:endParaRPr lang="es-ES_tradnl"/>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normAutofit/>
          </a:bodyPr>
          <a:lstStyle/>
          <a:p>
            <a:r>
              <a:rPr lang="hu-HU" dirty="0" err="1"/>
              <a:t>How</a:t>
            </a:r>
            <a:r>
              <a:rPr lang="hu-HU" dirty="0"/>
              <a:t> </a:t>
            </a:r>
            <a:r>
              <a:rPr lang="hu-HU" dirty="0" err="1"/>
              <a:t>you</a:t>
            </a:r>
            <a:r>
              <a:rPr lang="hu-HU" dirty="0"/>
              <a:t> </a:t>
            </a:r>
            <a:r>
              <a:rPr lang="hu-HU" dirty="0" err="1"/>
              <a:t>can</a:t>
            </a:r>
            <a:r>
              <a:rPr lang="hu-HU" dirty="0"/>
              <a:t> </a:t>
            </a:r>
            <a:r>
              <a:rPr lang="hu-HU" dirty="0" err="1"/>
              <a:t>get</a:t>
            </a:r>
            <a:r>
              <a:rPr lang="hu-HU" dirty="0"/>
              <a:t> </a:t>
            </a:r>
            <a:r>
              <a:rPr lang="hu-HU" dirty="0" err="1"/>
              <a:t>involved</a:t>
            </a:r>
            <a:r>
              <a:rPr lang="hu-HU" dirty="0"/>
              <a:t>: </a:t>
            </a:r>
          </a:p>
        </p:txBody>
      </p:sp>
      <p:sp>
        <p:nvSpPr>
          <p:cNvPr id="4" name="Dia számának helye 3"/>
          <p:cNvSpPr>
            <a:spLocks noGrp="1"/>
          </p:cNvSpPr>
          <p:nvPr>
            <p:ph type="sldNum" sz="quarter" idx="10"/>
          </p:nvPr>
        </p:nvSpPr>
        <p:spPr/>
        <p:txBody>
          <a:bodyPr/>
          <a:lstStyle/>
          <a:p>
            <a:fld id="{BC06A0BF-FDB6-BF4D-811F-5B86A7118020}" type="slidenum">
              <a:rPr lang="es-ES_tradnl" smtClean="0"/>
              <a:pPr/>
              <a:t>12</a:t>
            </a:fld>
            <a:endParaRPr lang="es-ES_tradnl"/>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a:p>
        </p:txBody>
      </p:sp>
      <p:sp>
        <p:nvSpPr>
          <p:cNvPr id="4" name="Dia számának helye 3"/>
          <p:cNvSpPr>
            <a:spLocks noGrp="1"/>
          </p:cNvSpPr>
          <p:nvPr>
            <p:ph type="sldNum" sz="quarter" idx="10"/>
          </p:nvPr>
        </p:nvSpPr>
        <p:spPr/>
        <p:txBody>
          <a:bodyPr/>
          <a:lstStyle/>
          <a:p>
            <a:fld id="{BC06A0BF-FDB6-BF4D-811F-5B86A7118020}" type="slidenum">
              <a:rPr lang="es-ES_tradnl" smtClean="0"/>
              <a:pPr/>
              <a:t>13</a:t>
            </a:fld>
            <a:endParaRPr lang="es-ES_tradnl"/>
          </a:p>
        </p:txBody>
      </p:sp>
    </p:spTree>
    <p:extLst>
      <p:ext uri="{BB962C8B-B14F-4D97-AF65-F5344CB8AC3E}">
        <p14:creationId xmlns:p14="http://schemas.microsoft.com/office/powerpoint/2010/main" val="31792613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BC06A0BF-FDB6-BF4D-811F-5B86A7118020}" type="slidenum">
              <a:rPr lang="es-ES_tradnl" smtClean="0"/>
              <a:pPr/>
              <a:t>14</a:t>
            </a:fld>
            <a:endParaRPr lang="es-ES_tradnl"/>
          </a:p>
        </p:txBody>
      </p:sp>
    </p:spTree>
    <p:extLst>
      <p:ext uri="{BB962C8B-B14F-4D97-AF65-F5344CB8AC3E}">
        <p14:creationId xmlns:p14="http://schemas.microsoft.com/office/powerpoint/2010/main" val="2691336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8789">
              <a:defRPr/>
            </a:pPr>
            <a:r>
              <a:rPr lang="en-GB" sz="800" b="1" dirty="0"/>
              <a:t>ENRICH in Brazil</a:t>
            </a:r>
            <a:r>
              <a:rPr lang="en-GB" sz="800" dirty="0"/>
              <a:t> is the </a:t>
            </a:r>
            <a:r>
              <a:rPr lang="en-GB" sz="800" u="sng" dirty="0"/>
              <a:t>European Network of Research and Innovation Centres and Hubs </a:t>
            </a:r>
            <a:r>
              <a:rPr lang="en-GB" sz="800" dirty="0"/>
              <a:t>in Brazil</a:t>
            </a:r>
            <a:r>
              <a:rPr lang="hu-HU" sz="800" dirty="0"/>
              <a:t> – </a:t>
            </a:r>
            <a:r>
              <a:rPr lang="hu-HU" sz="800" dirty="0" err="1"/>
              <a:t>established</a:t>
            </a:r>
            <a:r>
              <a:rPr lang="hu-HU" sz="800" baseline="0" dirty="0"/>
              <a:t> </a:t>
            </a:r>
            <a:r>
              <a:rPr lang="hu-HU" sz="800" baseline="0" dirty="0" err="1"/>
              <a:t>in</a:t>
            </a:r>
            <a:r>
              <a:rPr lang="hu-HU" sz="800" baseline="0" dirty="0"/>
              <a:t> </a:t>
            </a:r>
            <a:r>
              <a:rPr lang="hu-HU" sz="800" baseline="0" dirty="0" err="1"/>
              <a:t>the</a:t>
            </a:r>
            <a:r>
              <a:rPr lang="hu-HU" sz="800" baseline="0" dirty="0"/>
              <a:t> </a:t>
            </a:r>
            <a:r>
              <a:rPr lang="hu-HU" sz="800" baseline="0" dirty="0" err="1"/>
              <a:t>frame</a:t>
            </a:r>
            <a:r>
              <a:rPr lang="hu-HU" sz="800" baseline="0" dirty="0"/>
              <a:t> of </a:t>
            </a:r>
            <a:r>
              <a:rPr lang="hu-HU" sz="800" baseline="0" dirty="0" err="1"/>
              <a:t>the</a:t>
            </a:r>
            <a:r>
              <a:rPr lang="hu-HU" sz="800" baseline="0" dirty="0"/>
              <a:t> </a:t>
            </a:r>
            <a:r>
              <a:rPr lang="hu-HU" sz="800" baseline="0" dirty="0" err="1"/>
              <a:t>Horizon</a:t>
            </a:r>
            <a:r>
              <a:rPr lang="hu-HU" sz="800" baseline="0" dirty="0"/>
              <a:t> 2020 „CEBRABIC” project</a:t>
            </a:r>
            <a:r>
              <a:rPr lang="hu-HU" sz="800" dirty="0">
                <a:solidFill>
                  <a:srgbClr val="FF0000"/>
                </a:solidFill>
              </a:rPr>
              <a:t>,</a:t>
            </a:r>
            <a:r>
              <a:rPr lang="hu-HU" sz="800" baseline="0" dirty="0">
                <a:solidFill>
                  <a:srgbClr val="FF0000"/>
                </a:solidFill>
              </a:rPr>
              <a:t> </a:t>
            </a:r>
            <a:r>
              <a:rPr lang="en-GB" sz="800" dirty="0"/>
              <a:t>working to enhance cooperation in research, technology and entrepreneurship between Europe and Brazil </a:t>
            </a:r>
            <a:r>
              <a:rPr lang="hu-HU" sz="800" dirty="0">
                <a:solidFill>
                  <a:srgbClr val="FF0000"/>
                </a:solidFill>
              </a:rPr>
              <a:t> </a:t>
            </a:r>
          </a:p>
          <a:p>
            <a:pPr defTabSz="918789">
              <a:defRPr/>
            </a:pPr>
            <a:endParaRPr lang="hu-HU" sz="900" dirty="0">
              <a:solidFill>
                <a:srgbClr val="FF0000"/>
              </a:solidFill>
            </a:endParaRPr>
          </a:p>
          <a:p>
            <a:pPr defTabSz="918789">
              <a:defRPr/>
            </a:pPr>
            <a:r>
              <a:rPr lang="hu-HU" sz="900" dirty="0"/>
              <a:t>(</a:t>
            </a:r>
            <a:r>
              <a:rPr lang="en-GB" sz="900" dirty="0"/>
              <a:t>aiming to become the main hub and contact point for European and Brazilian Science, Technology and Innovation Actors. The Centre will encourage and facilitate the cooperation in research, technology and entrepreneurship between Europe and Brazil by supporting and empowering all innovation actors (public &amp; private) along the innovation (value) chain.</a:t>
            </a:r>
            <a:r>
              <a:rPr lang="hu-HU" sz="900" dirty="0"/>
              <a:t>)</a:t>
            </a:r>
          </a:p>
          <a:p>
            <a:endParaRPr lang="de-DE" sz="900" dirty="0"/>
          </a:p>
        </p:txBody>
      </p:sp>
      <p:sp>
        <p:nvSpPr>
          <p:cNvPr id="4" name="Foliennummernplatzhalter 3"/>
          <p:cNvSpPr>
            <a:spLocks noGrp="1"/>
          </p:cNvSpPr>
          <p:nvPr>
            <p:ph type="sldNum" sz="quarter" idx="10"/>
          </p:nvPr>
        </p:nvSpPr>
        <p:spPr/>
        <p:txBody>
          <a:bodyPr/>
          <a:lstStyle/>
          <a:p>
            <a:fld id="{78D44A95-0864-4D09-97DB-38630C4408B8}" type="slidenum">
              <a:rPr lang="en-GB" smtClean="0">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3592366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hu-HU" dirty="0"/>
              <a:t>4 </a:t>
            </a:r>
            <a:r>
              <a:rPr lang="hu-HU" dirty="0" err="1"/>
              <a:t>consortium</a:t>
            </a:r>
            <a:r>
              <a:rPr lang="hu-HU" baseline="0" dirty="0"/>
              <a:t> </a:t>
            </a:r>
            <a:r>
              <a:rPr lang="hu-HU" baseline="0" dirty="0" err="1"/>
              <a:t>members</a:t>
            </a:r>
            <a:r>
              <a:rPr lang="hu-HU" baseline="0" dirty="0"/>
              <a:t> </a:t>
            </a:r>
            <a:r>
              <a:rPr lang="hu-HU" baseline="0" dirty="0" err="1"/>
              <a:t>in</a:t>
            </a:r>
            <a:r>
              <a:rPr lang="hu-HU" baseline="0" dirty="0"/>
              <a:t> Brazil</a:t>
            </a:r>
          </a:p>
          <a:p>
            <a:r>
              <a:rPr lang="hu-HU" baseline="0" dirty="0"/>
              <a:t>8 </a:t>
            </a:r>
            <a:r>
              <a:rPr lang="hu-HU" baseline="0" dirty="0" err="1"/>
              <a:t>in</a:t>
            </a:r>
            <a:r>
              <a:rPr lang="hu-HU" baseline="0" dirty="0"/>
              <a:t> Europe – RCISD </a:t>
            </a:r>
            <a:r>
              <a:rPr lang="hu-HU" baseline="0" dirty="0" err="1"/>
              <a:t>as</a:t>
            </a:r>
            <a:r>
              <a:rPr lang="hu-HU" baseline="0" dirty="0"/>
              <a:t> </a:t>
            </a:r>
            <a:r>
              <a:rPr lang="hu-HU" baseline="0" dirty="0" err="1"/>
              <a:t>only</a:t>
            </a:r>
            <a:r>
              <a:rPr lang="hu-HU" baseline="0" dirty="0"/>
              <a:t> </a:t>
            </a:r>
            <a:r>
              <a:rPr lang="hu-HU" baseline="0" dirty="0" err="1"/>
              <a:t>one</a:t>
            </a:r>
            <a:r>
              <a:rPr lang="hu-HU" baseline="0" dirty="0"/>
              <a:t> </a:t>
            </a:r>
            <a:r>
              <a:rPr lang="hu-HU" baseline="0" dirty="0" err="1"/>
              <a:t>from</a:t>
            </a:r>
            <a:r>
              <a:rPr lang="hu-HU" baseline="0" dirty="0"/>
              <a:t> </a:t>
            </a:r>
            <a:r>
              <a:rPr lang="hu-HU" baseline="0" dirty="0" err="1"/>
              <a:t>the</a:t>
            </a:r>
            <a:r>
              <a:rPr lang="hu-HU" baseline="0" dirty="0"/>
              <a:t> </a:t>
            </a:r>
            <a:r>
              <a:rPr lang="hu-HU" baseline="0" dirty="0" err="1"/>
              <a:t>new</a:t>
            </a:r>
            <a:r>
              <a:rPr lang="hu-HU" baseline="0" dirty="0"/>
              <a:t> </a:t>
            </a:r>
            <a:r>
              <a:rPr lang="hu-HU" baseline="0" dirty="0" err="1"/>
              <a:t>member</a:t>
            </a:r>
            <a:r>
              <a:rPr lang="hu-HU" baseline="0" dirty="0"/>
              <a:t> </a:t>
            </a:r>
            <a:r>
              <a:rPr lang="hu-HU" baseline="0" dirty="0" err="1"/>
              <a:t>states</a:t>
            </a:r>
            <a:endParaRPr lang="de-DE" dirty="0"/>
          </a:p>
          <a:p>
            <a:endParaRPr lang="de-DE" dirty="0"/>
          </a:p>
        </p:txBody>
      </p:sp>
    </p:spTree>
    <p:extLst>
      <p:ext uri="{BB962C8B-B14F-4D97-AF65-F5344CB8AC3E}">
        <p14:creationId xmlns:p14="http://schemas.microsoft.com/office/powerpoint/2010/main" val="247203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hu-HU" sz="1000" dirty="0" err="1"/>
              <a:t>Inauguration</a:t>
            </a:r>
            <a:r>
              <a:rPr lang="hu-HU" sz="1000" dirty="0"/>
              <a:t> </a:t>
            </a:r>
            <a:r>
              <a:rPr lang="hu-HU" sz="1000" dirty="0" err="1"/>
              <a:t>event</a:t>
            </a:r>
            <a:r>
              <a:rPr lang="hu-HU" sz="1000" dirty="0"/>
              <a:t> in </a:t>
            </a:r>
            <a:r>
              <a:rPr lang="hu-HU" sz="1000" dirty="0" err="1"/>
              <a:t>Brasilia</a:t>
            </a:r>
            <a:r>
              <a:rPr lang="hu-HU" sz="1000" dirty="0"/>
              <a:t>, </a:t>
            </a:r>
          </a:p>
          <a:p>
            <a:r>
              <a:rPr lang="hu-HU" sz="1000" dirty="0" err="1"/>
              <a:t>Some</a:t>
            </a:r>
            <a:r>
              <a:rPr lang="hu-HU" sz="1000" dirty="0"/>
              <a:t> </a:t>
            </a:r>
            <a:r>
              <a:rPr lang="hu-HU" sz="1000" dirty="0" err="1"/>
              <a:t>statistics</a:t>
            </a:r>
            <a:r>
              <a:rPr lang="hu-HU" sz="1000" dirty="0"/>
              <a:t>:</a:t>
            </a:r>
            <a:r>
              <a:rPr lang="hu-HU" sz="1000" baseline="0" dirty="0"/>
              <a:t> </a:t>
            </a:r>
            <a:r>
              <a:rPr lang="hu-HU" sz="1000" dirty="0"/>
              <a:t>Project </a:t>
            </a:r>
            <a:r>
              <a:rPr lang="hu-HU" sz="1000" dirty="0" err="1"/>
              <a:t>lifetime</a:t>
            </a:r>
            <a:r>
              <a:rPr lang="hu-HU" sz="1000" dirty="0"/>
              <a:t> 4 </a:t>
            </a:r>
            <a:r>
              <a:rPr lang="hu-HU" sz="1000" dirty="0" err="1"/>
              <a:t>years</a:t>
            </a:r>
            <a:r>
              <a:rPr lang="hu-HU" sz="1000" dirty="0"/>
              <a:t> / 48 </a:t>
            </a:r>
            <a:r>
              <a:rPr lang="hu-HU" sz="1000" dirty="0" err="1"/>
              <a:t>months</a:t>
            </a:r>
            <a:r>
              <a:rPr lang="hu-HU" sz="1000" dirty="0"/>
              <a:t> </a:t>
            </a:r>
          </a:p>
          <a:p>
            <a:r>
              <a:rPr lang="hu-HU" sz="1000" dirty="0" err="1"/>
              <a:t>At</a:t>
            </a:r>
            <a:r>
              <a:rPr lang="hu-HU" sz="1000" dirty="0"/>
              <a:t> </a:t>
            </a:r>
            <a:r>
              <a:rPr lang="hu-HU" sz="1000" dirty="0" err="1"/>
              <a:t>present</a:t>
            </a:r>
            <a:r>
              <a:rPr lang="hu-HU" sz="1000" dirty="0"/>
              <a:t>: </a:t>
            </a:r>
            <a:r>
              <a:rPr lang="hu-HU" sz="1000" dirty="0" err="1"/>
              <a:t>the</a:t>
            </a:r>
            <a:r>
              <a:rPr lang="hu-HU" sz="1000" dirty="0"/>
              <a:t> project is </a:t>
            </a:r>
            <a:r>
              <a:rPr lang="hu-HU" sz="1000" dirty="0" err="1"/>
              <a:t>in</a:t>
            </a:r>
            <a:r>
              <a:rPr lang="hu-HU" sz="1000" dirty="0"/>
              <a:t> </a:t>
            </a:r>
            <a:r>
              <a:rPr lang="hu-HU" sz="1000" dirty="0" err="1"/>
              <a:t>the</a:t>
            </a:r>
            <a:r>
              <a:rPr lang="hu-HU" sz="1000" dirty="0"/>
              <a:t> Piloting </a:t>
            </a:r>
            <a:r>
              <a:rPr lang="hu-HU" sz="1000" dirty="0" err="1"/>
              <a:t>Phase</a:t>
            </a:r>
            <a:r>
              <a:rPr lang="hu-HU" sz="1000" dirty="0"/>
              <a:t>, </a:t>
            </a:r>
            <a:r>
              <a:rPr lang="hu-HU" sz="1000" dirty="0" err="1"/>
              <a:t>offering</a:t>
            </a:r>
            <a:r>
              <a:rPr lang="hu-HU" sz="1000" dirty="0"/>
              <a:t> </a:t>
            </a:r>
            <a:r>
              <a:rPr lang="hu-HU" sz="1000" dirty="0" err="1"/>
              <a:t>services</a:t>
            </a:r>
            <a:r>
              <a:rPr lang="hu-HU" sz="1000" dirty="0"/>
              <a:t> free of </a:t>
            </a:r>
            <a:r>
              <a:rPr lang="hu-HU" sz="1000" dirty="0" err="1"/>
              <a:t>charge</a:t>
            </a:r>
            <a:endParaRPr lang="hu-HU" sz="1000" dirty="0"/>
          </a:p>
          <a:p>
            <a:r>
              <a:rPr lang="hu-HU" sz="1000" dirty="0"/>
              <a:t>M 25 – 48: </a:t>
            </a:r>
            <a:r>
              <a:rPr lang="hu-HU" sz="1000" dirty="0" err="1"/>
              <a:t>full</a:t>
            </a:r>
            <a:r>
              <a:rPr lang="hu-HU" sz="1000" dirty="0"/>
              <a:t> </a:t>
            </a:r>
            <a:r>
              <a:rPr lang="hu-HU" sz="1000" dirty="0" err="1"/>
              <a:t>implementation</a:t>
            </a:r>
            <a:r>
              <a:rPr lang="hu-HU" sz="1000" dirty="0"/>
              <a:t> </a:t>
            </a:r>
            <a:r>
              <a:rPr lang="hu-HU" sz="1000" dirty="0" err="1"/>
              <a:t>phase</a:t>
            </a:r>
            <a:r>
              <a:rPr lang="hu-HU" sz="1000" dirty="0"/>
              <a:t>, </a:t>
            </a:r>
            <a:r>
              <a:rPr lang="hu-HU" sz="1000" dirty="0" err="1"/>
              <a:t>cost-based</a:t>
            </a:r>
            <a:r>
              <a:rPr lang="hu-HU" sz="1000" dirty="0"/>
              <a:t>, </a:t>
            </a:r>
            <a:r>
              <a:rPr lang="en-US" sz="1000" dirty="0"/>
              <a:t>expected to achieve financial </a:t>
            </a:r>
            <a:r>
              <a:rPr lang="hu-HU" sz="1000" dirty="0" err="1"/>
              <a:t>self-</a:t>
            </a:r>
            <a:r>
              <a:rPr lang="en-US" sz="1000" dirty="0"/>
              <a:t>sustainability. </a:t>
            </a:r>
            <a:endParaRPr lang="hu-HU" sz="1000" dirty="0"/>
          </a:p>
          <a:p>
            <a:r>
              <a:rPr lang="hu-HU" sz="1000" dirty="0"/>
              <a:t>Post project: </a:t>
            </a:r>
            <a:r>
              <a:rPr lang="hu-HU" sz="1000" dirty="0" err="1"/>
              <a:t>completely</a:t>
            </a:r>
            <a:r>
              <a:rPr lang="hu-HU" sz="1000" dirty="0"/>
              <a:t> </a:t>
            </a:r>
            <a:r>
              <a:rPr lang="hu-HU" sz="1000" dirty="0" err="1"/>
              <a:t>self-sustainable</a:t>
            </a:r>
            <a:endParaRPr lang="hu-HU" sz="1000" dirty="0"/>
          </a:p>
          <a:p>
            <a:r>
              <a:rPr lang="hu-HU" sz="1000" dirty="0" err="1"/>
              <a:t>Expected</a:t>
            </a:r>
            <a:r>
              <a:rPr lang="hu-HU" sz="1000" dirty="0"/>
              <a:t> </a:t>
            </a:r>
            <a:r>
              <a:rPr lang="hu-HU" sz="1000" dirty="0" err="1"/>
              <a:t>to</a:t>
            </a:r>
            <a:r>
              <a:rPr lang="hu-HU" sz="1000" dirty="0"/>
              <a:t> </a:t>
            </a:r>
            <a:r>
              <a:rPr lang="en-US" sz="1000" dirty="0"/>
              <a:t>remain in the long-run as the coordinating pillar for successful and sustainable international collaborations of its customers. </a:t>
            </a:r>
            <a:endParaRPr lang="hu-HU" sz="1000" dirty="0"/>
          </a:p>
          <a:p>
            <a:r>
              <a:rPr lang="hu-HU" sz="1000" dirty="0"/>
              <a:t>ENRICH in Brazil centre: </a:t>
            </a:r>
            <a:r>
              <a:rPr lang="hu-HU" sz="1000" dirty="0" err="1"/>
              <a:t>legal</a:t>
            </a:r>
            <a:r>
              <a:rPr lang="hu-HU" sz="1000" dirty="0"/>
              <a:t> </a:t>
            </a:r>
            <a:r>
              <a:rPr lang="hu-HU" sz="1000" dirty="0" err="1"/>
              <a:t>entity</a:t>
            </a:r>
            <a:r>
              <a:rPr lang="hu-HU" sz="1000" dirty="0"/>
              <a:t>, </a:t>
            </a:r>
            <a:r>
              <a:rPr lang="hu-HU" sz="1000" dirty="0" err="1"/>
              <a:t>association</a:t>
            </a:r>
            <a:r>
              <a:rPr lang="hu-HU" sz="1000" dirty="0"/>
              <a:t> – RCISD is a </a:t>
            </a:r>
            <a:r>
              <a:rPr lang="hu-HU" sz="1000" dirty="0" err="1"/>
              <a:t>founding</a:t>
            </a:r>
            <a:r>
              <a:rPr lang="hu-HU" sz="1000" dirty="0"/>
              <a:t> </a:t>
            </a:r>
            <a:r>
              <a:rPr lang="hu-HU" sz="1000" dirty="0" err="1"/>
              <a:t>member</a:t>
            </a:r>
            <a:r>
              <a:rPr lang="hu-HU" sz="1000" dirty="0"/>
              <a:t> of </a:t>
            </a:r>
            <a:r>
              <a:rPr lang="hu-HU" sz="1000" dirty="0" err="1"/>
              <a:t>the</a:t>
            </a:r>
            <a:r>
              <a:rPr lang="hu-HU" sz="1000" dirty="0"/>
              <a:t> </a:t>
            </a:r>
            <a:r>
              <a:rPr lang="hu-HU" sz="1000" dirty="0" err="1"/>
              <a:t>association</a:t>
            </a:r>
            <a:endParaRPr lang="de-DE" sz="1000" dirty="0"/>
          </a:p>
        </p:txBody>
      </p:sp>
    </p:spTree>
    <p:extLst>
      <p:ext uri="{BB962C8B-B14F-4D97-AF65-F5344CB8AC3E}">
        <p14:creationId xmlns:p14="http://schemas.microsoft.com/office/powerpoint/2010/main" val="1394856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The </a:t>
            </a:r>
            <a:r>
              <a:rPr lang="hu-HU" dirty="0" err="1"/>
              <a:t>first</a:t>
            </a:r>
            <a:r>
              <a:rPr lang="hu-HU" dirty="0"/>
              <a:t> major </a:t>
            </a:r>
            <a:r>
              <a:rPr lang="hu-HU" dirty="0" err="1"/>
              <a:t>milestone</a:t>
            </a:r>
            <a:r>
              <a:rPr lang="hu-HU" dirty="0"/>
              <a:t>: Opening </a:t>
            </a:r>
            <a:r>
              <a:rPr lang="hu-HU" dirty="0" err="1"/>
              <a:t>ceremony</a:t>
            </a:r>
            <a:r>
              <a:rPr lang="hu-HU" dirty="0"/>
              <a:t> of </a:t>
            </a:r>
            <a:r>
              <a:rPr lang="hu-HU" dirty="0" err="1"/>
              <a:t>the</a:t>
            </a:r>
            <a:r>
              <a:rPr lang="hu-HU" dirty="0"/>
              <a:t> ENRICH Centre </a:t>
            </a:r>
            <a:r>
              <a:rPr lang="hu-HU" dirty="0" err="1"/>
              <a:t>with</a:t>
            </a:r>
            <a:r>
              <a:rPr lang="hu-HU" dirty="0"/>
              <a:t> </a:t>
            </a:r>
            <a:r>
              <a:rPr lang="hu-HU" dirty="0" err="1"/>
              <a:t>the</a:t>
            </a:r>
            <a:r>
              <a:rPr lang="hu-HU" dirty="0"/>
              <a:t> </a:t>
            </a:r>
            <a:r>
              <a:rPr lang="hu-HU" dirty="0" err="1"/>
              <a:t>participation</a:t>
            </a:r>
            <a:r>
              <a:rPr lang="hu-HU" dirty="0"/>
              <a:t> of </a:t>
            </a:r>
            <a:r>
              <a:rPr lang="hu-HU" dirty="0" err="1"/>
              <a:t>high-level</a:t>
            </a:r>
            <a:r>
              <a:rPr lang="hu-HU" dirty="0"/>
              <a:t> </a:t>
            </a:r>
            <a:r>
              <a:rPr lang="hu-HU" dirty="0" err="1"/>
              <a:t>politicians</a:t>
            </a:r>
            <a:r>
              <a:rPr lang="hu-HU" baseline="0" dirty="0"/>
              <a:t>, </a:t>
            </a:r>
            <a:r>
              <a:rPr lang="hu-HU" baseline="0" dirty="0" err="1"/>
              <a:t>among</a:t>
            </a:r>
            <a:r>
              <a:rPr lang="hu-HU" baseline="0" dirty="0"/>
              <a:t> </a:t>
            </a:r>
            <a:r>
              <a:rPr lang="hu-HU" baseline="0" dirty="0" err="1"/>
              <a:t>others</a:t>
            </a:r>
            <a:r>
              <a:rPr lang="hu-HU" baseline="0" dirty="0"/>
              <a:t> </a:t>
            </a:r>
            <a:r>
              <a:rPr lang="en-US" dirty="0"/>
              <a:t>the Ambassador of the European Union to Brazil</a:t>
            </a:r>
            <a:r>
              <a:rPr lang="hu-HU" dirty="0"/>
              <a:t>, and Head of </a:t>
            </a:r>
            <a:r>
              <a:rPr lang="hu-HU" dirty="0" err="1"/>
              <a:t>department</a:t>
            </a:r>
            <a:r>
              <a:rPr lang="hu-HU" dirty="0"/>
              <a:t> ST of</a:t>
            </a:r>
            <a:r>
              <a:rPr lang="en-US" dirty="0"/>
              <a:t> the Brazilian Ministry of Foreign Affairs</a:t>
            </a:r>
            <a:r>
              <a:rPr lang="hu-HU" dirty="0"/>
              <a:t>.</a:t>
            </a:r>
            <a:r>
              <a:rPr lang="hu-HU" baseline="0" dirty="0"/>
              <a:t> </a:t>
            </a:r>
            <a:endParaRPr lang="hu-HU" dirty="0"/>
          </a:p>
        </p:txBody>
      </p:sp>
      <p:sp>
        <p:nvSpPr>
          <p:cNvPr id="4" name="Dia számának helye 3"/>
          <p:cNvSpPr>
            <a:spLocks noGrp="1"/>
          </p:cNvSpPr>
          <p:nvPr>
            <p:ph type="sldNum" sz="quarter" idx="10"/>
          </p:nvPr>
        </p:nvSpPr>
        <p:spPr/>
        <p:txBody>
          <a:bodyPr/>
          <a:lstStyle/>
          <a:p>
            <a:fld id="{BC06A0BF-FDB6-BF4D-811F-5B86A7118020}" type="slidenum">
              <a:rPr lang="es-ES_tradnl" smtClean="0"/>
              <a:pPr/>
              <a:t>5</a:t>
            </a:fld>
            <a:endParaRPr lang="es-ES_tradnl"/>
          </a:p>
        </p:txBody>
      </p:sp>
    </p:spTree>
    <p:extLst>
      <p:ext uri="{BB962C8B-B14F-4D97-AF65-F5344CB8AC3E}">
        <p14:creationId xmlns:p14="http://schemas.microsoft.com/office/powerpoint/2010/main" val="3540973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normAutofit/>
          </a:bodyPr>
          <a:lstStyle/>
          <a:p>
            <a:r>
              <a:rPr lang="hu-HU" dirty="0" err="1"/>
              <a:t>Mission</a:t>
            </a:r>
            <a:r>
              <a:rPr lang="hu-HU" dirty="0"/>
              <a:t>:</a:t>
            </a:r>
            <a:r>
              <a:rPr lang="hu-HU" baseline="0" dirty="0"/>
              <a:t> </a:t>
            </a:r>
          </a:p>
          <a:p>
            <a:r>
              <a:rPr lang="hu-HU" baseline="0" dirty="0" err="1"/>
              <a:t>Vision</a:t>
            </a:r>
            <a:r>
              <a:rPr lang="hu-HU" baseline="0" dirty="0"/>
              <a:t>:</a:t>
            </a:r>
          </a:p>
          <a:p>
            <a:r>
              <a:rPr lang="hu-HU" baseline="0" dirty="0" err="1"/>
              <a:t>Objectives</a:t>
            </a:r>
            <a:r>
              <a:rPr lang="hu-HU" baseline="0" dirty="0"/>
              <a:t>: </a:t>
            </a:r>
            <a:endParaRPr lang="hu-HU" dirty="0"/>
          </a:p>
        </p:txBody>
      </p:sp>
      <p:sp>
        <p:nvSpPr>
          <p:cNvPr id="4" name="Dia számának helye 3"/>
          <p:cNvSpPr>
            <a:spLocks noGrp="1"/>
          </p:cNvSpPr>
          <p:nvPr>
            <p:ph type="sldNum" sz="quarter" idx="10"/>
          </p:nvPr>
        </p:nvSpPr>
        <p:spPr/>
        <p:txBody>
          <a:bodyPr/>
          <a:lstStyle/>
          <a:p>
            <a:fld id="{BC06A0BF-FDB6-BF4D-811F-5B86A7118020}" type="slidenum">
              <a:rPr lang="es-ES_tradnl" smtClean="0"/>
              <a:pPr/>
              <a:t>6</a:t>
            </a:fld>
            <a:endParaRPr lang="es-ES_tradnl"/>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err="1"/>
              <a:t>Services</a:t>
            </a:r>
            <a:r>
              <a:rPr lang="hu-HU" dirty="0"/>
              <a:t>: </a:t>
            </a:r>
            <a:r>
              <a:rPr lang="hu-HU" baseline="0" dirty="0"/>
              <a:t> </a:t>
            </a:r>
            <a:r>
              <a:rPr lang="hu-HU" baseline="0" dirty="0" err="1"/>
              <a:t>portfolio</a:t>
            </a:r>
            <a:r>
              <a:rPr lang="hu-HU" dirty="0"/>
              <a:t> </a:t>
            </a:r>
            <a:r>
              <a:rPr lang="hu-HU" dirty="0" err="1"/>
              <a:t>explained</a:t>
            </a:r>
            <a:r>
              <a:rPr lang="hu-HU" dirty="0"/>
              <a:t> </a:t>
            </a:r>
            <a:r>
              <a:rPr lang="hu-HU" dirty="0" err="1"/>
              <a:t>later</a:t>
            </a:r>
            <a:r>
              <a:rPr lang="hu-HU" dirty="0"/>
              <a:t> </a:t>
            </a:r>
            <a:r>
              <a:rPr lang="hu-HU" dirty="0" err="1"/>
              <a:t>detailed</a:t>
            </a:r>
            <a:endParaRPr lang="hu-HU" dirty="0"/>
          </a:p>
          <a:p>
            <a:r>
              <a:rPr lang="hu-HU" dirty="0" err="1"/>
              <a:t>Structure</a:t>
            </a:r>
            <a:r>
              <a:rPr lang="hu-HU" dirty="0"/>
              <a:t>: ENRICH </a:t>
            </a:r>
            <a:r>
              <a:rPr lang="hu-HU" dirty="0" err="1"/>
              <a:t>Legal</a:t>
            </a:r>
            <a:r>
              <a:rPr lang="hu-HU" baseline="0" dirty="0"/>
              <a:t> </a:t>
            </a:r>
            <a:r>
              <a:rPr lang="hu-HU" baseline="0" dirty="0" err="1"/>
              <a:t>entity</a:t>
            </a:r>
            <a:r>
              <a:rPr lang="hu-HU" baseline="0" dirty="0"/>
              <a:t> in </a:t>
            </a:r>
            <a:r>
              <a:rPr lang="hu-HU" baseline="0" dirty="0" err="1"/>
              <a:t>Brasil</a:t>
            </a:r>
            <a:r>
              <a:rPr lang="hu-HU" baseline="0" dirty="0"/>
              <a:t> (</a:t>
            </a:r>
            <a:r>
              <a:rPr lang="hu-HU" baseline="0" dirty="0" err="1"/>
              <a:t>legal</a:t>
            </a:r>
            <a:r>
              <a:rPr lang="hu-HU" baseline="0" dirty="0"/>
              <a:t> </a:t>
            </a:r>
            <a:r>
              <a:rPr lang="hu-HU" baseline="0" dirty="0" err="1"/>
              <a:t>form</a:t>
            </a:r>
            <a:r>
              <a:rPr lang="hu-HU" baseline="0" dirty="0"/>
              <a:t>: </a:t>
            </a:r>
            <a:r>
              <a:rPr lang="hu-HU" baseline="0" dirty="0" err="1"/>
              <a:t>association</a:t>
            </a:r>
            <a:r>
              <a:rPr lang="hu-HU" baseline="0"/>
              <a:t>) – </a:t>
            </a:r>
            <a:r>
              <a:rPr lang="hu-HU" baseline="0" dirty="0" err="1"/>
              <a:t>ENRICH</a:t>
            </a:r>
            <a:r>
              <a:rPr lang="hu-HU" baseline="0" dirty="0"/>
              <a:t> </a:t>
            </a:r>
            <a:r>
              <a:rPr lang="hu-HU" baseline="0" dirty="0" err="1"/>
              <a:t>Focal</a:t>
            </a:r>
            <a:r>
              <a:rPr lang="hu-HU" baseline="0" dirty="0"/>
              <a:t> </a:t>
            </a:r>
            <a:r>
              <a:rPr lang="hu-HU" baseline="0" dirty="0" err="1"/>
              <a:t>point</a:t>
            </a:r>
            <a:r>
              <a:rPr lang="hu-HU" baseline="0" dirty="0"/>
              <a:t> in </a:t>
            </a:r>
            <a:r>
              <a:rPr lang="hu-HU" baseline="0" dirty="0" err="1"/>
              <a:t>Brussels</a:t>
            </a:r>
            <a:r>
              <a:rPr lang="hu-HU" baseline="0" dirty="0"/>
              <a:t> / EU</a:t>
            </a:r>
            <a:endParaRPr lang="hu-HU" dirty="0"/>
          </a:p>
          <a:p>
            <a:r>
              <a:rPr lang="hu-HU" dirty="0" err="1"/>
              <a:t>Community</a:t>
            </a:r>
            <a:r>
              <a:rPr lang="hu-HU" dirty="0"/>
              <a:t>:</a:t>
            </a:r>
            <a:r>
              <a:rPr lang="hu-HU" baseline="0" dirty="0"/>
              <a:t> HQ, Service </a:t>
            </a:r>
            <a:r>
              <a:rPr lang="hu-HU" baseline="0" dirty="0" err="1"/>
              <a:t>providers</a:t>
            </a:r>
            <a:r>
              <a:rPr lang="hu-HU" baseline="0" dirty="0"/>
              <a:t>, </a:t>
            </a:r>
            <a:r>
              <a:rPr lang="hu-HU" baseline="0" dirty="0" err="1"/>
              <a:t>beneficiaries</a:t>
            </a:r>
            <a:r>
              <a:rPr lang="hu-HU" baseline="0" dirty="0"/>
              <a:t> (</a:t>
            </a:r>
            <a:r>
              <a:rPr lang="hu-HU" baseline="0" dirty="0" err="1"/>
              <a:t>individuals</a:t>
            </a:r>
            <a:r>
              <a:rPr lang="hu-HU" baseline="0" dirty="0"/>
              <a:t> &amp; </a:t>
            </a:r>
            <a:r>
              <a:rPr lang="hu-HU" baseline="0" dirty="0" err="1"/>
              <a:t>organisations</a:t>
            </a:r>
            <a:r>
              <a:rPr lang="hu-HU" baseline="0" dirty="0"/>
              <a:t>), </a:t>
            </a:r>
            <a:r>
              <a:rPr lang="hu-HU" baseline="0" dirty="0" err="1"/>
              <a:t>soft</a:t>
            </a:r>
            <a:r>
              <a:rPr lang="hu-HU" baseline="0" dirty="0"/>
              <a:t> </a:t>
            </a:r>
            <a:r>
              <a:rPr lang="hu-HU" baseline="0" dirty="0" err="1"/>
              <a:t>landing</a:t>
            </a:r>
            <a:r>
              <a:rPr lang="hu-HU" baseline="0" dirty="0"/>
              <a:t> </a:t>
            </a:r>
            <a:r>
              <a:rPr lang="hu-HU" baseline="0" dirty="0" err="1"/>
              <a:t>hubs</a:t>
            </a:r>
            <a:r>
              <a:rPr lang="hu-HU" baseline="0" dirty="0"/>
              <a:t>, </a:t>
            </a:r>
            <a:r>
              <a:rPr lang="hu-HU" baseline="0" dirty="0" err="1"/>
              <a:t>ambassadors</a:t>
            </a:r>
            <a:endParaRPr lang="hu-HU" dirty="0"/>
          </a:p>
        </p:txBody>
      </p:sp>
      <p:sp>
        <p:nvSpPr>
          <p:cNvPr id="4" name="Dia számának helye 3"/>
          <p:cNvSpPr>
            <a:spLocks noGrp="1"/>
          </p:cNvSpPr>
          <p:nvPr>
            <p:ph type="sldNum" sz="quarter" idx="10"/>
          </p:nvPr>
        </p:nvSpPr>
        <p:spPr/>
        <p:txBody>
          <a:bodyPr/>
          <a:lstStyle/>
          <a:p>
            <a:fld id="{BC06A0BF-FDB6-BF4D-811F-5B86A7118020}" type="slidenum">
              <a:rPr lang="es-ES_tradnl" smtClean="0"/>
              <a:pPr/>
              <a:t>7</a:t>
            </a:fld>
            <a:endParaRPr lang="es-ES_tradnl"/>
          </a:p>
        </p:txBody>
      </p:sp>
    </p:spTree>
    <p:extLst>
      <p:ext uri="{BB962C8B-B14F-4D97-AF65-F5344CB8AC3E}">
        <p14:creationId xmlns:p14="http://schemas.microsoft.com/office/powerpoint/2010/main" val="1085400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normAutofit/>
          </a:bodyPr>
          <a:lstStyle/>
          <a:p>
            <a:pPr defTabSz="918789">
              <a:defRPr/>
            </a:pPr>
            <a:r>
              <a:rPr lang="hu-HU" sz="1200" b="1" u="sng" dirty="0"/>
              <a:t>Research</a:t>
            </a:r>
            <a:r>
              <a:rPr lang="hu-HU" sz="1200" dirty="0"/>
              <a:t>: </a:t>
            </a:r>
            <a:r>
              <a:rPr lang="en-GB" sz="1200" dirty="0">
                <a:solidFill>
                  <a:srgbClr val="2C2F38"/>
                </a:solidFill>
                <a:latin typeface="Calibri" panose="020F0502020204030204" pitchFamily="34" charset="0"/>
                <a:cs typeface="Calibri" panose="020F0502020204030204" pitchFamily="34" charset="0"/>
              </a:rPr>
              <a:t>European &amp; Brazilian Universities, Research Organisations &amp; Centres, Internationalization "Offices" at BR-Universities, single </a:t>
            </a:r>
            <a:r>
              <a:rPr lang="hu-HU" sz="1200" dirty="0">
                <a:solidFill>
                  <a:srgbClr val="2C2F38"/>
                </a:solidFill>
                <a:latin typeface="Calibri" panose="020F0502020204030204" pitchFamily="34" charset="0"/>
                <a:cs typeface="Calibri" panose="020F0502020204030204" pitchFamily="34" charset="0"/>
              </a:rPr>
              <a:t>r</a:t>
            </a:r>
            <a:r>
              <a:rPr lang="en-GB" sz="1200" dirty="0" err="1">
                <a:solidFill>
                  <a:srgbClr val="2C2F38"/>
                </a:solidFill>
                <a:latin typeface="Calibri" panose="020F0502020204030204" pitchFamily="34" charset="0"/>
                <a:cs typeface="Calibri" panose="020F0502020204030204" pitchFamily="34" charset="0"/>
              </a:rPr>
              <a:t>esearcher</a:t>
            </a:r>
            <a:r>
              <a:rPr lang="hu-HU" sz="1200" dirty="0">
                <a:solidFill>
                  <a:srgbClr val="2C2F38"/>
                </a:solidFill>
                <a:latin typeface="Calibri" panose="020F0502020204030204" pitchFamily="34" charset="0"/>
                <a:cs typeface="Calibri" panose="020F0502020204030204" pitchFamily="34" charset="0"/>
              </a:rPr>
              <a:t>s</a:t>
            </a:r>
            <a:r>
              <a:rPr lang="en-GB" sz="1200" dirty="0">
                <a:solidFill>
                  <a:srgbClr val="2C2F38"/>
                </a:solidFill>
                <a:latin typeface="Calibri" panose="020F0502020204030204" pitchFamily="34" charset="0"/>
                <a:cs typeface="Calibri" panose="020F0502020204030204" pitchFamily="34" charset="0"/>
              </a:rPr>
              <a:t>, Association of Universities </a:t>
            </a:r>
          </a:p>
          <a:p>
            <a:pPr defTabSz="918789">
              <a:defRPr/>
            </a:pPr>
            <a:r>
              <a:rPr lang="hu-HU" sz="1200" b="1" u="sng" dirty="0" err="1"/>
              <a:t>Innovation</a:t>
            </a:r>
            <a:r>
              <a:rPr lang="hu-HU" sz="1200" b="1" u="sng" dirty="0"/>
              <a:t> </a:t>
            </a:r>
            <a:r>
              <a:rPr lang="hu-HU" sz="1200" b="1" u="sng" dirty="0" err="1"/>
              <a:t>actors</a:t>
            </a:r>
            <a:r>
              <a:rPr lang="hu-HU" sz="1200" dirty="0"/>
              <a:t>:</a:t>
            </a:r>
            <a:r>
              <a:rPr lang="en-GB" sz="1200" dirty="0">
                <a:latin typeface="Calibri" panose="020F0502020204030204" pitchFamily="34" charset="0"/>
                <a:cs typeface="Calibri" panose="020F0502020204030204" pitchFamily="34" charset="0"/>
              </a:rPr>
              <a:t>Science &amp; Technology Parks, Competence Centres, Innovation Centres, Applied Research Institutes, Technology Transfer Organisations (TTO) / Centres, </a:t>
            </a:r>
            <a:r>
              <a:rPr lang="hu-HU" sz="1200" dirty="0" err="1">
                <a:latin typeface="Calibri" panose="020F0502020204030204" pitchFamily="34" charset="0"/>
                <a:cs typeface="Calibri" panose="020F0502020204030204" pitchFamily="34" charset="0"/>
              </a:rPr>
              <a:t>Incubators</a:t>
            </a:r>
            <a:r>
              <a:rPr lang="hu-HU" sz="1200" dirty="0">
                <a:latin typeface="Calibri" panose="020F0502020204030204" pitchFamily="34" charset="0"/>
                <a:cs typeface="Calibri" panose="020F0502020204030204" pitchFamily="34" charset="0"/>
              </a:rPr>
              <a:t>, </a:t>
            </a:r>
            <a:r>
              <a:rPr lang="hu-HU" sz="1200" dirty="0" err="1">
                <a:latin typeface="Calibri" panose="020F0502020204030204" pitchFamily="34" charset="0"/>
                <a:cs typeface="Calibri" panose="020F0502020204030204" pitchFamily="34" charset="0"/>
              </a:rPr>
              <a:t>funding</a:t>
            </a:r>
            <a:r>
              <a:rPr lang="hu-HU" sz="1200" dirty="0">
                <a:latin typeface="Calibri" panose="020F0502020204030204" pitchFamily="34" charset="0"/>
                <a:cs typeface="Calibri" panose="020F0502020204030204" pitchFamily="34" charset="0"/>
              </a:rPr>
              <a:t> </a:t>
            </a:r>
            <a:r>
              <a:rPr lang="hu-HU" sz="1200" dirty="0" err="1">
                <a:latin typeface="Calibri" panose="020F0502020204030204" pitchFamily="34" charset="0"/>
                <a:cs typeface="Calibri" panose="020F0502020204030204" pitchFamily="34" charset="0"/>
              </a:rPr>
              <a:t>agencies</a:t>
            </a:r>
            <a:endParaRPr lang="en-GB" sz="1200" dirty="0">
              <a:latin typeface="Calibri" panose="020F0502020204030204" pitchFamily="34" charset="0"/>
              <a:cs typeface="Calibri" panose="020F0502020204030204" pitchFamily="34" charset="0"/>
            </a:endParaRPr>
          </a:p>
          <a:p>
            <a:r>
              <a:rPr lang="hu-HU" sz="1200" b="1" u="sng" dirty="0"/>
              <a:t>Business </a:t>
            </a:r>
            <a:r>
              <a:rPr lang="hu-HU" sz="1200" b="1" u="sng" dirty="0" err="1"/>
              <a:t>actors</a:t>
            </a:r>
            <a:r>
              <a:rPr lang="hu-HU" sz="1200" b="1" u="sng" dirty="0"/>
              <a:t>:</a:t>
            </a:r>
            <a:r>
              <a:rPr lang="hu-HU" sz="1200" dirty="0"/>
              <a:t>: </a:t>
            </a:r>
            <a:r>
              <a:rPr lang="en-GB" sz="1200" dirty="0">
                <a:solidFill>
                  <a:srgbClr val="2C2F38"/>
                </a:solidFill>
                <a:latin typeface="Calibri" panose="020F0502020204030204" pitchFamily="34" charset="0"/>
                <a:cs typeface="Calibri" panose="020F0502020204030204" pitchFamily="34" charset="0"/>
              </a:rPr>
              <a:t>Entrepreneurs, Start-ups, SMEs (MS/AC &amp; BR)</a:t>
            </a:r>
            <a:r>
              <a:rPr lang="hu-HU" sz="1200" dirty="0">
                <a:solidFill>
                  <a:srgbClr val="2C2F38"/>
                </a:solidFill>
                <a:latin typeface="Calibri" panose="020F0502020204030204" pitchFamily="34" charset="0"/>
                <a:cs typeface="Calibri" panose="020F0502020204030204" pitchFamily="34" charset="0"/>
              </a:rPr>
              <a:t>,</a:t>
            </a:r>
            <a:r>
              <a:rPr lang="hu-HU" sz="1200" baseline="0" dirty="0">
                <a:solidFill>
                  <a:srgbClr val="2C2F38"/>
                </a:solidFill>
                <a:latin typeface="Calibri" panose="020F0502020204030204" pitchFamily="34" charset="0"/>
                <a:cs typeface="Calibri" panose="020F0502020204030204" pitchFamily="34" charset="0"/>
              </a:rPr>
              <a:t> </a:t>
            </a:r>
            <a:r>
              <a:rPr lang="hu-HU" sz="1200" baseline="0" dirty="0" err="1">
                <a:solidFill>
                  <a:srgbClr val="2C2F38"/>
                </a:solidFill>
                <a:latin typeface="Calibri" panose="020F0502020204030204" pitchFamily="34" charset="0"/>
                <a:cs typeface="Calibri" panose="020F0502020204030204" pitchFamily="34" charset="0"/>
              </a:rPr>
              <a:t>also</a:t>
            </a:r>
            <a:r>
              <a:rPr lang="hu-HU" sz="1200" baseline="0" dirty="0">
                <a:solidFill>
                  <a:srgbClr val="2C2F38"/>
                </a:solidFill>
                <a:latin typeface="Calibri" panose="020F0502020204030204" pitchFamily="34" charset="0"/>
                <a:cs typeface="Calibri" panose="020F0502020204030204" pitchFamily="34" charset="0"/>
              </a:rPr>
              <a:t> l</a:t>
            </a:r>
            <a:r>
              <a:rPr lang="en-GB" sz="1200" dirty="0" err="1">
                <a:solidFill>
                  <a:srgbClr val="2C2F38"/>
                </a:solidFill>
                <a:latin typeface="Calibri" panose="020F0502020204030204" pitchFamily="34" charset="0"/>
                <a:cs typeface="Calibri" panose="020F0502020204030204" pitchFamily="34" charset="0"/>
              </a:rPr>
              <a:t>arge</a:t>
            </a:r>
            <a:r>
              <a:rPr lang="en-GB" sz="1200" dirty="0">
                <a:solidFill>
                  <a:srgbClr val="2C2F38"/>
                </a:solidFill>
                <a:latin typeface="Calibri" panose="020F0502020204030204" pitchFamily="34" charset="0"/>
                <a:cs typeface="Calibri" panose="020F0502020204030204" pitchFamily="34" charset="0"/>
              </a:rPr>
              <a:t> companies</a:t>
            </a:r>
            <a:r>
              <a:rPr lang="hu-HU" sz="1200" dirty="0">
                <a:solidFill>
                  <a:srgbClr val="2C2F38"/>
                </a:solidFill>
                <a:latin typeface="Calibri" panose="020F0502020204030204" pitchFamily="34" charset="0"/>
                <a:cs typeface="Calibri" panose="020F0502020204030204" pitchFamily="34" charset="0"/>
              </a:rPr>
              <a:t>;</a:t>
            </a:r>
            <a:r>
              <a:rPr lang="hu-HU" sz="1200" baseline="0" dirty="0">
                <a:solidFill>
                  <a:srgbClr val="2C2F38"/>
                </a:solidFill>
                <a:latin typeface="Calibri" panose="020F0502020204030204" pitchFamily="34" charset="0"/>
                <a:cs typeface="Calibri" panose="020F0502020204030204" pitchFamily="34" charset="0"/>
              </a:rPr>
              <a:t> business </a:t>
            </a:r>
            <a:r>
              <a:rPr lang="hu-HU" sz="1200" baseline="0" dirty="0" err="1">
                <a:solidFill>
                  <a:srgbClr val="2C2F38"/>
                </a:solidFill>
                <a:latin typeface="Calibri" panose="020F0502020204030204" pitchFamily="34" charset="0"/>
                <a:cs typeface="Calibri" panose="020F0502020204030204" pitchFamily="34" charset="0"/>
              </a:rPr>
              <a:t>networks</a:t>
            </a:r>
            <a:r>
              <a:rPr lang="hu-HU" sz="1200" baseline="0" dirty="0">
                <a:solidFill>
                  <a:srgbClr val="2C2F38"/>
                </a:solidFill>
                <a:latin typeface="Calibri" panose="020F0502020204030204" pitchFamily="34" charset="0"/>
                <a:cs typeface="Calibri" panose="020F0502020204030204" pitchFamily="34" charset="0"/>
              </a:rPr>
              <a:t>, </a:t>
            </a:r>
            <a:r>
              <a:rPr lang="hu-HU" sz="1200" baseline="0" dirty="0" err="1">
                <a:solidFill>
                  <a:srgbClr val="2C2F38"/>
                </a:solidFill>
                <a:latin typeface="Calibri" panose="020F0502020204030204" pitchFamily="34" charset="0"/>
                <a:cs typeface="Calibri" panose="020F0502020204030204" pitchFamily="34" charset="0"/>
              </a:rPr>
              <a:t>clusters</a:t>
            </a:r>
            <a:r>
              <a:rPr lang="hu-HU" sz="1200" baseline="0" dirty="0">
                <a:solidFill>
                  <a:srgbClr val="2C2F38"/>
                </a:solidFill>
                <a:latin typeface="Calibri" panose="020F0502020204030204" pitchFamily="34" charset="0"/>
                <a:cs typeface="Calibri" panose="020F0502020204030204" pitchFamily="34" charset="0"/>
              </a:rPr>
              <a:t>, etc. </a:t>
            </a:r>
          </a:p>
          <a:p>
            <a:endParaRPr lang="en-GB" sz="1200" dirty="0">
              <a:solidFill>
                <a:srgbClr val="2C2F38"/>
              </a:solidFill>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2C2F38"/>
              </a:solidFill>
              <a:latin typeface="Calibri" panose="020F0502020204030204" pitchFamily="34" charset="0"/>
              <a:cs typeface="Calibri" panose="020F0502020204030204" pitchFamily="34" charset="0"/>
            </a:endParaRPr>
          </a:p>
          <a:p>
            <a:endParaRPr lang="hu-HU" dirty="0"/>
          </a:p>
          <a:p>
            <a:endParaRPr lang="hu-HU" dirty="0"/>
          </a:p>
        </p:txBody>
      </p:sp>
      <p:sp>
        <p:nvSpPr>
          <p:cNvPr id="4" name="Dia számának helye 3"/>
          <p:cNvSpPr>
            <a:spLocks noGrp="1"/>
          </p:cNvSpPr>
          <p:nvPr>
            <p:ph type="sldNum" sz="quarter" idx="10"/>
          </p:nvPr>
        </p:nvSpPr>
        <p:spPr/>
        <p:txBody>
          <a:bodyPr/>
          <a:lstStyle/>
          <a:p>
            <a:fld id="{BC06A0BF-FDB6-BF4D-811F-5B86A7118020}" type="slidenum">
              <a:rPr lang="es-ES_tradnl" smtClean="0"/>
              <a:pPr/>
              <a:t>8</a:t>
            </a:fld>
            <a:endParaRPr lang="es-ES_tradnl"/>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normAutofit/>
          </a:bodyPr>
          <a:lstStyle/>
          <a:p>
            <a:r>
              <a:rPr lang="hu-HU" dirty="0"/>
              <a:t>The </a:t>
            </a:r>
            <a:r>
              <a:rPr lang="hu-HU" dirty="0" err="1"/>
              <a:t>offered</a:t>
            </a:r>
            <a:r>
              <a:rPr lang="hu-HU" dirty="0"/>
              <a:t> </a:t>
            </a:r>
            <a:r>
              <a:rPr lang="hu-HU" dirty="0" err="1"/>
              <a:t>services</a:t>
            </a:r>
            <a:r>
              <a:rPr lang="hu-HU" dirty="0"/>
              <a:t> </a:t>
            </a:r>
            <a:r>
              <a:rPr lang="hu-HU" dirty="0" err="1"/>
              <a:t>from</a:t>
            </a:r>
            <a:r>
              <a:rPr lang="hu-HU" dirty="0"/>
              <a:t> </a:t>
            </a:r>
            <a:r>
              <a:rPr lang="hu-HU" dirty="0" err="1"/>
              <a:t>the</a:t>
            </a:r>
            <a:r>
              <a:rPr lang="hu-HU" dirty="0"/>
              <a:t> </a:t>
            </a:r>
            <a:r>
              <a:rPr lang="hu-HU" dirty="0" err="1"/>
              <a:t>customers</a:t>
            </a:r>
            <a:r>
              <a:rPr lang="hu-HU" dirty="0"/>
              <a:t>’ </a:t>
            </a:r>
            <a:r>
              <a:rPr lang="hu-HU" dirty="0" err="1"/>
              <a:t>aspect</a:t>
            </a:r>
            <a:r>
              <a:rPr lang="hu-HU" dirty="0"/>
              <a:t>:  </a:t>
            </a:r>
            <a:r>
              <a:rPr lang="hu-HU" dirty="0" err="1"/>
              <a:t>types</a:t>
            </a:r>
            <a:r>
              <a:rPr lang="hu-HU" dirty="0"/>
              <a:t> of </a:t>
            </a:r>
            <a:r>
              <a:rPr lang="hu-HU" dirty="0" err="1"/>
              <a:t>different</a:t>
            </a:r>
            <a:r>
              <a:rPr lang="hu-HU" dirty="0"/>
              <a:t> </a:t>
            </a:r>
            <a:r>
              <a:rPr lang="hu-HU" dirty="0" err="1"/>
              <a:t>services</a:t>
            </a:r>
            <a:r>
              <a:rPr lang="hu-HU" dirty="0"/>
              <a:t> </a:t>
            </a:r>
          </a:p>
          <a:p>
            <a:endParaRPr lang="hu-HU" dirty="0"/>
          </a:p>
          <a:p>
            <a:r>
              <a:rPr lang="hu-HU" dirty="0" err="1"/>
              <a:t>My</a:t>
            </a:r>
            <a:r>
              <a:rPr lang="hu-HU" dirty="0"/>
              <a:t> </a:t>
            </a:r>
            <a:r>
              <a:rPr lang="hu-HU" dirty="0" err="1"/>
              <a:t>second</a:t>
            </a:r>
            <a:r>
              <a:rPr lang="hu-HU" dirty="0"/>
              <a:t> </a:t>
            </a:r>
            <a:r>
              <a:rPr lang="hu-HU" dirty="0" err="1"/>
              <a:t>presentation</a:t>
            </a:r>
            <a:r>
              <a:rPr lang="hu-HU" dirty="0"/>
              <a:t> </a:t>
            </a:r>
            <a:r>
              <a:rPr lang="hu-HU" dirty="0" err="1"/>
              <a:t>will</a:t>
            </a:r>
            <a:r>
              <a:rPr lang="hu-HU" dirty="0"/>
              <a:t> </a:t>
            </a:r>
            <a:r>
              <a:rPr lang="hu-HU" dirty="0" err="1"/>
              <a:t>provide</a:t>
            </a:r>
            <a:r>
              <a:rPr lang="hu-HU" dirty="0"/>
              <a:t> a </a:t>
            </a:r>
            <a:r>
              <a:rPr lang="hu-HU" dirty="0" err="1"/>
              <a:t>detailed</a:t>
            </a:r>
            <a:r>
              <a:rPr lang="hu-HU" dirty="0"/>
              <a:t> </a:t>
            </a:r>
            <a:r>
              <a:rPr lang="hu-HU" dirty="0" err="1"/>
              <a:t>overview</a:t>
            </a:r>
            <a:r>
              <a:rPr lang="hu-HU" dirty="0"/>
              <a:t> </a:t>
            </a:r>
            <a:r>
              <a:rPr lang="hu-HU" dirty="0" err="1"/>
              <a:t>on</a:t>
            </a:r>
            <a:r>
              <a:rPr lang="hu-HU" dirty="0"/>
              <a:t> </a:t>
            </a:r>
          </a:p>
        </p:txBody>
      </p:sp>
      <p:sp>
        <p:nvSpPr>
          <p:cNvPr id="4" name="Dia számának helye 3"/>
          <p:cNvSpPr>
            <a:spLocks noGrp="1"/>
          </p:cNvSpPr>
          <p:nvPr>
            <p:ph type="sldNum" sz="quarter" idx="10"/>
          </p:nvPr>
        </p:nvSpPr>
        <p:spPr/>
        <p:txBody>
          <a:bodyPr/>
          <a:lstStyle/>
          <a:p>
            <a:fld id="{BC06A0BF-FDB6-BF4D-811F-5B86A7118020}" type="slidenum">
              <a:rPr lang="es-ES_tradnl" smtClean="0"/>
              <a:pPr/>
              <a:t>9</a:t>
            </a:fld>
            <a:endParaRPr lang="es-ES_tradn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pic>
        <p:nvPicPr>
          <p:cNvPr id="5" name="Imagen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1933" y="1729585"/>
            <a:ext cx="4010586" cy="1773780"/>
          </a:xfrm>
          <a:prstGeom prst="rect">
            <a:avLst/>
          </a:prstGeom>
        </p:spPr>
      </p:pic>
      <p:sp>
        <p:nvSpPr>
          <p:cNvPr id="9" name="Marcador de texto 8"/>
          <p:cNvSpPr>
            <a:spLocks noGrp="1"/>
          </p:cNvSpPr>
          <p:nvPr>
            <p:ph type="body" sz="quarter" idx="10" hasCustomPrompt="1"/>
          </p:nvPr>
        </p:nvSpPr>
        <p:spPr>
          <a:xfrm>
            <a:off x="680553" y="3821230"/>
            <a:ext cx="4776972" cy="1177089"/>
          </a:xfrm>
        </p:spPr>
        <p:txBody>
          <a:bodyPr>
            <a:noAutofit/>
          </a:bodyPr>
          <a:lstStyle>
            <a:lvl1pPr marL="0" indent="0">
              <a:buNone/>
              <a:defRPr sz="2000" b="1" i="0">
                <a:solidFill>
                  <a:schemeClr val="accent5">
                    <a:lumMod val="75000"/>
                  </a:schemeClr>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er</a:t>
            </a:r>
            <a:r>
              <a:rPr lang="es-ES_tradnl" dirty="0"/>
              <a:t> </a:t>
            </a:r>
            <a:r>
              <a:rPr lang="es-ES_tradnl" dirty="0" err="1"/>
              <a:t>adipiscing</a:t>
            </a:r>
            <a:r>
              <a:rPr lang="es-ES_tradnl" dirty="0"/>
              <a:t> </a:t>
            </a:r>
            <a:r>
              <a:rPr lang="es-ES_tradnl" dirty="0" err="1"/>
              <a:t>elit</a:t>
            </a:r>
            <a:r>
              <a:rPr lang="es-ES_tradnl" dirty="0"/>
              <a:t>. </a:t>
            </a:r>
            <a:r>
              <a:rPr lang="es-ES_tradnl" dirty="0" err="1"/>
              <a:t>Aenean</a:t>
            </a:r>
            <a:r>
              <a:rPr lang="es-ES_tradnl" dirty="0"/>
              <a:t> commodo </a:t>
            </a:r>
            <a:r>
              <a:rPr lang="es-ES_tradnl" dirty="0" err="1"/>
              <a:t>ligula</a:t>
            </a:r>
            <a:r>
              <a:rPr lang="es-ES_tradnl" dirty="0"/>
              <a:t> </a:t>
            </a:r>
            <a:r>
              <a:rPr lang="es-ES_tradnl" dirty="0" err="1"/>
              <a:t>eget</a:t>
            </a:r>
            <a:r>
              <a:rPr lang="es-ES_tradnl" dirty="0"/>
              <a:t> dolor. </a:t>
            </a:r>
            <a:r>
              <a:rPr lang="es-ES_tradnl" dirty="0" err="1"/>
              <a:t>Aenean</a:t>
            </a:r>
            <a:r>
              <a:rPr lang="es-ES_tradnl" dirty="0"/>
              <a:t> </a:t>
            </a:r>
            <a:r>
              <a:rPr lang="es-ES_tradnl" dirty="0" err="1"/>
              <a:t>massa</a:t>
            </a:r>
            <a:r>
              <a:rPr lang="es-ES_tradnl" dirty="0"/>
              <a:t>.</a:t>
            </a:r>
          </a:p>
        </p:txBody>
      </p:sp>
    </p:spTree>
    <p:extLst>
      <p:ext uri="{BB962C8B-B14F-4D97-AF65-F5344CB8AC3E}">
        <p14:creationId xmlns:p14="http://schemas.microsoft.com/office/powerpoint/2010/main" val="19488654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WHIT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11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seño personalizado">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6" name="Marcador de texto 8"/>
          <p:cNvSpPr>
            <a:spLocks noGrp="1"/>
          </p:cNvSpPr>
          <p:nvPr>
            <p:ph type="body" sz="quarter" idx="10" hasCustomPrompt="1"/>
          </p:nvPr>
        </p:nvSpPr>
        <p:spPr>
          <a:xfrm>
            <a:off x="622800" y="731520"/>
            <a:ext cx="7452795" cy="356135"/>
          </a:xfrm>
        </p:spPr>
        <p:txBody>
          <a:bodyPr>
            <a:noAutofit/>
          </a:bodyPr>
          <a:lstStyle>
            <a:lvl1pPr marL="0" indent="0">
              <a:buNone/>
              <a:defRPr sz="2800" b="1" i="0">
                <a:solidFill>
                  <a:schemeClr val="accent5">
                    <a:lumMod val="75000"/>
                  </a:schemeClr>
                </a:solidFill>
                <a:latin typeface="Arial" charset="0"/>
                <a:ea typeface="Arial" charset="0"/>
                <a:cs typeface="Arial" charset="0"/>
              </a:defRPr>
            </a:lvl1pPr>
          </a:lstStyle>
          <a:p>
            <a:pPr lvl="0"/>
            <a:r>
              <a:rPr lang="es-ES_tradnl"/>
              <a:t>Title</a:t>
            </a:r>
            <a:endParaRPr lang="es-ES_tradnl" dirty="0"/>
          </a:p>
        </p:txBody>
      </p:sp>
      <p:sp>
        <p:nvSpPr>
          <p:cNvPr id="7" name="Marcador de texto 8"/>
          <p:cNvSpPr>
            <a:spLocks noGrp="1"/>
          </p:cNvSpPr>
          <p:nvPr>
            <p:ph type="body" sz="quarter" idx="11" hasCustomPrompt="1"/>
          </p:nvPr>
        </p:nvSpPr>
        <p:spPr>
          <a:xfrm>
            <a:off x="622800" y="1174283"/>
            <a:ext cx="7452795" cy="356135"/>
          </a:xfrm>
        </p:spPr>
        <p:txBody>
          <a:bodyPr>
            <a:noAutofit/>
          </a:bodyPr>
          <a:lstStyle>
            <a:lvl1pPr marL="0" indent="0">
              <a:buNone/>
              <a:defRPr sz="1600" b="1" i="0">
                <a:solidFill>
                  <a:schemeClr val="accent6"/>
                </a:solidFill>
                <a:latin typeface="Arial" charset="0"/>
                <a:ea typeface="Arial" charset="0"/>
                <a:cs typeface="Arial" charset="0"/>
              </a:defRPr>
            </a:lvl1pPr>
          </a:lstStyle>
          <a:p>
            <a:pPr lvl="0"/>
            <a:r>
              <a:rPr lang="es-ES_tradnl" dirty="0" err="1"/>
              <a:t>subtitle</a:t>
            </a:r>
            <a:endParaRPr lang="es-ES_tradnl" dirty="0"/>
          </a:p>
        </p:txBody>
      </p:sp>
      <p:sp>
        <p:nvSpPr>
          <p:cNvPr id="9" name="Marcador de texto 8"/>
          <p:cNvSpPr>
            <a:spLocks noGrp="1"/>
          </p:cNvSpPr>
          <p:nvPr>
            <p:ph type="body" sz="quarter" idx="12" hasCustomPrompt="1"/>
          </p:nvPr>
        </p:nvSpPr>
        <p:spPr>
          <a:xfrm>
            <a:off x="622800" y="1809550"/>
            <a:ext cx="7452795" cy="1424539"/>
          </a:xfrm>
        </p:spPr>
        <p:txBody>
          <a:bodyPr>
            <a:noAutofit/>
          </a:bodyPr>
          <a:lstStyle>
            <a:lvl1pPr marL="0" indent="0">
              <a:buNone/>
              <a:defRPr sz="1400" b="0" i="0">
                <a:solidFill>
                  <a:schemeClr val="tx1"/>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r>
              <a:rPr lang="es-ES_tradnl" dirty="0" err="1"/>
              <a:t>incididunt</a:t>
            </a:r>
            <a:r>
              <a:rPr lang="es-ES_tradnl" dirty="0"/>
              <a:t> ut labore et </a:t>
            </a:r>
            <a:r>
              <a:rPr lang="es-ES_tradnl" dirty="0" err="1"/>
              <a:t>dolore</a:t>
            </a:r>
            <a:r>
              <a:rPr lang="es-ES_tradnl" dirty="0"/>
              <a:t> magna </a:t>
            </a:r>
            <a:r>
              <a:rPr lang="es-ES_tradnl" dirty="0" err="1"/>
              <a:t>aliqua</a:t>
            </a:r>
            <a:r>
              <a:rPr lang="es-ES_tradnl" dirty="0"/>
              <a:t>. Ut </a:t>
            </a:r>
            <a:r>
              <a:rPr lang="es-ES_tradnl" dirty="0" err="1"/>
              <a:t>enim</a:t>
            </a:r>
            <a:r>
              <a:rPr lang="es-ES_tradnl" dirty="0"/>
              <a:t> ad </a:t>
            </a:r>
            <a:r>
              <a:rPr lang="es-ES_tradnl" dirty="0" err="1"/>
              <a:t>minim</a:t>
            </a:r>
            <a:r>
              <a:rPr lang="es-ES_tradnl" dirty="0"/>
              <a:t> </a:t>
            </a:r>
            <a:r>
              <a:rPr lang="es-ES_tradnl" dirty="0" err="1"/>
              <a:t>veniam</a:t>
            </a:r>
            <a:r>
              <a:rPr lang="es-ES_tradnl" dirty="0"/>
              <a:t>, </a:t>
            </a:r>
            <a:r>
              <a:rPr lang="es-ES_tradnl" dirty="0" err="1"/>
              <a:t>quis</a:t>
            </a:r>
            <a:r>
              <a:rPr lang="es-ES_tradnl" dirty="0"/>
              <a:t> </a:t>
            </a:r>
            <a:r>
              <a:rPr lang="es-ES_tradnl" dirty="0" err="1"/>
              <a:t>nostrud</a:t>
            </a:r>
            <a:r>
              <a:rPr lang="es-ES_tradnl" dirty="0"/>
              <a:t> </a:t>
            </a:r>
            <a:r>
              <a:rPr lang="es-ES_tradnl" dirty="0" err="1"/>
              <a:t>exercitation</a:t>
            </a:r>
            <a:r>
              <a:rPr lang="es-ES_tradnl" dirty="0"/>
              <a:t> </a:t>
            </a:r>
            <a:r>
              <a:rPr lang="es-ES_tradnl" dirty="0" err="1"/>
              <a:t>ullamco</a:t>
            </a:r>
            <a:r>
              <a:rPr lang="es-ES_tradnl" dirty="0"/>
              <a:t> </a:t>
            </a:r>
            <a:r>
              <a:rPr lang="es-ES_tradnl" dirty="0" err="1"/>
              <a:t>laboris</a:t>
            </a:r>
            <a:r>
              <a:rPr lang="es-ES_tradnl" dirty="0"/>
              <a:t> </a:t>
            </a:r>
            <a:r>
              <a:rPr lang="es-ES_tradnl" dirty="0" err="1"/>
              <a:t>nisi</a:t>
            </a:r>
            <a:r>
              <a:rPr lang="es-ES_tradnl" dirty="0"/>
              <a:t> ut </a:t>
            </a:r>
            <a:r>
              <a:rPr lang="es-ES_tradnl" dirty="0" err="1"/>
              <a:t>aliquip</a:t>
            </a:r>
            <a:r>
              <a:rPr lang="es-ES_tradnl" dirty="0"/>
              <a:t> ex </a:t>
            </a:r>
            <a:r>
              <a:rPr lang="es-ES_tradnl" dirty="0" err="1"/>
              <a:t>ea</a:t>
            </a:r>
            <a:r>
              <a:rPr lang="es-ES_tradnl" dirty="0"/>
              <a:t> commodo </a:t>
            </a:r>
            <a:r>
              <a:rPr lang="es-ES_tradnl" dirty="0" err="1"/>
              <a:t>consequat</a:t>
            </a:r>
            <a:r>
              <a:rPr lang="es-ES_tradnl" dirty="0"/>
              <a:t>. </a:t>
            </a:r>
            <a:r>
              <a:rPr lang="es-ES_tradnl" dirty="0" err="1"/>
              <a:t>Duis</a:t>
            </a:r>
            <a:r>
              <a:rPr lang="es-ES_tradnl" dirty="0"/>
              <a:t> </a:t>
            </a:r>
            <a:r>
              <a:rPr lang="es-ES_tradnl" dirty="0" err="1"/>
              <a:t>aute</a:t>
            </a:r>
            <a:r>
              <a:rPr lang="es-ES_tradnl" dirty="0"/>
              <a:t> </a:t>
            </a:r>
            <a:r>
              <a:rPr lang="es-ES_tradnl" dirty="0" err="1"/>
              <a:t>irure</a:t>
            </a:r>
            <a:r>
              <a:rPr lang="es-ES_tradnl" dirty="0"/>
              <a:t> dolor in </a:t>
            </a:r>
            <a:r>
              <a:rPr lang="es-ES_tradnl" dirty="0" err="1"/>
              <a:t>reprehenderit</a:t>
            </a:r>
            <a:r>
              <a:rPr lang="es-ES_tradnl" dirty="0"/>
              <a:t> in </a:t>
            </a:r>
            <a:r>
              <a:rPr lang="es-ES_tradnl" dirty="0" err="1"/>
              <a:t>voluptate</a:t>
            </a:r>
            <a:r>
              <a:rPr lang="es-ES_tradnl" dirty="0"/>
              <a:t> </a:t>
            </a:r>
            <a:r>
              <a:rPr lang="es-ES_tradnl" dirty="0" err="1"/>
              <a:t>velit</a:t>
            </a:r>
            <a:r>
              <a:rPr lang="es-ES_tradnl" dirty="0"/>
              <a:t> </a:t>
            </a:r>
            <a:r>
              <a:rPr lang="es-ES_tradnl" dirty="0" err="1"/>
              <a:t>esse</a:t>
            </a:r>
            <a:r>
              <a:rPr lang="es-ES_tradnl" dirty="0"/>
              <a:t> </a:t>
            </a:r>
            <a:r>
              <a:rPr lang="es-ES_tradnl" dirty="0" err="1"/>
              <a:t>cillum</a:t>
            </a:r>
            <a:r>
              <a:rPr lang="es-ES_tradnl" dirty="0"/>
              <a:t> </a:t>
            </a:r>
            <a:r>
              <a:rPr lang="es-ES_tradnl" dirty="0" err="1"/>
              <a:t>dolore</a:t>
            </a:r>
            <a:r>
              <a:rPr lang="es-ES_tradnl" dirty="0"/>
              <a:t> </a:t>
            </a:r>
            <a:r>
              <a:rPr lang="es-ES_tradnl" dirty="0" err="1"/>
              <a:t>eu</a:t>
            </a:r>
            <a:r>
              <a:rPr lang="es-ES_tradnl" dirty="0"/>
              <a:t> </a:t>
            </a:r>
            <a:r>
              <a:rPr lang="es-ES_tradnl" dirty="0" err="1"/>
              <a:t>fugiat</a:t>
            </a:r>
            <a:r>
              <a:rPr lang="es-ES_tradnl" dirty="0"/>
              <a:t> </a:t>
            </a:r>
            <a:r>
              <a:rPr lang="es-ES_tradnl" dirty="0" err="1"/>
              <a:t>nulla</a:t>
            </a:r>
            <a:r>
              <a:rPr lang="es-ES_tradnl" dirty="0"/>
              <a:t> </a:t>
            </a:r>
            <a:r>
              <a:rPr lang="es-ES_tradnl" dirty="0" err="1"/>
              <a:t>pariatur</a:t>
            </a:r>
            <a:r>
              <a:rPr lang="es-ES_tradnl" dirty="0"/>
              <a:t>. </a:t>
            </a:r>
            <a:r>
              <a:rPr lang="es-ES_tradnl" dirty="0" err="1"/>
              <a:t>Excepteur</a:t>
            </a:r>
            <a:r>
              <a:rPr lang="es-ES_tradnl" dirty="0"/>
              <a:t> </a:t>
            </a:r>
            <a:r>
              <a:rPr lang="es-ES_tradnl" dirty="0" err="1"/>
              <a:t>sint</a:t>
            </a:r>
            <a:r>
              <a:rPr lang="es-ES_tradnl" dirty="0"/>
              <a:t> </a:t>
            </a:r>
            <a:r>
              <a:rPr lang="es-ES_tradnl" dirty="0" err="1"/>
              <a:t>occaecat</a:t>
            </a:r>
            <a:r>
              <a:rPr lang="es-ES_tradnl" dirty="0"/>
              <a:t> </a:t>
            </a:r>
            <a:r>
              <a:rPr lang="es-ES_tradnl" dirty="0" err="1"/>
              <a:t>cupidatat</a:t>
            </a:r>
            <a:r>
              <a:rPr lang="es-ES_tradnl" dirty="0"/>
              <a:t> non </a:t>
            </a:r>
            <a:r>
              <a:rPr lang="es-ES_tradnl" dirty="0" err="1"/>
              <a:t>proident</a:t>
            </a:r>
            <a:r>
              <a:rPr lang="es-ES_tradnl" dirty="0"/>
              <a:t>, </a:t>
            </a:r>
            <a:r>
              <a:rPr lang="es-ES_tradnl" dirty="0" err="1"/>
              <a:t>sunt</a:t>
            </a:r>
            <a:r>
              <a:rPr lang="es-ES_tradnl" dirty="0"/>
              <a:t> in culpa </a:t>
            </a:r>
            <a:r>
              <a:rPr lang="es-ES_tradnl" dirty="0" err="1"/>
              <a:t>qui</a:t>
            </a:r>
            <a:r>
              <a:rPr lang="es-ES_tradnl" dirty="0"/>
              <a:t> </a:t>
            </a:r>
            <a:r>
              <a:rPr lang="es-ES_tradnl" dirty="0" err="1"/>
              <a:t>officia</a:t>
            </a:r>
            <a:r>
              <a:rPr lang="es-ES_tradnl" dirty="0"/>
              <a:t> </a:t>
            </a:r>
            <a:r>
              <a:rPr lang="es-ES_tradnl" dirty="0" err="1"/>
              <a:t>deserunt</a:t>
            </a:r>
            <a:r>
              <a:rPr lang="es-ES_tradnl" dirty="0"/>
              <a:t> </a:t>
            </a:r>
            <a:r>
              <a:rPr lang="es-ES_tradnl" dirty="0" err="1"/>
              <a:t>mollit</a:t>
            </a:r>
            <a:r>
              <a:rPr lang="es-ES_tradnl" dirty="0"/>
              <a:t> </a:t>
            </a:r>
            <a:r>
              <a:rPr lang="es-ES_tradnl" dirty="0" err="1"/>
              <a:t>anim</a:t>
            </a:r>
            <a:r>
              <a:rPr lang="es-ES_tradnl" dirty="0"/>
              <a:t> id </a:t>
            </a:r>
            <a:r>
              <a:rPr lang="es-ES_tradnl" dirty="0" err="1"/>
              <a:t>est</a:t>
            </a:r>
            <a:r>
              <a:rPr lang="es-ES_tradnl" dirty="0"/>
              <a:t> </a:t>
            </a:r>
            <a:r>
              <a:rPr lang="es-ES_tradnl" dirty="0" err="1"/>
              <a:t>laborum</a:t>
            </a:r>
            <a:r>
              <a:rPr lang="es-ES_tradnl" dirty="0"/>
              <a:t>.</a:t>
            </a:r>
          </a:p>
        </p:txBody>
      </p:sp>
      <p:sp>
        <p:nvSpPr>
          <p:cNvPr id="11" name="Marcador de texto 8"/>
          <p:cNvSpPr>
            <a:spLocks noGrp="1"/>
          </p:cNvSpPr>
          <p:nvPr>
            <p:ph type="body" sz="quarter" idx="13" hasCustomPrompt="1"/>
          </p:nvPr>
        </p:nvSpPr>
        <p:spPr>
          <a:xfrm>
            <a:off x="622801" y="3291841"/>
            <a:ext cx="4266834" cy="1126156"/>
          </a:xfrm>
        </p:spPr>
        <p:txBody>
          <a:bodyPr>
            <a:noAutofit/>
          </a:bodyPr>
          <a:lstStyle>
            <a:lvl1pPr marL="0" indent="0">
              <a:buNone/>
              <a:defRPr sz="1400" b="0" i="0">
                <a:solidFill>
                  <a:schemeClr val="tx1"/>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r>
              <a:rPr lang="es-ES_tradnl" dirty="0" err="1"/>
              <a:t>incididunt</a:t>
            </a:r>
            <a:r>
              <a:rPr lang="es-ES_tradnl" dirty="0"/>
              <a:t> ut labore et </a:t>
            </a:r>
            <a:r>
              <a:rPr lang="es-ES_tradnl" dirty="0" err="1"/>
              <a:t>dolore</a:t>
            </a:r>
            <a:r>
              <a:rPr lang="es-ES_tradnl" dirty="0"/>
              <a:t> magna </a:t>
            </a:r>
            <a:r>
              <a:rPr lang="es-ES_tradnl" dirty="0" err="1"/>
              <a:t>aliqua</a:t>
            </a:r>
            <a:r>
              <a:rPr lang="es-ES_tradnl" dirty="0"/>
              <a:t>. Ut </a:t>
            </a:r>
            <a:r>
              <a:rPr lang="es-ES_tradnl" dirty="0" err="1"/>
              <a:t>enim</a:t>
            </a:r>
            <a:r>
              <a:rPr lang="es-ES_tradnl" dirty="0"/>
              <a:t> ad </a:t>
            </a:r>
            <a:r>
              <a:rPr lang="es-ES_tradnl" dirty="0" err="1"/>
              <a:t>minim</a:t>
            </a:r>
            <a:r>
              <a:rPr lang="es-ES_tradnl" dirty="0"/>
              <a:t> </a:t>
            </a:r>
            <a:r>
              <a:rPr lang="es-ES_tradnl" dirty="0" err="1"/>
              <a:t>veniam</a:t>
            </a:r>
            <a:r>
              <a:rPr lang="es-ES_tradnl" dirty="0"/>
              <a:t>, </a:t>
            </a:r>
            <a:r>
              <a:rPr lang="es-ES_tradnl" dirty="0" err="1"/>
              <a:t>quis</a:t>
            </a:r>
            <a:r>
              <a:rPr lang="es-ES_tradnl" dirty="0"/>
              <a:t> </a:t>
            </a:r>
            <a:r>
              <a:rPr lang="es-ES_tradnl" dirty="0" err="1"/>
              <a:t>nostrud</a:t>
            </a:r>
            <a:r>
              <a:rPr lang="es-ES_tradnl" dirty="0"/>
              <a:t> </a:t>
            </a:r>
            <a:r>
              <a:rPr lang="es-ES_tradnl" dirty="0" err="1"/>
              <a:t>exercitation</a:t>
            </a:r>
            <a:r>
              <a:rPr lang="es-ES_tradnl" dirty="0"/>
              <a:t> </a:t>
            </a:r>
            <a:r>
              <a:rPr lang="es-ES_tradnl" dirty="0" err="1"/>
              <a:t>ullamco</a:t>
            </a:r>
            <a:r>
              <a:rPr lang="es-ES_tradnl" dirty="0"/>
              <a:t> </a:t>
            </a:r>
            <a:r>
              <a:rPr lang="es-ES_tradnl" dirty="0" err="1"/>
              <a:t>laboris</a:t>
            </a:r>
            <a:r>
              <a:rPr lang="es-ES_tradnl" dirty="0"/>
              <a:t> </a:t>
            </a:r>
            <a:r>
              <a:rPr lang="es-ES_tradnl" dirty="0" err="1"/>
              <a:t>nisi</a:t>
            </a:r>
            <a:r>
              <a:rPr lang="es-ES_tradnl" dirty="0"/>
              <a:t> ut </a:t>
            </a:r>
            <a:r>
              <a:rPr lang="es-ES_tradnl" dirty="0" err="1"/>
              <a:t>aliquip</a:t>
            </a:r>
            <a:r>
              <a:rPr lang="es-ES_tradnl" dirty="0"/>
              <a:t> ex </a:t>
            </a:r>
            <a:r>
              <a:rPr lang="es-ES_tradnl" dirty="0" err="1"/>
              <a:t>ea</a:t>
            </a:r>
            <a:r>
              <a:rPr lang="es-ES_tradnl" dirty="0"/>
              <a:t> commodo </a:t>
            </a:r>
            <a:r>
              <a:rPr lang="es-ES_tradnl" dirty="0" err="1"/>
              <a:t>consequat</a:t>
            </a:r>
            <a:r>
              <a:rPr lang="es-ES_tradnl" dirty="0"/>
              <a:t>. </a:t>
            </a:r>
            <a:r>
              <a:rPr lang="es-ES_tradnl" dirty="0" err="1"/>
              <a:t>Duis</a:t>
            </a:r>
            <a:r>
              <a:rPr lang="es-ES_tradnl" dirty="0"/>
              <a:t> </a:t>
            </a:r>
            <a:r>
              <a:rPr lang="es-ES_tradnl" dirty="0" err="1"/>
              <a:t>aute</a:t>
            </a:r>
            <a:r>
              <a:rPr lang="es-ES_tradnl" dirty="0"/>
              <a:t> </a:t>
            </a:r>
            <a:r>
              <a:rPr lang="es-ES_tradnl" dirty="0" err="1"/>
              <a:t>irure</a:t>
            </a:r>
            <a:endParaRPr lang="es-ES_tradnl" dirty="0"/>
          </a:p>
        </p:txBody>
      </p:sp>
      <p:sp>
        <p:nvSpPr>
          <p:cNvPr id="12" name="Marcador de texto 8"/>
          <p:cNvSpPr>
            <a:spLocks noGrp="1"/>
          </p:cNvSpPr>
          <p:nvPr>
            <p:ph type="body" sz="quarter" idx="14" hasCustomPrompt="1"/>
          </p:nvPr>
        </p:nvSpPr>
        <p:spPr>
          <a:xfrm>
            <a:off x="622801" y="4976262"/>
            <a:ext cx="7452794" cy="327258"/>
          </a:xfrm>
        </p:spPr>
        <p:txBody>
          <a:bodyPr>
            <a:noAutofit/>
          </a:bodyPr>
          <a:lstStyle>
            <a:lvl1pPr marL="0" indent="0">
              <a:buNone/>
              <a:defRPr sz="1400" b="1" i="1">
                <a:solidFill>
                  <a:schemeClr val="accent6"/>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p>
        </p:txBody>
      </p:sp>
    </p:spTree>
    <p:extLst>
      <p:ext uri="{BB962C8B-B14F-4D97-AF65-F5344CB8AC3E}">
        <p14:creationId xmlns:p14="http://schemas.microsoft.com/office/powerpoint/2010/main" val="17825673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6694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1" name="Marcador de texto 8"/>
          <p:cNvSpPr>
            <a:spLocks noGrp="1"/>
          </p:cNvSpPr>
          <p:nvPr>
            <p:ph type="body" sz="quarter" idx="10" hasCustomPrompt="1"/>
          </p:nvPr>
        </p:nvSpPr>
        <p:spPr>
          <a:xfrm>
            <a:off x="622800" y="731520"/>
            <a:ext cx="7452795" cy="356135"/>
          </a:xfrm>
        </p:spPr>
        <p:txBody>
          <a:bodyPr>
            <a:noAutofit/>
          </a:bodyPr>
          <a:lstStyle>
            <a:lvl1pPr marL="0" indent="0">
              <a:buNone/>
              <a:defRPr sz="2800" b="1" i="0">
                <a:solidFill>
                  <a:schemeClr val="accent5">
                    <a:lumMod val="75000"/>
                  </a:schemeClr>
                </a:solidFill>
                <a:latin typeface="Arial" charset="0"/>
                <a:ea typeface="Arial" charset="0"/>
                <a:cs typeface="Arial" charset="0"/>
              </a:defRPr>
            </a:lvl1pPr>
          </a:lstStyle>
          <a:p>
            <a:pPr lvl="0"/>
            <a:r>
              <a:rPr lang="es-ES_tradnl"/>
              <a:t>Title</a:t>
            </a:r>
            <a:endParaRPr lang="es-ES_tradnl" dirty="0"/>
          </a:p>
        </p:txBody>
      </p:sp>
      <p:sp>
        <p:nvSpPr>
          <p:cNvPr id="12" name="Marcador de texto 8"/>
          <p:cNvSpPr>
            <a:spLocks noGrp="1"/>
          </p:cNvSpPr>
          <p:nvPr>
            <p:ph type="body" sz="quarter" idx="11" hasCustomPrompt="1"/>
          </p:nvPr>
        </p:nvSpPr>
        <p:spPr>
          <a:xfrm>
            <a:off x="622800" y="1174283"/>
            <a:ext cx="7452795" cy="356135"/>
          </a:xfrm>
        </p:spPr>
        <p:txBody>
          <a:bodyPr>
            <a:noAutofit/>
          </a:bodyPr>
          <a:lstStyle>
            <a:lvl1pPr marL="0" indent="0">
              <a:buNone/>
              <a:defRPr sz="1600" b="1" i="0">
                <a:solidFill>
                  <a:schemeClr val="accent6"/>
                </a:solidFill>
                <a:latin typeface="Arial" charset="0"/>
                <a:ea typeface="Arial" charset="0"/>
                <a:cs typeface="Arial" charset="0"/>
              </a:defRPr>
            </a:lvl1pPr>
          </a:lstStyle>
          <a:p>
            <a:pPr lvl="0"/>
            <a:r>
              <a:rPr lang="es-ES_tradnl" dirty="0" err="1"/>
              <a:t>subtitle</a:t>
            </a:r>
            <a:endParaRPr lang="es-ES_tradnl" dirty="0"/>
          </a:p>
        </p:txBody>
      </p:sp>
      <p:sp>
        <p:nvSpPr>
          <p:cNvPr id="13" name="Marcador de texto 8"/>
          <p:cNvSpPr>
            <a:spLocks noGrp="1"/>
          </p:cNvSpPr>
          <p:nvPr>
            <p:ph type="body" sz="quarter" idx="12" hasCustomPrompt="1"/>
          </p:nvPr>
        </p:nvSpPr>
        <p:spPr>
          <a:xfrm>
            <a:off x="622801" y="1809550"/>
            <a:ext cx="2717166" cy="3705726"/>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r>
              <a:rPr lang="es-ES_tradnl" dirty="0" err="1"/>
              <a:t>incididunt</a:t>
            </a:r>
            <a:r>
              <a:rPr lang="es-ES_tradnl" dirty="0"/>
              <a:t> ut labore et </a:t>
            </a:r>
            <a:r>
              <a:rPr lang="es-ES_tradnl" dirty="0" err="1"/>
              <a:t>dolore</a:t>
            </a:r>
            <a:r>
              <a:rPr lang="es-ES_tradnl" dirty="0"/>
              <a:t> magna </a:t>
            </a:r>
            <a:r>
              <a:rPr lang="es-ES_tradnl" dirty="0" err="1"/>
              <a:t>aliqua</a:t>
            </a:r>
            <a:r>
              <a:rPr lang="es-ES_tradnl" dirty="0"/>
              <a:t>. Ut </a:t>
            </a:r>
            <a:r>
              <a:rPr lang="es-ES_tradnl" dirty="0" err="1"/>
              <a:t>enim</a:t>
            </a:r>
            <a:r>
              <a:rPr lang="es-ES_tradnl" dirty="0"/>
              <a:t> ad </a:t>
            </a:r>
            <a:r>
              <a:rPr lang="es-ES_tradnl" dirty="0" err="1"/>
              <a:t>minim</a:t>
            </a:r>
            <a:r>
              <a:rPr lang="es-ES_tradnl" dirty="0"/>
              <a:t> </a:t>
            </a:r>
            <a:r>
              <a:rPr lang="es-ES_tradnl" dirty="0" err="1"/>
              <a:t>veniam</a:t>
            </a:r>
            <a:r>
              <a:rPr lang="es-ES_tradnl" dirty="0"/>
              <a:t>, </a:t>
            </a:r>
            <a:r>
              <a:rPr lang="es-ES_tradnl" dirty="0" err="1"/>
              <a:t>quis</a:t>
            </a:r>
            <a:r>
              <a:rPr lang="es-ES_tradnl" dirty="0"/>
              <a:t> </a:t>
            </a:r>
            <a:r>
              <a:rPr lang="es-ES_tradnl" dirty="0" err="1"/>
              <a:t>nostrud</a:t>
            </a:r>
            <a:r>
              <a:rPr lang="es-ES_tradnl" dirty="0"/>
              <a:t> </a:t>
            </a:r>
            <a:r>
              <a:rPr lang="es-ES_tradnl" dirty="0" err="1"/>
              <a:t>exercitation</a:t>
            </a:r>
            <a:r>
              <a:rPr lang="es-ES_tradnl" dirty="0"/>
              <a:t> </a:t>
            </a:r>
            <a:r>
              <a:rPr lang="es-ES_tradnl" dirty="0" err="1"/>
              <a:t>ullamco</a:t>
            </a:r>
            <a:r>
              <a:rPr lang="es-ES_tradnl" dirty="0"/>
              <a:t> </a:t>
            </a:r>
            <a:r>
              <a:rPr lang="es-ES_tradnl" dirty="0" err="1"/>
              <a:t>laboris</a:t>
            </a:r>
            <a:r>
              <a:rPr lang="es-ES_tradnl" dirty="0"/>
              <a:t> </a:t>
            </a:r>
            <a:r>
              <a:rPr lang="es-ES_tradnl" dirty="0" err="1"/>
              <a:t>nisi</a:t>
            </a:r>
            <a:r>
              <a:rPr lang="es-ES_tradnl" dirty="0"/>
              <a:t> ut </a:t>
            </a:r>
            <a:r>
              <a:rPr lang="es-ES_tradnl" dirty="0" err="1"/>
              <a:t>aliquip</a:t>
            </a:r>
            <a:r>
              <a:rPr lang="es-ES_tradnl" dirty="0"/>
              <a:t> ex </a:t>
            </a:r>
            <a:r>
              <a:rPr lang="es-ES_tradnl" dirty="0" err="1"/>
              <a:t>ea</a:t>
            </a:r>
            <a:r>
              <a:rPr lang="es-ES_tradnl" dirty="0"/>
              <a:t> commodo </a:t>
            </a:r>
            <a:r>
              <a:rPr lang="es-ES_tradnl" dirty="0" err="1"/>
              <a:t>consequat</a:t>
            </a:r>
            <a:r>
              <a:rPr lang="es-ES_tradnl" dirty="0"/>
              <a:t>. </a:t>
            </a:r>
            <a:r>
              <a:rPr lang="es-ES_tradnl" dirty="0" err="1"/>
              <a:t>Duis</a:t>
            </a:r>
            <a:r>
              <a:rPr lang="es-ES_tradnl" dirty="0"/>
              <a:t> </a:t>
            </a:r>
            <a:r>
              <a:rPr lang="es-ES_tradnl" dirty="0" err="1"/>
              <a:t>aute</a:t>
            </a:r>
            <a:r>
              <a:rPr lang="es-ES_tradnl" dirty="0"/>
              <a:t> </a:t>
            </a:r>
            <a:r>
              <a:rPr lang="es-ES_tradnl" dirty="0" err="1"/>
              <a:t>irure</a:t>
            </a:r>
            <a:r>
              <a:rPr lang="es-ES_tradnl" dirty="0"/>
              <a:t> dolor in </a:t>
            </a:r>
            <a:r>
              <a:rPr lang="es-ES_tradnl" dirty="0" err="1"/>
              <a:t>reprehenderit</a:t>
            </a:r>
            <a:r>
              <a:rPr lang="es-ES_tradnl" dirty="0"/>
              <a:t> in </a:t>
            </a:r>
            <a:r>
              <a:rPr lang="es-ES_tradnl" dirty="0" err="1"/>
              <a:t>voluptate</a:t>
            </a:r>
            <a:r>
              <a:rPr lang="es-ES_tradnl" dirty="0"/>
              <a:t> </a:t>
            </a:r>
            <a:r>
              <a:rPr lang="es-ES_tradnl" dirty="0" err="1"/>
              <a:t>velit</a:t>
            </a:r>
            <a:r>
              <a:rPr lang="es-ES_tradnl" dirty="0"/>
              <a:t> </a:t>
            </a:r>
            <a:r>
              <a:rPr lang="es-ES_tradnl" dirty="0" err="1"/>
              <a:t>esse</a:t>
            </a:r>
            <a:r>
              <a:rPr lang="es-ES_tradnl" dirty="0"/>
              <a:t> </a:t>
            </a:r>
            <a:r>
              <a:rPr lang="es-ES_tradnl" dirty="0" err="1"/>
              <a:t>cillum</a:t>
            </a:r>
            <a:r>
              <a:rPr lang="es-ES_tradnl" dirty="0"/>
              <a:t> </a:t>
            </a:r>
            <a:r>
              <a:rPr lang="es-ES_tradnl" dirty="0" err="1"/>
              <a:t>dolore</a:t>
            </a:r>
            <a:r>
              <a:rPr lang="es-ES_tradnl" dirty="0"/>
              <a:t> </a:t>
            </a:r>
            <a:r>
              <a:rPr lang="es-ES_tradnl" dirty="0" err="1"/>
              <a:t>eu</a:t>
            </a:r>
            <a:r>
              <a:rPr lang="es-ES_tradnl" dirty="0"/>
              <a:t> </a:t>
            </a:r>
            <a:r>
              <a:rPr lang="es-ES_tradnl" dirty="0" err="1"/>
              <a:t>fugiat</a:t>
            </a:r>
            <a:r>
              <a:rPr lang="es-ES_tradnl" dirty="0"/>
              <a:t> </a:t>
            </a:r>
            <a:r>
              <a:rPr lang="es-ES_tradnl" dirty="0" err="1"/>
              <a:t>nulla</a:t>
            </a:r>
            <a:r>
              <a:rPr lang="es-ES_tradnl" dirty="0"/>
              <a:t> </a:t>
            </a:r>
            <a:r>
              <a:rPr lang="es-ES_tradnl" dirty="0" err="1"/>
              <a:t>pariatur</a:t>
            </a:r>
            <a:r>
              <a:rPr lang="es-ES_tradnl" dirty="0"/>
              <a:t>. </a:t>
            </a:r>
            <a:r>
              <a:rPr lang="es-ES_tradnl" dirty="0" err="1"/>
              <a:t>Excepteur</a:t>
            </a:r>
            <a:r>
              <a:rPr lang="es-ES_tradnl" dirty="0"/>
              <a:t> </a:t>
            </a:r>
            <a:r>
              <a:rPr lang="es-ES_tradnl" dirty="0" err="1"/>
              <a:t>sint</a:t>
            </a:r>
            <a:r>
              <a:rPr lang="es-ES_tradnl" dirty="0"/>
              <a:t> </a:t>
            </a:r>
            <a:r>
              <a:rPr lang="es-ES_tradnl" dirty="0" err="1"/>
              <a:t>occaecat</a:t>
            </a:r>
            <a:r>
              <a:rPr lang="es-ES_tradnl" dirty="0"/>
              <a:t> </a:t>
            </a:r>
            <a:r>
              <a:rPr lang="es-ES_tradnl" dirty="0" err="1"/>
              <a:t>cupidatat</a:t>
            </a:r>
            <a:r>
              <a:rPr lang="es-ES_tradnl" dirty="0"/>
              <a:t> non </a:t>
            </a:r>
            <a:r>
              <a:rPr lang="es-ES_tradnl" dirty="0" err="1"/>
              <a:t>proident</a:t>
            </a:r>
            <a:r>
              <a:rPr lang="es-ES_tradnl" dirty="0"/>
              <a:t>, </a:t>
            </a:r>
            <a:r>
              <a:rPr lang="es-ES_tradnl" dirty="0" err="1"/>
              <a:t>sunt</a:t>
            </a:r>
            <a:r>
              <a:rPr lang="es-ES_tradnl" dirty="0"/>
              <a:t> in culpa </a:t>
            </a:r>
            <a:r>
              <a:rPr lang="es-ES_tradnl" dirty="0" err="1"/>
              <a:t>qui</a:t>
            </a:r>
            <a:r>
              <a:rPr lang="es-ES_tradnl" dirty="0"/>
              <a:t> </a:t>
            </a:r>
            <a:r>
              <a:rPr lang="es-ES_tradnl" dirty="0" err="1"/>
              <a:t>officia</a:t>
            </a:r>
            <a:r>
              <a:rPr lang="es-ES_tradnl" dirty="0"/>
              <a:t> </a:t>
            </a:r>
            <a:r>
              <a:rPr lang="es-ES_tradnl" dirty="0" err="1"/>
              <a:t>deserunt</a:t>
            </a:r>
            <a:r>
              <a:rPr lang="es-ES_tradnl" dirty="0"/>
              <a:t> </a:t>
            </a:r>
            <a:r>
              <a:rPr lang="es-ES_tradnl" dirty="0" err="1"/>
              <a:t>mollit</a:t>
            </a:r>
            <a:r>
              <a:rPr lang="es-ES_tradnl" dirty="0"/>
              <a:t> </a:t>
            </a:r>
            <a:r>
              <a:rPr lang="es-ES_tradnl" dirty="0" err="1"/>
              <a:t>anim</a:t>
            </a:r>
            <a:r>
              <a:rPr lang="es-ES_tradnl" dirty="0"/>
              <a:t> id </a:t>
            </a:r>
            <a:r>
              <a:rPr lang="es-ES_tradnl" dirty="0" err="1"/>
              <a:t>est</a:t>
            </a:r>
            <a:r>
              <a:rPr lang="es-ES_tradnl" dirty="0"/>
              <a:t> </a:t>
            </a:r>
            <a:r>
              <a:rPr lang="es-ES_tradnl" dirty="0" err="1"/>
              <a:t>laborum</a:t>
            </a:r>
            <a:r>
              <a:rPr lang="es-ES_tradnl" dirty="0"/>
              <a:t>.</a:t>
            </a:r>
          </a:p>
        </p:txBody>
      </p:sp>
      <p:sp>
        <p:nvSpPr>
          <p:cNvPr id="14" name="Marcador de texto 8"/>
          <p:cNvSpPr>
            <a:spLocks noGrp="1"/>
          </p:cNvSpPr>
          <p:nvPr>
            <p:ph type="body" sz="quarter" idx="13" hasCustomPrompt="1"/>
          </p:nvPr>
        </p:nvSpPr>
        <p:spPr>
          <a:xfrm>
            <a:off x="3592195" y="1809550"/>
            <a:ext cx="2717166" cy="3705726"/>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r>
              <a:rPr lang="es-ES_tradnl" dirty="0" err="1"/>
              <a:t>incididunt</a:t>
            </a:r>
            <a:r>
              <a:rPr lang="es-ES_tradnl" dirty="0"/>
              <a:t> ut labore et </a:t>
            </a:r>
            <a:r>
              <a:rPr lang="es-ES_tradnl" dirty="0" err="1"/>
              <a:t>dolore</a:t>
            </a:r>
            <a:r>
              <a:rPr lang="es-ES_tradnl" dirty="0"/>
              <a:t> magna </a:t>
            </a:r>
            <a:r>
              <a:rPr lang="es-ES_tradnl" dirty="0" err="1"/>
              <a:t>aliqua</a:t>
            </a:r>
            <a:r>
              <a:rPr lang="es-ES_tradnl" dirty="0"/>
              <a:t>. Ut </a:t>
            </a:r>
            <a:r>
              <a:rPr lang="es-ES_tradnl" dirty="0" err="1"/>
              <a:t>enim</a:t>
            </a:r>
            <a:r>
              <a:rPr lang="es-ES_tradnl" dirty="0"/>
              <a:t> ad </a:t>
            </a:r>
            <a:r>
              <a:rPr lang="es-ES_tradnl" dirty="0" err="1"/>
              <a:t>minim</a:t>
            </a:r>
            <a:r>
              <a:rPr lang="es-ES_tradnl" dirty="0"/>
              <a:t> </a:t>
            </a:r>
            <a:r>
              <a:rPr lang="es-ES_tradnl" dirty="0" err="1"/>
              <a:t>veniam</a:t>
            </a:r>
            <a:r>
              <a:rPr lang="es-ES_tradnl" dirty="0"/>
              <a:t>, </a:t>
            </a:r>
            <a:r>
              <a:rPr lang="es-ES_tradnl" dirty="0" err="1"/>
              <a:t>quis</a:t>
            </a:r>
            <a:r>
              <a:rPr lang="es-ES_tradnl" dirty="0"/>
              <a:t> </a:t>
            </a:r>
            <a:r>
              <a:rPr lang="es-ES_tradnl" dirty="0" err="1"/>
              <a:t>nostrud</a:t>
            </a:r>
            <a:r>
              <a:rPr lang="es-ES_tradnl" dirty="0"/>
              <a:t> </a:t>
            </a:r>
            <a:r>
              <a:rPr lang="es-ES_tradnl" dirty="0" err="1"/>
              <a:t>exercitation</a:t>
            </a:r>
            <a:r>
              <a:rPr lang="es-ES_tradnl" dirty="0"/>
              <a:t> </a:t>
            </a:r>
            <a:r>
              <a:rPr lang="es-ES_tradnl" dirty="0" err="1"/>
              <a:t>ullamco</a:t>
            </a:r>
            <a:r>
              <a:rPr lang="es-ES_tradnl" dirty="0"/>
              <a:t> </a:t>
            </a:r>
            <a:r>
              <a:rPr lang="es-ES_tradnl" dirty="0" err="1"/>
              <a:t>laboris</a:t>
            </a:r>
            <a:r>
              <a:rPr lang="es-ES_tradnl" dirty="0"/>
              <a:t> </a:t>
            </a:r>
            <a:r>
              <a:rPr lang="es-ES_tradnl" dirty="0" err="1"/>
              <a:t>nisi</a:t>
            </a:r>
            <a:r>
              <a:rPr lang="es-ES_tradnl" dirty="0"/>
              <a:t> ut </a:t>
            </a:r>
            <a:r>
              <a:rPr lang="es-ES_tradnl" dirty="0" err="1"/>
              <a:t>aliquip</a:t>
            </a:r>
            <a:r>
              <a:rPr lang="es-ES_tradnl" dirty="0"/>
              <a:t> ex </a:t>
            </a:r>
            <a:r>
              <a:rPr lang="es-ES_tradnl" dirty="0" err="1"/>
              <a:t>ea</a:t>
            </a:r>
            <a:r>
              <a:rPr lang="es-ES_tradnl" dirty="0"/>
              <a:t> commodo </a:t>
            </a:r>
            <a:r>
              <a:rPr lang="es-ES_tradnl" dirty="0" err="1"/>
              <a:t>consequat</a:t>
            </a:r>
            <a:r>
              <a:rPr lang="es-ES_tradnl" dirty="0"/>
              <a:t>. </a:t>
            </a:r>
            <a:r>
              <a:rPr lang="es-ES_tradnl" dirty="0" err="1"/>
              <a:t>Duis</a:t>
            </a:r>
            <a:r>
              <a:rPr lang="es-ES_tradnl" dirty="0"/>
              <a:t> </a:t>
            </a:r>
            <a:r>
              <a:rPr lang="es-ES_tradnl" dirty="0" err="1"/>
              <a:t>aute</a:t>
            </a:r>
            <a:r>
              <a:rPr lang="es-ES_tradnl" dirty="0"/>
              <a:t> </a:t>
            </a:r>
            <a:r>
              <a:rPr lang="es-ES_tradnl" dirty="0" err="1"/>
              <a:t>irure</a:t>
            </a:r>
            <a:r>
              <a:rPr lang="es-ES_tradnl" dirty="0"/>
              <a:t> dolor in </a:t>
            </a:r>
            <a:r>
              <a:rPr lang="es-ES_tradnl" dirty="0" err="1"/>
              <a:t>reprehenderit</a:t>
            </a:r>
            <a:r>
              <a:rPr lang="es-ES_tradnl" dirty="0"/>
              <a:t> in </a:t>
            </a:r>
            <a:r>
              <a:rPr lang="es-ES_tradnl" dirty="0" err="1"/>
              <a:t>voluptate</a:t>
            </a:r>
            <a:r>
              <a:rPr lang="es-ES_tradnl" dirty="0"/>
              <a:t> </a:t>
            </a:r>
            <a:r>
              <a:rPr lang="es-ES_tradnl" dirty="0" err="1"/>
              <a:t>velit</a:t>
            </a:r>
            <a:r>
              <a:rPr lang="es-ES_tradnl" dirty="0"/>
              <a:t> </a:t>
            </a:r>
            <a:r>
              <a:rPr lang="es-ES_tradnl" dirty="0" err="1"/>
              <a:t>esse</a:t>
            </a:r>
            <a:r>
              <a:rPr lang="es-ES_tradnl" dirty="0"/>
              <a:t> </a:t>
            </a:r>
            <a:r>
              <a:rPr lang="es-ES_tradnl" dirty="0" err="1"/>
              <a:t>cillum</a:t>
            </a:r>
            <a:r>
              <a:rPr lang="es-ES_tradnl" dirty="0"/>
              <a:t> </a:t>
            </a:r>
            <a:r>
              <a:rPr lang="es-ES_tradnl" dirty="0" err="1"/>
              <a:t>dolore</a:t>
            </a:r>
            <a:r>
              <a:rPr lang="es-ES_tradnl" dirty="0"/>
              <a:t> </a:t>
            </a:r>
            <a:r>
              <a:rPr lang="es-ES_tradnl" dirty="0" err="1"/>
              <a:t>eu</a:t>
            </a:r>
            <a:r>
              <a:rPr lang="es-ES_tradnl" dirty="0"/>
              <a:t> </a:t>
            </a:r>
            <a:r>
              <a:rPr lang="es-ES_tradnl" dirty="0" err="1"/>
              <a:t>fugiat</a:t>
            </a:r>
            <a:r>
              <a:rPr lang="es-ES_tradnl" dirty="0"/>
              <a:t> </a:t>
            </a:r>
            <a:r>
              <a:rPr lang="es-ES_tradnl" dirty="0" err="1"/>
              <a:t>nulla</a:t>
            </a:r>
            <a:r>
              <a:rPr lang="es-ES_tradnl" dirty="0"/>
              <a:t> </a:t>
            </a:r>
            <a:r>
              <a:rPr lang="es-ES_tradnl" dirty="0" err="1"/>
              <a:t>pariatur</a:t>
            </a:r>
            <a:r>
              <a:rPr lang="es-ES_tradnl" dirty="0"/>
              <a:t>. </a:t>
            </a:r>
            <a:r>
              <a:rPr lang="es-ES_tradnl" dirty="0" err="1"/>
              <a:t>Excepteur</a:t>
            </a:r>
            <a:r>
              <a:rPr lang="es-ES_tradnl" dirty="0"/>
              <a:t> </a:t>
            </a:r>
            <a:r>
              <a:rPr lang="es-ES_tradnl" dirty="0" err="1"/>
              <a:t>sint</a:t>
            </a:r>
            <a:r>
              <a:rPr lang="es-ES_tradnl" dirty="0"/>
              <a:t> </a:t>
            </a:r>
            <a:r>
              <a:rPr lang="es-ES_tradnl" dirty="0" err="1"/>
              <a:t>occaecat</a:t>
            </a:r>
            <a:r>
              <a:rPr lang="es-ES_tradnl" dirty="0"/>
              <a:t> </a:t>
            </a:r>
            <a:r>
              <a:rPr lang="es-ES_tradnl" dirty="0" err="1"/>
              <a:t>cupidatat</a:t>
            </a:r>
            <a:r>
              <a:rPr lang="es-ES_tradnl" dirty="0"/>
              <a:t> non </a:t>
            </a:r>
            <a:r>
              <a:rPr lang="es-ES_tradnl" dirty="0" err="1"/>
              <a:t>proident</a:t>
            </a:r>
            <a:r>
              <a:rPr lang="es-ES_tradnl" dirty="0"/>
              <a:t>, </a:t>
            </a:r>
            <a:r>
              <a:rPr lang="es-ES_tradnl" dirty="0" err="1"/>
              <a:t>sunt</a:t>
            </a:r>
            <a:r>
              <a:rPr lang="es-ES_tradnl" dirty="0"/>
              <a:t> in culpa </a:t>
            </a:r>
            <a:r>
              <a:rPr lang="es-ES_tradnl" dirty="0" err="1"/>
              <a:t>qui</a:t>
            </a:r>
            <a:r>
              <a:rPr lang="es-ES_tradnl" dirty="0"/>
              <a:t> </a:t>
            </a:r>
            <a:r>
              <a:rPr lang="es-ES_tradnl" dirty="0" err="1"/>
              <a:t>officia</a:t>
            </a:r>
            <a:r>
              <a:rPr lang="es-ES_tradnl" dirty="0"/>
              <a:t> </a:t>
            </a:r>
            <a:r>
              <a:rPr lang="es-ES_tradnl" dirty="0" err="1"/>
              <a:t>deserunt</a:t>
            </a:r>
            <a:r>
              <a:rPr lang="es-ES_tradnl" dirty="0"/>
              <a:t> </a:t>
            </a:r>
            <a:r>
              <a:rPr lang="es-ES_tradnl" dirty="0" err="1"/>
              <a:t>mollit</a:t>
            </a:r>
            <a:r>
              <a:rPr lang="es-ES_tradnl" dirty="0"/>
              <a:t> </a:t>
            </a:r>
            <a:r>
              <a:rPr lang="es-ES_tradnl" dirty="0" err="1"/>
              <a:t>anim</a:t>
            </a:r>
            <a:r>
              <a:rPr lang="es-ES_tradnl" dirty="0"/>
              <a:t> id </a:t>
            </a:r>
            <a:r>
              <a:rPr lang="es-ES_tradnl" dirty="0" err="1"/>
              <a:t>est</a:t>
            </a:r>
            <a:r>
              <a:rPr lang="es-ES_tradnl" dirty="0"/>
              <a:t> </a:t>
            </a:r>
            <a:r>
              <a:rPr lang="es-ES_tradnl" dirty="0" err="1"/>
              <a:t>laborum</a:t>
            </a:r>
            <a:r>
              <a:rPr lang="es-ES_tradnl" dirty="0"/>
              <a:t>.</a:t>
            </a:r>
          </a:p>
        </p:txBody>
      </p:sp>
      <p:sp>
        <p:nvSpPr>
          <p:cNvPr id="15" name="Marcador de texto 8"/>
          <p:cNvSpPr>
            <a:spLocks noGrp="1"/>
          </p:cNvSpPr>
          <p:nvPr>
            <p:ph type="body" sz="quarter" idx="14" hasCustomPrompt="1"/>
          </p:nvPr>
        </p:nvSpPr>
        <p:spPr>
          <a:xfrm>
            <a:off x="6561589" y="1809550"/>
            <a:ext cx="2717166" cy="3705726"/>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r>
              <a:rPr lang="es-ES_tradnl" dirty="0" err="1"/>
              <a:t>incididunt</a:t>
            </a:r>
            <a:r>
              <a:rPr lang="es-ES_tradnl" dirty="0"/>
              <a:t> ut labore et </a:t>
            </a:r>
            <a:r>
              <a:rPr lang="es-ES_tradnl" dirty="0" err="1"/>
              <a:t>dolore</a:t>
            </a:r>
            <a:r>
              <a:rPr lang="es-ES_tradnl" dirty="0"/>
              <a:t> magna </a:t>
            </a:r>
            <a:r>
              <a:rPr lang="es-ES_tradnl" dirty="0" err="1"/>
              <a:t>aliqua</a:t>
            </a:r>
            <a:r>
              <a:rPr lang="es-ES_tradnl" dirty="0"/>
              <a:t>. Ut </a:t>
            </a:r>
            <a:r>
              <a:rPr lang="es-ES_tradnl" dirty="0" err="1"/>
              <a:t>enim</a:t>
            </a:r>
            <a:r>
              <a:rPr lang="es-ES_tradnl" dirty="0"/>
              <a:t> ad </a:t>
            </a:r>
            <a:r>
              <a:rPr lang="es-ES_tradnl" dirty="0" err="1"/>
              <a:t>minim</a:t>
            </a:r>
            <a:r>
              <a:rPr lang="es-ES_tradnl" dirty="0"/>
              <a:t> </a:t>
            </a:r>
            <a:r>
              <a:rPr lang="es-ES_tradnl" dirty="0" err="1"/>
              <a:t>veniam</a:t>
            </a:r>
            <a:r>
              <a:rPr lang="es-ES_tradnl" dirty="0"/>
              <a:t>, </a:t>
            </a:r>
            <a:r>
              <a:rPr lang="es-ES_tradnl" dirty="0" err="1"/>
              <a:t>quis</a:t>
            </a:r>
            <a:r>
              <a:rPr lang="es-ES_tradnl" dirty="0"/>
              <a:t> </a:t>
            </a:r>
            <a:r>
              <a:rPr lang="es-ES_tradnl" dirty="0" err="1"/>
              <a:t>nostrud</a:t>
            </a:r>
            <a:r>
              <a:rPr lang="es-ES_tradnl" dirty="0"/>
              <a:t> </a:t>
            </a:r>
            <a:r>
              <a:rPr lang="es-ES_tradnl" dirty="0" err="1"/>
              <a:t>exercitation</a:t>
            </a:r>
            <a:r>
              <a:rPr lang="es-ES_tradnl" dirty="0"/>
              <a:t> </a:t>
            </a:r>
            <a:r>
              <a:rPr lang="es-ES_tradnl" dirty="0" err="1"/>
              <a:t>ullamco</a:t>
            </a:r>
            <a:r>
              <a:rPr lang="es-ES_tradnl" dirty="0"/>
              <a:t> </a:t>
            </a:r>
            <a:r>
              <a:rPr lang="es-ES_tradnl" dirty="0" err="1"/>
              <a:t>laboris</a:t>
            </a:r>
            <a:r>
              <a:rPr lang="es-ES_tradnl" dirty="0"/>
              <a:t> </a:t>
            </a:r>
            <a:r>
              <a:rPr lang="es-ES_tradnl" dirty="0" err="1"/>
              <a:t>nisi</a:t>
            </a:r>
            <a:r>
              <a:rPr lang="es-ES_tradnl" dirty="0"/>
              <a:t> ut </a:t>
            </a:r>
            <a:r>
              <a:rPr lang="es-ES_tradnl" dirty="0" err="1"/>
              <a:t>aliquip</a:t>
            </a:r>
            <a:r>
              <a:rPr lang="es-ES_tradnl" dirty="0"/>
              <a:t> ex </a:t>
            </a:r>
            <a:r>
              <a:rPr lang="es-ES_tradnl" dirty="0" err="1"/>
              <a:t>ea</a:t>
            </a:r>
            <a:r>
              <a:rPr lang="es-ES_tradnl" dirty="0"/>
              <a:t> commodo </a:t>
            </a:r>
            <a:r>
              <a:rPr lang="es-ES_tradnl" dirty="0" err="1"/>
              <a:t>consequat</a:t>
            </a:r>
            <a:r>
              <a:rPr lang="es-ES_tradnl" dirty="0"/>
              <a:t>. </a:t>
            </a:r>
            <a:r>
              <a:rPr lang="es-ES_tradnl" dirty="0" err="1"/>
              <a:t>Duis</a:t>
            </a:r>
            <a:r>
              <a:rPr lang="es-ES_tradnl" dirty="0"/>
              <a:t> </a:t>
            </a:r>
            <a:r>
              <a:rPr lang="es-ES_tradnl" dirty="0" err="1"/>
              <a:t>aute</a:t>
            </a:r>
            <a:r>
              <a:rPr lang="es-ES_tradnl" dirty="0"/>
              <a:t> </a:t>
            </a:r>
            <a:r>
              <a:rPr lang="es-ES_tradnl" dirty="0" err="1"/>
              <a:t>irure</a:t>
            </a:r>
            <a:r>
              <a:rPr lang="es-ES_tradnl" dirty="0"/>
              <a:t> dolor in </a:t>
            </a:r>
            <a:r>
              <a:rPr lang="es-ES_tradnl" dirty="0" err="1"/>
              <a:t>reprehenderit</a:t>
            </a:r>
            <a:r>
              <a:rPr lang="es-ES_tradnl" dirty="0"/>
              <a:t> in </a:t>
            </a:r>
            <a:r>
              <a:rPr lang="es-ES_tradnl" dirty="0" err="1"/>
              <a:t>voluptate</a:t>
            </a:r>
            <a:r>
              <a:rPr lang="es-ES_tradnl" dirty="0"/>
              <a:t> </a:t>
            </a:r>
            <a:r>
              <a:rPr lang="es-ES_tradnl" dirty="0" err="1"/>
              <a:t>velit</a:t>
            </a:r>
            <a:r>
              <a:rPr lang="es-ES_tradnl" dirty="0"/>
              <a:t> </a:t>
            </a:r>
            <a:r>
              <a:rPr lang="es-ES_tradnl" dirty="0" err="1"/>
              <a:t>esse</a:t>
            </a:r>
            <a:r>
              <a:rPr lang="es-ES_tradnl" dirty="0"/>
              <a:t> </a:t>
            </a:r>
            <a:r>
              <a:rPr lang="es-ES_tradnl" dirty="0" err="1"/>
              <a:t>cillum</a:t>
            </a:r>
            <a:r>
              <a:rPr lang="es-ES_tradnl" dirty="0"/>
              <a:t> </a:t>
            </a:r>
            <a:r>
              <a:rPr lang="es-ES_tradnl" dirty="0" err="1"/>
              <a:t>dolore</a:t>
            </a:r>
            <a:r>
              <a:rPr lang="es-ES_tradnl" dirty="0"/>
              <a:t> </a:t>
            </a:r>
            <a:r>
              <a:rPr lang="es-ES_tradnl" dirty="0" err="1"/>
              <a:t>eu</a:t>
            </a:r>
            <a:r>
              <a:rPr lang="es-ES_tradnl" dirty="0"/>
              <a:t> </a:t>
            </a:r>
            <a:r>
              <a:rPr lang="es-ES_tradnl" dirty="0" err="1"/>
              <a:t>fugiat</a:t>
            </a:r>
            <a:r>
              <a:rPr lang="es-ES_tradnl" dirty="0"/>
              <a:t> </a:t>
            </a:r>
            <a:r>
              <a:rPr lang="es-ES_tradnl" dirty="0" err="1"/>
              <a:t>nulla</a:t>
            </a:r>
            <a:r>
              <a:rPr lang="es-ES_tradnl" dirty="0"/>
              <a:t> </a:t>
            </a:r>
            <a:r>
              <a:rPr lang="es-ES_tradnl" dirty="0" err="1"/>
              <a:t>pariatur</a:t>
            </a:r>
            <a:r>
              <a:rPr lang="es-ES_tradnl" dirty="0"/>
              <a:t>. </a:t>
            </a:r>
            <a:r>
              <a:rPr lang="es-ES_tradnl" dirty="0" err="1"/>
              <a:t>Excepteur</a:t>
            </a:r>
            <a:r>
              <a:rPr lang="es-ES_tradnl" dirty="0"/>
              <a:t> </a:t>
            </a:r>
            <a:r>
              <a:rPr lang="es-ES_tradnl" dirty="0" err="1"/>
              <a:t>sint</a:t>
            </a:r>
            <a:r>
              <a:rPr lang="es-ES_tradnl" dirty="0"/>
              <a:t> </a:t>
            </a:r>
            <a:r>
              <a:rPr lang="es-ES_tradnl" dirty="0" err="1"/>
              <a:t>occaecat</a:t>
            </a:r>
            <a:r>
              <a:rPr lang="es-ES_tradnl" dirty="0"/>
              <a:t> </a:t>
            </a:r>
            <a:r>
              <a:rPr lang="es-ES_tradnl" dirty="0" err="1"/>
              <a:t>cupidatat</a:t>
            </a:r>
            <a:r>
              <a:rPr lang="es-ES_tradnl" dirty="0"/>
              <a:t> non </a:t>
            </a:r>
            <a:r>
              <a:rPr lang="es-ES_tradnl" dirty="0" err="1"/>
              <a:t>proident</a:t>
            </a:r>
            <a:r>
              <a:rPr lang="es-ES_tradnl" dirty="0"/>
              <a:t>, </a:t>
            </a:r>
            <a:r>
              <a:rPr lang="es-ES_tradnl" dirty="0" err="1"/>
              <a:t>sunt</a:t>
            </a:r>
            <a:r>
              <a:rPr lang="es-ES_tradnl" dirty="0"/>
              <a:t> in culpa </a:t>
            </a:r>
            <a:r>
              <a:rPr lang="es-ES_tradnl" dirty="0" err="1"/>
              <a:t>qui</a:t>
            </a:r>
            <a:r>
              <a:rPr lang="es-ES_tradnl" dirty="0"/>
              <a:t> </a:t>
            </a:r>
            <a:r>
              <a:rPr lang="es-ES_tradnl" dirty="0" err="1"/>
              <a:t>officia</a:t>
            </a:r>
            <a:r>
              <a:rPr lang="es-ES_tradnl" dirty="0"/>
              <a:t> </a:t>
            </a:r>
            <a:r>
              <a:rPr lang="es-ES_tradnl" dirty="0" err="1"/>
              <a:t>deserunt</a:t>
            </a:r>
            <a:r>
              <a:rPr lang="es-ES_tradnl" dirty="0"/>
              <a:t> </a:t>
            </a:r>
            <a:r>
              <a:rPr lang="es-ES_tradnl" dirty="0" err="1"/>
              <a:t>mollit</a:t>
            </a:r>
            <a:r>
              <a:rPr lang="es-ES_tradnl" dirty="0"/>
              <a:t> </a:t>
            </a:r>
            <a:r>
              <a:rPr lang="es-ES_tradnl" dirty="0" err="1"/>
              <a:t>anim</a:t>
            </a:r>
            <a:r>
              <a:rPr lang="es-ES_tradnl" dirty="0"/>
              <a:t> id </a:t>
            </a:r>
            <a:r>
              <a:rPr lang="es-ES_tradnl" dirty="0" err="1"/>
              <a:t>est</a:t>
            </a:r>
            <a:r>
              <a:rPr lang="es-ES_tradnl" dirty="0"/>
              <a:t> </a:t>
            </a:r>
            <a:r>
              <a:rPr lang="es-ES_tradnl" dirty="0" err="1"/>
              <a:t>laborum</a:t>
            </a:r>
            <a:r>
              <a:rPr lang="es-ES_tradnl" dirty="0"/>
              <a:t>.</a:t>
            </a:r>
          </a:p>
        </p:txBody>
      </p:sp>
    </p:spTree>
    <p:extLst>
      <p:ext uri="{BB962C8B-B14F-4D97-AF65-F5344CB8AC3E}">
        <p14:creationId xmlns:p14="http://schemas.microsoft.com/office/powerpoint/2010/main" val="1408029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PHOTO + TEXT">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4" name="Marcador de texto 8"/>
          <p:cNvSpPr>
            <a:spLocks noGrp="1"/>
          </p:cNvSpPr>
          <p:nvPr>
            <p:ph type="body" sz="quarter" idx="10" hasCustomPrompt="1"/>
          </p:nvPr>
        </p:nvSpPr>
        <p:spPr>
          <a:xfrm>
            <a:off x="622800" y="731520"/>
            <a:ext cx="7452795" cy="356135"/>
          </a:xfrm>
        </p:spPr>
        <p:txBody>
          <a:bodyPr>
            <a:noAutofit/>
          </a:bodyPr>
          <a:lstStyle>
            <a:lvl1pPr marL="0" indent="0">
              <a:buNone/>
              <a:defRPr sz="2800" b="1" i="0">
                <a:solidFill>
                  <a:schemeClr val="accent5">
                    <a:lumMod val="75000"/>
                  </a:schemeClr>
                </a:solidFill>
                <a:latin typeface="Arial" charset="0"/>
                <a:ea typeface="Arial" charset="0"/>
                <a:cs typeface="Arial" charset="0"/>
              </a:defRPr>
            </a:lvl1pPr>
          </a:lstStyle>
          <a:p>
            <a:pPr lvl="0"/>
            <a:r>
              <a:rPr lang="es-ES_tradnl"/>
              <a:t>Title</a:t>
            </a:r>
            <a:endParaRPr lang="es-ES_tradnl" dirty="0"/>
          </a:p>
        </p:txBody>
      </p:sp>
      <p:sp>
        <p:nvSpPr>
          <p:cNvPr id="15" name="Marcador de texto 8"/>
          <p:cNvSpPr>
            <a:spLocks noGrp="1"/>
          </p:cNvSpPr>
          <p:nvPr>
            <p:ph type="body" sz="quarter" idx="11" hasCustomPrompt="1"/>
          </p:nvPr>
        </p:nvSpPr>
        <p:spPr>
          <a:xfrm>
            <a:off x="622800" y="1174283"/>
            <a:ext cx="7452795" cy="356135"/>
          </a:xfrm>
        </p:spPr>
        <p:txBody>
          <a:bodyPr>
            <a:noAutofit/>
          </a:bodyPr>
          <a:lstStyle>
            <a:lvl1pPr marL="0" indent="0">
              <a:buNone/>
              <a:defRPr sz="1600" b="1" i="0">
                <a:solidFill>
                  <a:schemeClr val="accent6"/>
                </a:solidFill>
                <a:latin typeface="Arial" charset="0"/>
                <a:ea typeface="Arial" charset="0"/>
                <a:cs typeface="Arial" charset="0"/>
              </a:defRPr>
            </a:lvl1pPr>
          </a:lstStyle>
          <a:p>
            <a:pPr lvl="0"/>
            <a:r>
              <a:rPr lang="es-ES_tradnl" dirty="0" err="1"/>
              <a:t>subtitle</a:t>
            </a:r>
            <a:endParaRPr lang="es-ES_tradnl" dirty="0"/>
          </a:p>
        </p:txBody>
      </p:sp>
      <p:sp>
        <p:nvSpPr>
          <p:cNvPr id="16" name="Marcador de texto 8"/>
          <p:cNvSpPr>
            <a:spLocks noGrp="1"/>
          </p:cNvSpPr>
          <p:nvPr>
            <p:ph type="body" sz="quarter" idx="12" hasCustomPrompt="1"/>
          </p:nvPr>
        </p:nvSpPr>
        <p:spPr>
          <a:xfrm>
            <a:off x="3224464" y="2069432"/>
            <a:ext cx="4851132" cy="1424539"/>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r>
              <a:rPr lang="es-ES_tradnl" dirty="0" err="1"/>
              <a:t>incididunt</a:t>
            </a:r>
            <a:r>
              <a:rPr lang="es-ES_tradnl" dirty="0"/>
              <a:t> ut labore et </a:t>
            </a:r>
            <a:r>
              <a:rPr lang="es-ES_tradnl" dirty="0" err="1"/>
              <a:t>dolore</a:t>
            </a:r>
            <a:r>
              <a:rPr lang="es-ES_tradnl" dirty="0"/>
              <a:t> magna </a:t>
            </a:r>
            <a:r>
              <a:rPr lang="es-ES_tradnl" dirty="0" err="1"/>
              <a:t>aliqua</a:t>
            </a:r>
            <a:r>
              <a:rPr lang="es-ES_tradnl" dirty="0"/>
              <a:t>. Ut </a:t>
            </a:r>
            <a:r>
              <a:rPr lang="es-ES_tradnl" dirty="0" err="1"/>
              <a:t>enim</a:t>
            </a:r>
            <a:r>
              <a:rPr lang="es-ES_tradnl" dirty="0"/>
              <a:t> ad </a:t>
            </a:r>
            <a:r>
              <a:rPr lang="es-ES_tradnl" dirty="0" err="1"/>
              <a:t>minim</a:t>
            </a:r>
            <a:r>
              <a:rPr lang="es-ES_tradnl" dirty="0"/>
              <a:t> </a:t>
            </a:r>
            <a:r>
              <a:rPr lang="es-ES_tradnl" dirty="0" err="1"/>
              <a:t>veniam</a:t>
            </a:r>
            <a:r>
              <a:rPr lang="es-ES_tradnl" dirty="0"/>
              <a:t>, </a:t>
            </a:r>
            <a:r>
              <a:rPr lang="es-ES_tradnl" dirty="0" err="1"/>
              <a:t>quis</a:t>
            </a:r>
            <a:r>
              <a:rPr lang="es-ES_tradnl" dirty="0"/>
              <a:t> </a:t>
            </a:r>
            <a:r>
              <a:rPr lang="es-ES_tradnl" dirty="0" err="1"/>
              <a:t>nostrud</a:t>
            </a:r>
            <a:r>
              <a:rPr lang="es-ES_tradnl" dirty="0"/>
              <a:t> </a:t>
            </a:r>
            <a:r>
              <a:rPr lang="es-ES_tradnl" dirty="0" err="1"/>
              <a:t>exercitation</a:t>
            </a:r>
            <a:r>
              <a:rPr lang="es-ES_tradnl" dirty="0"/>
              <a:t> </a:t>
            </a:r>
            <a:r>
              <a:rPr lang="es-ES_tradnl" dirty="0" err="1"/>
              <a:t>ullamco</a:t>
            </a:r>
            <a:r>
              <a:rPr lang="es-ES_tradnl" dirty="0"/>
              <a:t> </a:t>
            </a:r>
            <a:r>
              <a:rPr lang="es-ES_tradnl" dirty="0" err="1"/>
              <a:t>laboris</a:t>
            </a:r>
            <a:r>
              <a:rPr lang="es-ES_tradnl" dirty="0"/>
              <a:t> </a:t>
            </a:r>
            <a:r>
              <a:rPr lang="es-ES_tradnl" dirty="0" err="1"/>
              <a:t>nisi</a:t>
            </a:r>
            <a:r>
              <a:rPr lang="es-ES_tradnl" dirty="0"/>
              <a:t> ut </a:t>
            </a:r>
            <a:r>
              <a:rPr lang="es-ES_tradnl" dirty="0" err="1"/>
              <a:t>aliquip</a:t>
            </a:r>
            <a:r>
              <a:rPr lang="es-ES_tradnl" dirty="0"/>
              <a:t> ex </a:t>
            </a:r>
            <a:r>
              <a:rPr lang="es-ES_tradnl" dirty="0" err="1"/>
              <a:t>ea</a:t>
            </a:r>
            <a:r>
              <a:rPr lang="es-ES_tradnl" dirty="0"/>
              <a:t> commodo </a:t>
            </a:r>
            <a:r>
              <a:rPr lang="es-ES_tradnl" dirty="0" err="1"/>
              <a:t>consequat</a:t>
            </a:r>
            <a:r>
              <a:rPr lang="es-ES_tradnl" dirty="0"/>
              <a:t>. </a:t>
            </a:r>
            <a:r>
              <a:rPr lang="es-ES_tradnl" dirty="0" err="1"/>
              <a:t>Duis</a:t>
            </a:r>
            <a:r>
              <a:rPr lang="es-ES_tradnl" dirty="0"/>
              <a:t> </a:t>
            </a:r>
            <a:r>
              <a:rPr lang="es-ES_tradnl" dirty="0" err="1"/>
              <a:t>aute</a:t>
            </a:r>
            <a:r>
              <a:rPr lang="es-ES_tradnl" dirty="0"/>
              <a:t> </a:t>
            </a:r>
            <a:r>
              <a:rPr lang="es-ES_tradnl" dirty="0" err="1"/>
              <a:t>irure</a:t>
            </a:r>
            <a:r>
              <a:rPr lang="es-ES_tradnl" dirty="0"/>
              <a:t> dolor.</a:t>
            </a:r>
          </a:p>
        </p:txBody>
      </p:sp>
      <p:sp>
        <p:nvSpPr>
          <p:cNvPr id="17" name="Marcador de texto 8"/>
          <p:cNvSpPr>
            <a:spLocks noGrp="1"/>
          </p:cNvSpPr>
          <p:nvPr>
            <p:ph type="body" sz="quarter" idx="13" hasCustomPrompt="1"/>
          </p:nvPr>
        </p:nvSpPr>
        <p:spPr>
          <a:xfrm>
            <a:off x="3224464" y="3686475"/>
            <a:ext cx="4851132" cy="1424539"/>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r>
              <a:rPr lang="es-ES_tradnl" dirty="0" err="1"/>
              <a:t>incididunt</a:t>
            </a:r>
            <a:r>
              <a:rPr lang="es-ES_tradnl" dirty="0"/>
              <a:t> ut labore et </a:t>
            </a:r>
            <a:r>
              <a:rPr lang="es-ES_tradnl" dirty="0" err="1"/>
              <a:t>dolore</a:t>
            </a:r>
            <a:r>
              <a:rPr lang="es-ES_tradnl" dirty="0"/>
              <a:t> magna </a:t>
            </a:r>
            <a:r>
              <a:rPr lang="es-ES_tradnl" dirty="0" err="1"/>
              <a:t>aliqua</a:t>
            </a:r>
            <a:r>
              <a:rPr lang="es-ES_tradnl" dirty="0"/>
              <a:t>. Ut </a:t>
            </a:r>
            <a:r>
              <a:rPr lang="es-ES_tradnl" dirty="0" err="1"/>
              <a:t>enim</a:t>
            </a:r>
            <a:r>
              <a:rPr lang="es-ES_tradnl" dirty="0"/>
              <a:t> ad </a:t>
            </a:r>
            <a:r>
              <a:rPr lang="es-ES_tradnl" dirty="0" err="1"/>
              <a:t>minim</a:t>
            </a:r>
            <a:r>
              <a:rPr lang="es-ES_tradnl" dirty="0"/>
              <a:t> </a:t>
            </a:r>
            <a:r>
              <a:rPr lang="es-ES_tradnl" dirty="0" err="1"/>
              <a:t>veniam</a:t>
            </a:r>
            <a:r>
              <a:rPr lang="es-ES_tradnl" dirty="0"/>
              <a:t>, </a:t>
            </a:r>
            <a:r>
              <a:rPr lang="es-ES_tradnl" dirty="0" err="1"/>
              <a:t>quis</a:t>
            </a:r>
            <a:r>
              <a:rPr lang="es-ES_tradnl" dirty="0"/>
              <a:t> </a:t>
            </a:r>
            <a:r>
              <a:rPr lang="es-ES_tradnl" dirty="0" err="1"/>
              <a:t>nostrud</a:t>
            </a:r>
            <a:r>
              <a:rPr lang="es-ES_tradnl" dirty="0"/>
              <a:t> </a:t>
            </a:r>
            <a:r>
              <a:rPr lang="es-ES_tradnl" dirty="0" err="1"/>
              <a:t>exercitation</a:t>
            </a:r>
            <a:r>
              <a:rPr lang="es-ES_tradnl" dirty="0"/>
              <a:t> </a:t>
            </a:r>
            <a:r>
              <a:rPr lang="es-ES_tradnl" dirty="0" err="1"/>
              <a:t>ullamco</a:t>
            </a:r>
            <a:r>
              <a:rPr lang="es-ES_tradnl" dirty="0"/>
              <a:t> </a:t>
            </a:r>
            <a:r>
              <a:rPr lang="es-ES_tradnl" dirty="0" err="1"/>
              <a:t>laboris</a:t>
            </a:r>
            <a:r>
              <a:rPr lang="es-ES_tradnl" dirty="0"/>
              <a:t> </a:t>
            </a:r>
            <a:r>
              <a:rPr lang="es-ES_tradnl" dirty="0" err="1"/>
              <a:t>nisi</a:t>
            </a:r>
            <a:r>
              <a:rPr lang="es-ES_tradnl" dirty="0"/>
              <a:t> ut </a:t>
            </a:r>
            <a:r>
              <a:rPr lang="es-ES_tradnl" dirty="0" err="1"/>
              <a:t>aliquip</a:t>
            </a:r>
            <a:r>
              <a:rPr lang="es-ES_tradnl" dirty="0"/>
              <a:t> ex </a:t>
            </a:r>
            <a:r>
              <a:rPr lang="es-ES_tradnl" dirty="0" err="1"/>
              <a:t>ea</a:t>
            </a:r>
            <a:r>
              <a:rPr lang="es-ES_tradnl" dirty="0"/>
              <a:t> commodo </a:t>
            </a:r>
            <a:r>
              <a:rPr lang="es-ES_tradnl" dirty="0" err="1"/>
              <a:t>consequat</a:t>
            </a:r>
            <a:r>
              <a:rPr lang="es-ES_tradnl" dirty="0"/>
              <a:t>. </a:t>
            </a:r>
            <a:r>
              <a:rPr lang="es-ES_tradnl" dirty="0" err="1"/>
              <a:t>Duis</a:t>
            </a:r>
            <a:r>
              <a:rPr lang="es-ES_tradnl" dirty="0"/>
              <a:t> </a:t>
            </a:r>
            <a:r>
              <a:rPr lang="es-ES_tradnl" dirty="0" err="1"/>
              <a:t>aute</a:t>
            </a:r>
            <a:r>
              <a:rPr lang="es-ES_tradnl" dirty="0"/>
              <a:t> </a:t>
            </a:r>
            <a:r>
              <a:rPr lang="es-ES_tradnl" dirty="0" err="1"/>
              <a:t>irure</a:t>
            </a:r>
            <a:r>
              <a:rPr lang="es-ES_tradnl" dirty="0"/>
              <a:t> dolor.</a:t>
            </a:r>
          </a:p>
        </p:txBody>
      </p:sp>
      <p:sp>
        <p:nvSpPr>
          <p:cNvPr id="19" name="Marcador de texto 8"/>
          <p:cNvSpPr>
            <a:spLocks noGrp="1"/>
          </p:cNvSpPr>
          <p:nvPr>
            <p:ph type="body" sz="quarter" idx="14" hasCustomPrompt="1"/>
          </p:nvPr>
        </p:nvSpPr>
        <p:spPr>
          <a:xfrm>
            <a:off x="622800" y="2069432"/>
            <a:ext cx="2428408" cy="1424539"/>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a:t>PHOTO</a:t>
            </a:r>
          </a:p>
        </p:txBody>
      </p:sp>
      <p:sp>
        <p:nvSpPr>
          <p:cNvPr id="20" name="Marcador de texto 8"/>
          <p:cNvSpPr>
            <a:spLocks noGrp="1"/>
          </p:cNvSpPr>
          <p:nvPr>
            <p:ph type="body" sz="quarter" idx="15" hasCustomPrompt="1"/>
          </p:nvPr>
        </p:nvSpPr>
        <p:spPr>
          <a:xfrm>
            <a:off x="622800" y="3686475"/>
            <a:ext cx="2428408" cy="1424539"/>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a:t>PHOTO</a:t>
            </a:r>
          </a:p>
        </p:txBody>
      </p:sp>
    </p:spTree>
    <p:extLst>
      <p:ext uri="{BB962C8B-B14F-4D97-AF65-F5344CB8AC3E}">
        <p14:creationId xmlns:p14="http://schemas.microsoft.com/office/powerpoint/2010/main" val="5316479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PHOTO + TEXT">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8" name="Marcador de texto 8"/>
          <p:cNvSpPr>
            <a:spLocks noGrp="1"/>
          </p:cNvSpPr>
          <p:nvPr>
            <p:ph type="body" sz="quarter" idx="10" hasCustomPrompt="1"/>
          </p:nvPr>
        </p:nvSpPr>
        <p:spPr>
          <a:xfrm>
            <a:off x="622800" y="731520"/>
            <a:ext cx="7452795" cy="356135"/>
          </a:xfrm>
        </p:spPr>
        <p:txBody>
          <a:bodyPr>
            <a:noAutofit/>
          </a:bodyPr>
          <a:lstStyle>
            <a:lvl1pPr marL="0" indent="0">
              <a:buNone/>
              <a:defRPr sz="2800" b="1" i="0">
                <a:solidFill>
                  <a:schemeClr val="accent5">
                    <a:lumMod val="75000"/>
                  </a:schemeClr>
                </a:solidFill>
                <a:latin typeface="Arial" charset="0"/>
                <a:ea typeface="Arial" charset="0"/>
                <a:cs typeface="Arial" charset="0"/>
              </a:defRPr>
            </a:lvl1pPr>
          </a:lstStyle>
          <a:p>
            <a:pPr lvl="0"/>
            <a:r>
              <a:rPr lang="es-ES_tradnl"/>
              <a:t>Title</a:t>
            </a:r>
            <a:endParaRPr lang="es-ES_tradnl" dirty="0"/>
          </a:p>
        </p:txBody>
      </p:sp>
      <p:sp>
        <p:nvSpPr>
          <p:cNvPr id="19" name="Marcador de texto 8"/>
          <p:cNvSpPr>
            <a:spLocks noGrp="1"/>
          </p:cNvSpPr>
          <p:nvPr>
            <p:ph type="body" sz="quarter" idx="11" hasCustomPrompt="1"/>
          </p:nvPr>
        </p:nvSpPr>
        <p:spPr>
          <a:xfrm>
            <a:off x="622800" y="1174283"/>
            <a:ext cx="7452795" cy="356135"/>
          </a:xfrm>
        </p:spPr>
        <p:txBody>
          <a:bodyPr>
            <a:noAutofit/>
          </a:bodyPr>
          <a:lstStyle>
            <a:lvl1pPr marL="0" indent="0">
              <a:buNone/>
              <a:defRPr sz="1600" b="1" i="0">
                <a:solidFill>
                  <a:schemeClr val="accent6"/>
                </a:solidFill>
                <a:latin typeface="Arial" charset="0"/>
                <a:ea typeface="Arial" charset="0"/>
                <a:cs typeface="Arial" charset="0"/>
              </a:defRPr>
            </a:lvl1pPr>
          </a:lstStyle>
          <a:p>
            <a:pPr lvl="0"/>
            <a:r>
              <a:rPr lang="es-ES_tradnl" dirty="0" err="1"/>
              <a:t>subtitle</a:t>
            </a:r>
            <a:endParaRPr lang="es-ES_tradnl" dirty="0"/>
          </a:p>
        </p:txBody>
      </p:sp>
      <p:sp>
        <p:nvSpPr>
          <p:cNvPr id="20" name="Marcador de texto 8"/>
          <p:cNvSpPr>
            <a:spLocks noGrp="1"/>
          </p:cNvSpPr>
          <p:nvPr>
            <p:ph type="body" sz="quarter" idx="12" hasCustomPrompt="1"/>
          </p:nvPr>
        </p:nvSpPr>
        <p:spPr>
          <a:xfrm>
            <a:off x="1896177" y="1713298"/>
            <a:ext cx="6179419" cy="1174280"/>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r>
              <a:rPr lang="es-ES_tradnl" dirty="0" err="1"/>
              <a:t>incididunt</a:t>
            </a:r>
            <a:r>
              <a:rPr lang="es-ES_tradnl" dirty="0"/>
              <a:t> ut labore et </a:t>
            </a:r>
            <a:r>
              <a:rPr lang="es-ES_tradnl" dirty="0" err="1"/>
              <a:t>dolore</a:t>
            </a:r>
            <a:r>
              <a:rPr lang="es-ES_tradnl" dirty="0"/>
              <a:t> magna </a:t>
            </a:r>
            <a:r>
              <a:rPr lang="es-ES_tradnl" dirty="0" err="1"/>
              <a:t>aliqua</a:t>
            </a:r>
            <a:r>
              <a:rPr lang="es-ES_tradnl" dirty="0"/>
              <a:t>. Ut </a:t>
            </a:r>
            <a:r>
              <a:rPr lang="es-ES_tradnl" dirty="0" err="1"/>
              <a:t>enim</a:t>
            </a:r>
            <a:r>
              <a:rPr lang="es-ES_tradnl" dirty="0"/>
              <a:t> ad </a:t>
            </a:r>
            <a:r>
              <a:rPr lang="es-ES_tradnl" dirty="0" err="1"/>
              <a:t>minim</a:t>
            </a:r>
            <a:r>
              <a:rPr lang="es-ES_tradnl" dirty="0"/>
              <a:t> </a:t>
            </a:r>
            <a:r>
              <a:rPr lang="es-ES_tradnl" dirty="0" err="1"/>
              <a:t>veniam</a:t>
            </a:r>
            <a:r>
              <a:rPr lang="es-ES_tradnl" dirty="0"/>
              <a:t>, </a:t>
            </a:r>
            <a:r>
              <a:rPr lang="es-ES_tradnl" dirty="0" err="1"/>
              <a:t>quis</a:t>
            </a:r>
            <a:r>
              <a:rPr lang="es-ES_tradnl" dirty="0"/>
              <a:t> </a:t>
            </a:r>
            <a:r>
              <a:rPr lang="es-ES_tradnl" dirty="0" err="1"/>
              <a:t>nostrud</a:t>
            </a:r>
            <a:r>
              <a:rPr lang="es-ES_tradnl" dirty="0"/>
              <a:t> </a:t>
            </a:r>
            <a:r>
              <a:rPr lang="es-ES_tradnl" dirty="0" err="1"/>
              <a:t>exercitation</a:t>
            </a:r>
            <a:r>
              <a:rPr lang="es-ES_tradnl" dirty="0"/>
              <a:t> </a:t>
            </a:r>
            <a:r>
              <a:rPr lang="es-ES_tradnl" dirty="0" err="1"/>
              <a:t>ullamco</a:t>
            </a:r>
            <a:r>
              <a:rPr lang="es-ES_tradnl" dirty="0"/>
              <a:t> </a:t>
            </a:r>
            <a:r>
              <a:rPr lang="es-ES_tradnl" dirty="0" err="1"/>
              <a:t>laboris</a:t>
            </a:r>
            <a:r>
              <a:rPr lang="es-ES_tradnl" dirty="0"/>
              <a:t> </a:t>
            </a:r>
            <a:r>
              <a:rPr lang="es-ES_tradnl" dirty="0" err="1"/>
              <a:t>nisi</a:t>
            </a:r>
            <a:r>
              <a:rPr lang="es-ES_tradnl" dirty="0"/>
              <a:t> ut </a:t>
            </a:r>
            <a:r>
              <a:rPr lang="es-ES_tradnl" dirty="0" err="1"/>
              <a:t>aliquip</a:t>
            </a:r>
            <a:r>
              <a:rPr lang="es-ES_tradnl" dirty="0"/>
              <a:t> ex </a:t>
            </a:r>
            <a:r>
              <a:rPr lang="es-ES_tradnl" dirty="0" err="1"/>
              <a:t>ea</a:t>
            </a:r>
            <a:r>
              <a:rPr lang="es-ES_tradnl" dirty="0"/>
              <a:t> commodo </a:t>
            </a:r>
            <a:r>
              <a:rPr lang="es-ES_tradnl" dirty="0" err="1"/>
              <a:t>consequat</a:t>
            </a:r>
            <a:r>
              <a:rPr lang="es-ES_tradnl" dirty="0"/>
              <a:t>. </a:t>
            </a:r>
            <a:r>
              <a:rPr lang="es-ES_tradnl" dirty="0" err="1"/>
              <a:t>Duis</a:t>
            </a:r>
            <a:r>
              <a:rPr lang="es-ES_tradnl" dirty="0"/>
              <a:t> </a:t>
            </a:r>
            <a:r>
              <a:rPr lang="es-ES_tradnl" dirty="0" err="1"/>
              <a:t>aute</a:t>
            </a:r>
            <a:r>
              <a:rPr lang="es-ES_tradnl" dirty="0"/>
              <a:t> </a:t>
            </a:r>
            <a:r>
              <a:rPr lang="es-ES_tradnl" dirty="0" err="1"/>
              <a:t>irure</a:t>
            </a:r>
            <a:r>
              <a:rPr lang="es-ES_tradnl" dirty="0"/>
              <a:t> dolor.</a:t>
            </a:r>
          </a:p>
        </p:txBody>
      </p:sp>
      <p:sp>
        <p:nvSpPr>
          <p:cNvPr id="28" name="Marcador de texto 8"/>
          <p:cNvSpPr>
            <a:spLocks noGrp="1"/>
          </p:cNvSpPr>
          <p:nvPr>
            <p:ph type="body" sz="quarter" idx="13" hasCustomPrompt="1"/>
          </p:nvPr>
        </p:nvSpPr>
        <p:spPr>
          <a:xfrm>
            <a:off x="1896177" y="2996853"/>
            <a:ext cx="6179419" cy="1174280"/>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r>
              <a:rPr lang="es-ES_tradnl" dirty="0" err="1"/>
              <a:t>incididunt</a:t>
            </a:r>
            <a:r>
              <a:rPr lang="es-ES_tradnl" dirty="0"/>
              <a:t> ut labore et </a:t>
            </a:r>
            <a:r>
              <a:rPr lang="es-ES_tradnl" dirty="0" err="1"/>
              <a:t>dolore</a:t>
            </a:r>
            <a:r>
              <a:rPr lang="es-ES_tradnl" dirty="0"/>
              <a:t> magna </a:t>
            </a:r>
            <a:r>
              <a:rPr lang="es-ES_tradnl" dirty="0" err="1"/>
              <a:t>aliqua</a:t>
            </a:r>
            <a:r>
              <a:rPr lang="es-ES_tradnl" dirty="0"/>
              <a:t>. Ut </a:t>
            </a:r>
            <a:r>
              <a:rPr lang="es-ES_tradnl" dirty="0" err="1"/>
              <a:t>enim</a:t>
            </a:r>
            <a:r>
              <a:rPr lang="es-ES_tradnl" dirty="0"/>
              <a:t> ad </a:t>
            </a:r>
            <a:r>
              <a:rPr lang="es-ES_tradnl" dirty="0" err="1"/>
              <a:t>minim</a:t>
            </a:r>
            <a:r>
              <a:rPr lang="es-ES_tradnl" dirty="0"/>
              <a:t> </a:t>
            </a:r>
            <a:r>
              <a:rPr lang="es-ES_tradnl" dirty="0" err="1"/>
              <a:t>veniam</a:t>
            </a:r>
            <a:r>
              <a:rPr lang="es-ES_tradnl" dirty="0"/>
              <a:t>, </a:t>
            </a:r>
            <a:r>
              <a:rPr lang="es-ES_tradnl" dirty="0" err="1"/>
              <a:t>quis</a:t>
            </a:r>
            <a:r>
              <a:rPr lang="es-ES_tradnl" dirty="0"/>
              <a:t> </a:t>
            </a:r>
            <a:r>
              <a:rPr lang="es-ES_tradnl" dirty="0" err="1"/>
              <a:t>nostrud</a:t>
            </a:r>
            <a:r>
              <a:rPr lang="es-ES_tradnl" dirty="0"/>
              <a:t> </a:t>
            </a:r>
            <a:r>
              <a:rPr lang="es-ES_tradnl" dirty="0" err="1"/>
              <a:t>exercitation</a:t>
            </a:r>
            <a:r>
              <a:rPr lang="es-ES_tradnl" dirty="0"/>
              <a:t> </a:t>
            </a:r>
            <a:r>
              <a:rPr lang="es-ES_tradnl" dirty="0" err="1"/>
              <a:t>ullamco</a:t>
            </a:r>
            <a:r>
              <a:rPr lang="es-ES_tradnl" dirty="0"/>
              <a:t> </a:t>
            </a:r>
            <a:r>
              <a:rPr lang="es-ES_tradnl" dirty="0" err="1"/>
              <a:t>laboris</a:t>
            </a:r>
            <a:r>
              <a:rPr lang="es-ES_tradnl" dirty="0"/>
              <a:t> </a:t>
            </a:r>
            <a:r>
              <a:rPr lang="es-ES_tradnl" dirty="0" err="1"/>
              <a:t>nisi</a:t>
            </a:r>
            <a:r>
              <a:rPr lang="es-ES_tradnl" dirty="0"/>
              <a:t> ut </a:t>
            </a:r>
            <a:r>
              <a:rPr lang="es-ES_tradnl" dirty="0" err="1"/>
              <a:t>aliquip</a:t>
            </a:r>
            <a:r>
              <a:rPr lang="es-ES_tradnl" dirty="0"/>
              <a:t> ex </a:t>
            </a:r>
            <a:r>
              <a:rPr lang="es-ES_tradnl" dirty="0" err="1"/>
              <a:t>ea</a:t>
            </a:r>
            <a:r>
              <a:rPr lang="es-ES_tradnl" dirty="0"/>
              <a:t> commodo </a:t>
            </a:r>
            <a:r>
              <a:rPr lang="es-ES_tradnl" dirty="0" err="1"/>
              <a:t>consequat</a:t>
            </a:r>
            <a:r>
              <a:rPr lang="es-ES_tradnl" dirty="0"/>
              <a:t>. </a:t>
            </a:r>
            <a:r>
              <a:rPr lang="es-ES_tradnl" dirty="0" err="1"/>
              <a:t>Duis</a:t>
            </a:r>
            <a:r>
              <a:rPr lang="es-ES_tradnl" dirty="0"/>
              <a:t> </a:t>
            </a:r>
            <a:r>
              <a:rPr lang="es-ES_tradnl" dirty="0" err="1"/>
              <a:t>aute</a:t>
            </a:r>
            <a:r>
              <a:rPr lang="es-ES_tradnl" dirty="0"/>
              <a:t> </a:t>
            </a:r>
            <a:r>
              <a:rPr lang="es-ES_tradnl" dirty="0" err="1"/>
              <a:t>irure</a:t>
            </a:r>
            <a:r>
              <a:rPr lang="es-ES_tradnl" dirty="0"/>
              <a:t> dolor.</a:t>
            </a:r>
          </a:p>
        </p:txBody>
      </p:sp>
      <p:sp>
        <p:nvSpPr>
          <p:cNvPr id="29" name="Marcador de texto 8"/>
          <p:cNvSpPr>
            <a:spLocks noGrp="1"/>
          </p:cNvSpPr>
          <p:nvPr>
            <p:ph type="body" sz="quarter" idx="14" hasCustomPrompt="1"/>
          </p:nvPr>
        </p:nvSpPr>
        <p:spPr>
          <a:xfrm>
            <a:off x="1896177" y="4284805"/>
            <a:ext cx="6179419" cy="1174280"/>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r>
              <a:rPr lang="es-ES_tradnl" dirty="0" err="1"/>
              <a:t>incididunt</a:t>
            </a:r>
            <a:r>
              <a:rPr lang="es-ES_tradnl" dirty="0"/>
              <a:t> ut labore et </a:t>
            </a:r>
            <a:r>
              <a:rPr lang="es-ES_tradnl" dirty="0" err="1"/>
              <a:t>dolore</a:t>
            </a:r>
            <a:r>
              <a:rPr lang="es-ES_tradnl" dirty="0"/>
              <a:t> magna </a:t>
            </a:r>
            <a:r>
              <a:rPr lang="es-ES_tradnl" dirty="0" err="1"/>
              <a:t>aliqua</a:t>
            </a:r>
            <a:r>
              <a:rPr lang="es-ES_tradnl" dirty="0"/>
              <a:t>. Ut </a:t>
            </a:r>
            <a:r>
              <a:rPr lang="es-ES_tradnl" dirty="0" err="1"/>
              <a:t>enim</a:t>
            </a:r>
            <a:r>
              <a:rPr lang="es-ES_tradnl" dirty="0"/>
              <a:t> ad </a:t>
            </a:r>
            <a:r>
              <a:rPr lang="es-ES_tradnl" dirty="0" err="1"/>
              <a:t>minim</a:t>
            </a:r>
            <a:r>
              <a:rPr lang="es-ES_tradnl" dirty="0"/>
              <a:t> </a:t>
            </a:r>
            <a:r>
              <a:rPr lang="es-ES_tradnl" dirty="0" err="1"/>
              <a:t>veniam</a:t>
            </a:r>
            <a:r>
              <a:rPr lang="es-ES_tradnl" dirty="0"/>
              <a:t>, </a:t>
            </a:r>
            <a:r>
              <a:rPr lang="es-ES_tradnl" dirty="0" err="1"/>
              <a:t>quis</a:t>
            </a:r>
            <a:r>
              <a:rPr lang="es-ES_tradnl" dirty="0"/>
              <a:t> </a:t>
            </a:r>
            <a:r>
              <a:rPr lang="es-ES_tradnl" dirty="0" err="1"/>
              <a:t>nostrud</a:t>
            </a:r>
            <a:r>
              <a:rPr lang="es-ES_tradnl" dirty="0"/>
              <a:t> </a:t>
            </a:r>
            <a:r>
              <a:rPr lang="es-ES_tradnl" dirty="0" err="1"/>
              <a:t>exercitation</a:t>
            </a:r>
            <a:r>
              <a:rPr lang="es-ES_tradnl" dirty="0"/>
              <a:t> </a:t>
            </a:r>
            <a:r>
              <a:rPr lang="es-ES_tradnl" dirty="0" err="1"/>
              <a:t>ullamco</a:t>
            </a:r>
            <a:r>
              <a:rPr lang="es-ES_tradnl" dirty="0"/>
              <a:t> </a:t>
            </a:r>
            <a:r>
              <a:rPr lang="es-ES_tradnl" dirty="0" err="1"/>
              <a:t>laboris</a:t>
            </a:r>
            <a:r>
              <a:rPr lang="es-ES_tradnl" dirty="0"/>
              <a:t> </a:t>
            </a:r>
            <a:r>
              <a:rPr lang="es-ES_tradnl" dirty="0" err="1"/>
              <a:t>nisi</a:t>
            </a:r>
            <a:r>
              <a:rPr lang="es-ES_tradnl" dirty="0"/>
              <a:t> ut </a:t>
            </a:r>
            <a:r>
              <a:rPr lang="es-ES_tradnl" dirty="0" err="1"/>
              <a:t>aliquip</a:t>
            </a:r>
            <a:r>
              <a:rPr lang="es-ES_tradnl" dirty="0"/>
              <a:t> ex </a:t>
            </a:r>
            <a:r>
              <a:rPr lang="es-ES_tradnl" dirty="0" err="1"/>
              <a:t>ea</a:t>
            </a:r>
            <a:r>
              <a:rPr lang="es-ES_tradnl" dirty="0"/>
              <a:t> commodo </a:t>
            </a:r>
            <a:r>
              <a:rPr lang="es-ES_tradnl" dirty="0" err="1"/>
              <a:t>consequat</a:t>
            </a:r>
            <a:r>
              <a:rPr lang="es-ES_tradnl" dirty="0"/>
              <a:t>. </a:t>
            </a:r>
            <a:r>
              <a:rPr lang="es-ES_tradnl" dirty="0" err="1"/>
              <a:t>Duis</a:t>
            </a:r>
            <a:r>
              <a:rPr lang="es-ES_tradnl" dirty="0"/>
              <a:t> </a:t>
            </a:r>
            <a:r>
              <a:rPr lang="es-ES_tradnl" dirty="0" err="1"/>
              <a:t>aute</a:t>
            </a:r>
            <a:r>
              <a:rPr lang="es-ES_tradnl" dirty="0"/>
              <a:t> </a:t>
            </a:r>
            <a:r>
              <a:rPr lang="es-ES_tradnl" dirty="0" err="1"/>
              <a:t>irure</a:t>
            </a:r>
            <a:r>
              <a:rPr lang="es-ES_tradnl" dirty="0"/>
              <a:t> dolor.</a:t>
            </a:r>
          </a:p>
        </p:txBody>
      </p:sp>
      <p:sp>
        <p:nvSpPr>
          <p:cNvPr id="30" name="Marcador de texto 8"/>
          <p:cNvSpPr>
            <a:spLocks noGrp="1"/>
          </p:cNvSpPr>
          <p:nvPr>
            <p:ph type="body" sz="quarter" idx="15" hasCustomPrompt="1"/>
          </p:nvPr>
        </p:nvSpPr>
        <p:spPr>
          <a:xfrm>
            <a:off x="622801" y="5669280"/>
            <a:ext cx="7452794" cy="327258"/>
          </a:xfrm>
        </p:spPr>
        <p:txBody>
          <a:bodyPr>
            <a:noAutofit/>
          </a:bodyPr>
          <a:lstStyle>
            <a:lvl1pPr marL="0" indent="0">
              <a:buNone/>
              <a:defRPr sz="1400" b="1" i="1">
                <a:solidFill>
                  <a:schemeClr val="accent6"/>
                </a:solidFill>
                <a:latin typeface="Arial" charset="0"/>
                <a:ea typeface="Arial" charset="0"/>
                <a:cs typeface="Arial" charset="0"/>
              </a:defRPr>
            </a:lvl1pPr>
          </a:lstStyle>
          <a:p>
            <a:pPr lvl="0"/>
            <a:r>
              <a:rPr lang="es-ES_tradnl" dirty="0" err="1"/>
              <a:t>Lorem</a:t>
            </a:r>
            <a:r>
              <a:rPr lang="es-ES_tradnl" dirty="0"/>
              <a:t> </a:t>
            </a:r>
            <a:r>
              <a:rPr lang="es-ES_tradnl" dirty="0" err="1"/>
              <a:t>ipsum</a:t>
            </a:r>
            <a:r>
              <a:rPr lang="es-ES_tradnl" dirty="0"/>
              <a:t> dolor </a:t>
            </a:r>
            <a:r>
              <a:rPr lang="es-ES_tradnl" dirty="0" err="1"/>
              <a:t>sit</a:t>
            </a:r>
            <a:r>
              <a:rPr lang="es-ES_tradnl" dirty="0"/>
              <a:t> </a:t>
            </a:r>
            <a:r>
              <a:rPr lang="es-ES_tradnl" dirty="0" err="1"/>
              <a:t>amet</a:t>
            </a:r>
            <a:r>
              <a:rPr lang="es-ES_tradnl" dirty="0"/>
              <a:t>, </a:t>
            </a:r>
            <a:r>
              <a:rPr lang="es-ES_tradnl" dirty="0" err="1"/>
              <a:t>consectetur</a:t>
            </a:r>
            <a:r>
              <a:rPr lang="es-ES_tradnl" dirty="0"/>
              <a:t> </a:t>
            </a:r>
            <a:r>
              <a:rPr lang="es-ES_tradnl" dirty="0" err="1"/>
              <a:t>adipiscing</a:t>
            </a:r>
            <a:r>
              <a:rPr lang="es-ES_tradnl" dirty="0"/>
              <a:t> </a:t>
            </a:r>
            <a:r>
              <a:rPr lang="es-ES_tradnl" dirty="0" err="1"/>
              <a:t>elit</a:t>
            </a:r>
            <a:r>
              <a:rPr lang="es-ES_tradnl" dirty="0"/>
              <a:t>, sed do </a:t>
            </a:r>
            <a:r>
              <a:rPr lang="es-ES_tradnl" dirty="0" err="1"/>
              <a:t>eiusmod</a:t>
            </a:r>
            <a:r>
              <a:rPr lang="es-ES_tradnl" dirty="0"/>
              <a:t> </a:t>
            </a:r>
            <a:r>
              <a:rPr lang="es-ES_tradnl" dirty="0" err="1"/>
              <a:t>tempor</a:t>
            </a:r>
            <a:r>
              <a:rPr lang="es-ES_tradnl" dirty="0"/>
              <a:t> </a:t>
            </a:r>
          </a:p>
        </p:txBody>
      </p:sp>
      <p:sp>
        <p:nvSpPr>
          <p:cNvPr id="31" name="Marcador de texto 8"/>
          <p:cNvSpPr>
            <a:spLocks noGrp="1"/>
          </p:cNvSpPr>
          <p:nvPr>
            <p:ph type="body" sz="quarter" idx="16" hasCustomPrompt="1"/>
          </p:nvPr>
        </p:nvSpPr>
        <p:spPr>
          <a:xfrm>
            <a:off x="622801" y="1713298"/>
            <a:ext cx="1177124" cy="1174280"/>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a:t>PHOTO</a:t>
            </a:r>
          </a:p>
        </p:txBody>
      </p:sp>
      <p:sp>
        <p:nvSpPr>
          <p:cNvPr id="32" name="Marcador de texto 8"/>
          <p:cNvSpPr>
            <a:spLocks noGrp="1"/>
          </p:cNvSpPr>
          <p:nvPr>
            <p:ph type="body" sz="quarter" idx="17" hasCustomPrompt="1"/>
          </p:nvPr>
        </p:nvSpPr>
        <p:spPr>
          <a:xfrm>
            <a:off x="622801" y="2996853"/>
            <a:ext cx="1177124" cy="1174280"/>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a:t>PHOTO</a:t>
            </a:r>
          </a:p>
        </p:txBody>
      </p:sp>
      <p:sp>
        <p:nvSpPr>
          <p:cNvPr id="33" name="Marcador de texto 8"/>
          <p:cNvSpPr>
            <a:spLocks noGrp="1"/>
          </p:cNvSpPr>
          <p:nvPr>
            <p:ph type="body" sz="quarter" idx="18" hasCustomPrompt="1"/>
          </p:nvPr>
        </p:nvSpPr>
        <p:spPr>
          <a:xfrm>
            <a:off x="622801" y="4284805"/>
            <a:ext cx="1177124" cy="1174280"/>
          </a:xfrm>
        </p:spPr>
        <p:txBody>
          <a:bodyPr>
            <a:noAutofit/>
          </a:bodyPr>
          <a:lstStyle>
            <a:lvl1pPr marL="0" indent="0" algn="just">
              <a:buNone/>
              <a:defRPr sz="1400" b="0" i="0">
                <a:solidFill>
                  <a:schemeClr val="tx1"/>
                </a:solidFill>
                <a:latin typeface="Arial" charset="0"/>
                <a:ea typeface="Arial" charset="0"/>
                <a:cs typeface="Arial" charset="0"/>
              </a:defRPr>
            </a:lvl1pPr>
          </a:lstStyle>
          <a:p>
            <a:pPr lvl="0"/>
            <a:r>
              <a:rPr lang="es-ES_tradnl" dirty="0"/>
              <a:t>PHOTO</a:t>
            </a:r>
          </a:p>
        </p:txBody>
      </p:sp>
    </p:spTree>
    <p:extLst>
      <p:ext uri="{BB962C8B-B14F-4D97-AF65-F5344CB8AC3E}">
        <p14:creationId xmlns:p14="http://schemas.microsoft.com/office/powerpoint/2010/main" val="1874989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ARTNERS">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71856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lang="es-ES"/>
              <a:t>Clic para editar título</a:t>
            </a:r>
            <a:endParaRPr lang="es-ES_tradnl"/>
          </a:p>
        </p:txBody>
      </p:sp>
      <p:sp>
        <p:nvSpPr>
          <p:cNvPr id="3" name="Marcador de texto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_tradnl"/>
          </a:p>
        </p:txBody>
      </p:sp>
      <p:sp>
        <p:nvSpPr>
          <p:cNvPr id="4" name="Marcador de fecha 3"/>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17D363-CA5A-EA40-801E-0A67D12FB34F}" type="datetimeFigureOut">
              <a:rPr lang="es-ES_tradnl" smtClean="0"/>
              <a:pPr/>
              <a:t>11/10/2019</a:t>
            </a:fld>
            <a:endParaRPr lang="es-ES_tradnl"/>
          </a:p>
        </p:txBody>
      </p:sp>
      <p:sp>
        <p:nvSpPr>
          <p:cNvPr id="5" name="Marcador de pie de página 4"/>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_tradnl"/>
          </a:p>
        </p:txBody>
      </p:sp>
      <p:sp>
        <p:nvSpPr>
          <p:cNvPr id="6" name="Marcador de número de diapositiva 5"/>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DA00C4-29C1-CA4D-9D4E-D672350CE683}" type="slidenum">
              <a:rPr lang="es-ES_tradnl" smtClean="0"/>
              <a:pPr/>
              <a:t>‹#›</a:t>
            </a:fld>
            <a:endParaRPr lang="es-ES_tradnl"/>
          </a:p>
        </p:txBody>
      </p:sp>
    </p:spTree>
    <p:extLst>
      <p:ext uri="{BB962C8B-B14F-4D97-AF65-F5344CB8AC3E}">
        <p14:creationId xmlns:p14="http://schemas.microsoft.com/office/powerpoint/2010/main" val="1322206792"/>
      </p:ext>
    </p:extLst>
  </p:cSld>
  <p:clrMap bg1="lt1" tx1="dk1" bg2="lt2" tx2="dk2" accent1="accent1" accent2="accent2" accent3="accent3" accent4="accent4" accent5="accent5" accent6="accent6" hlink="hlink" folHlink="folHlink"/>
  <p:sldLayoutIdLst>
    <p:sldLayoutId id="2147483816" r:id="rId1"/>
    <p:sldLayoutId id="2147483810" r:id="rId2"/>
    <p:sldLayoutId id="2147483842" r:id="rId3"/>
    <p:sldLayoutId id="2147483812" r:id="rId4"/>
    <p:sldLayoutId id="2147483813" r:id="rId5"/>
    <p:sldLayoutId id="2147483814" r:id="rId6"/>
    <p:sldLayoutId id="2147483815" r:id="rId7"/>
    <p:sldLayoutId id="2147483817"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33.pn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hyperlink" Target="http://www.brazil.enrichcentres.eu/" TargetMode="External"/><Relationship Id="rId7" Type="http://schemas.openxmlformats.org/officeDocument/2006/relationships/hyperlink" Target="https://www.linkedin.com/company/11125511" TargetMode="External"/><Relationship Id="rId12" Type="http://schemas.microsoft.com/office/2007/relationships/hdphoto" Target="../media/hdphoto2.wdp"/><Relationship Id="rId2" Type="http://schemas.openxmlformats.org/officeDocument/2006/relationships/notesSlide" Target="../notesSlides/notesSlide12.xml"/><Relationship Id="rId16"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hyperlink" Target="https://www.facebook.com/ENRICHinBrazil" TargetMode="External"/><Relationship Id="rId11" Type="http://schemas.openxmlformats.org/officeDocument/2006/relationships/image" Target="../media/image39.png"/><Relationship Id="rId5" Type="http://schemas.openxmlformats.org/officeDocument/2006/relationships/hyperlink" Target="https://twitter.com/ENRICH_brazil" TargetMode="External"/><Relationship Id="rId15" Type="http://schemas.microsoft.com/office/2007/relationships/hdphoto" Target="../media/hdphoto1.wdp"/><Relationship Id="rId10" Type="http://schemas.openxmlformats.org/officeDocument/2006/relationships/image" Target="../media/image38.png"/><Relationship Id="rId4" Type="http://schemas.openxmlformats.org/officeDocument/2006/relationships/hyperlink" Target="mailto:brazil@enrichcentres.eu" TargetMode="External"/><Relationship Id="rId9" Type="http://schemas.openxmlformats.org/officeDocument/2006/relationships/image" Target="../media/image37.png"/><Relationship Id="rId1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43.jpe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43.jpeg"/><Relationship Id="rId5" Type="http://schemas.openxmlformats.org/officeDocument/2006/relationships/hyperlink" Target="http://www.rcisd.eu/" TargetMode="External"/><Relationship Id="rId4" Type="http://schemas.openxmlformats.org/officeDocument/2006/relationships/hyperlink" Target="mailto:bkardon@rcisd.eu"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68" Type="http://schemas.openxmlformats.org/officeDocument/2006/relationships/image" Target="../media/image10.png"/><Relationship Id="rId76" Type="http://schemas.openxmlformats.org/officeDocument/2006/relationships/image" Target="../media/image8.wmf"/><Relationship Id="rId7" Type="http://schemas.openxmlformats.org/officeDocument/2006/relationships/tags" Target="../tags/tag7.xml"/><Relationship Id="rId71" Type="http://schemas.openxmlformats.org/officeDocument/2006/relationships/image" Target="../media/image13.png"/><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notesSlide" Target="../notesSlides/notesSlide3.xml"/><Relationship Id="rId74" Type="http://schemas.openxmlformats.org/officeDocument/2006/relationships/image" Target="../media/image16.png"/><Relationship Id="rId79" Type="http://schemas.openxmlformats.org/officeDocument/2006/relationships/image" Target="../media/image19.png"/><Relationship Id="rId5" Type="http://schemas.openxmlformats.org/officeDocument/2006/relationships/tags" Target="../tags/tag5.xml"/><Relationship Id="rId61" Type="http://schemas.openxmlformats.org/officeDocument/2006/relationships/tags" Target="../tags/tag6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slideLayout" Target="../slideLayouts/slideLayout2.xml"/><Relationship Id="rId73" Type="http://schemas.openxmlformats.org/officeDocument/2006/relationships/image" Target="../media/image15.png"/><Relationship Id="rId78" Type="http://schemas.openxmlformats.org/officeDocument/2006/relationships/image" Target="../media/image18.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image" Target="../media/image11.png"/><Relationship Id="rId77" Type="http://schemas.openxmlformats.org/officeDocument/2006/relationships/image" Target="../media/image17.png"/><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image" Target="../media/image14.png"/><Relationship Id="rId80" Type="http://schemas.openxmlformats.org/officeDocument/2006/relationships/image" Target="../media/image20.jpe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image" Target="../media/image9.png"/><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image" Target="../media/image12.png"/><Relationship Id="rId75" Type="http://schemas.openxmlformats.org/officeDocument/2006/relationships/package" Target="../embeddings/Microsoft_Excel_Worksheet.xlsx"/><Relationship Id="rId1" Type="http://schemas.openxmlformats.org/officeDocument/2006/relationships/vmlDrawing" Target="../drawings/vmlDrawing1.v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5.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p:cNvSpPr>
            <a:spLocks noGrp="1"/>
          </p:cNvSpPr>
          <p:nvPr>
            <p:ph type="body" sz="quarter" idx="10"/>
          </p:nvPr>
        </p:nvSpPr>
        <p:spPr>
          <a:xfrm>
            <a:off x="435429" y="3507321"/>
            <a:ext cx="9109165" cy="2439964"/>
          </a:xfrm>
        </p:spPr>
        <p:txBody>
          <a:bodyPr/>
          <a:lstStyle/>
          <a:p>
            <a:pPr algn="ctr"/>
            <a:r>
              <a:rPr lang="en-GB" sz="3600" dirty="0"/>
              <a:t>ENRICH in Brazil EU H2020 project</a:t>
            </a:r>
            <a:endParaRPr lang="en-GB" sz="3600" b="0" dirty="0">
              <a:latin typeface="Arial Narrow" panose="020B0606020202030204" pitchFamily="34" charset="0"/>
              <a:ea typeface="Open Sans" charset="0"/>
              <a:cs typeface="Open Sans" charset="0"/>
            </a:endParaRPr>
          </a:p>
          <a:p>
            <a:pPr algn="ctr"/>
            <a:endParaRPr lang="en-GB" sz="800" b="0" dirty="0"/>
          </a:p>
          <a:p>
            <a:pPr algn="ctr"/>
            <a:r>
              <a:rPr lang="en-GB" sz="1800" b="0" i="1" dirty="0" err="1"/>
              <a:t>Zita</a:t>
            </a:r>
            <a:r>
              <a:rPr lang="en-GB" sz="1800" b="0" i="1" dirty="0"/>
              <a:t> </a:t>
            </a:r>
            <a:r>
              <a:rPr lang="en-GB" sz="1800" b="0" i="1" dirty="0" err="1"/>
              <a:t>Buday</a:t>
            </a:r>
            <a:r>
              <a:rPr lang="en-GB" sz="1800" b="0" i="1" dirty="0"/>
              <a:t> Senior International Expert</a:t>
            </a:r>
          </a:p>
          <a:p>
            <a:pPr algn="ctr"/>
            <a:r>
              <a:rPr lang="en-GB" sz="1800" b="0" i="1" dirty="0"/>
              <a:t>Regional Centre for Information &amp; Scientific Development</a:t>
            </a:r>
          </a:p>
          <a:p>
            <a:pPr algn="ctr"/>
            <a:endParaRPr lang="en-GB" sz="800" b="0" i="1" dirty="0"/>
          </a:p>
          <a:p>
            <a:pPr algn="ctr"/>
            <a:r>
              <a:rPr lang="en-GB" sz="1600" dirty="0"/>
              <a:t>ENRICH in Brazil </a:t>
            </a:r>
            <a:r>
              <a:rPr lang="hu-HU" sz="1600" dirty="0" err="1"/>
              <a:t>Info</a:t>
            </a:r>
            <a:r>
              <a:rPr lang="hu-HU" sz="1600" dirty="0"/>
              <a:t>-Day</a:t>
            </a:r>
            <a:endParaRPr lang="en-GB" sz="1600" dirty="0"/>
          </a:p>
          <a:p>
            <a:pPr algn="ctr"/>
            <a:r>
              <a:rPr lang="hu-HU" sz="1600" b="0" dirty="0" err="1"/>
              <a:t>Ivano</a:t>
            </a:r>
            <a:r>
              <a:rPr lang="hu-HU" sz="1600" b="0" dirty="0"/>
              <a:t> </a:t>
            </a:r>
            <a:r>
              <a:rPr lang="hu-HU" sz="1600" b="0" dirty="0" err="1"/>
              <a:t>Frankivsk</a:t>
            </a:r>
            <a:r>
              <a:rPr lang="hu-HU" sz="1600" b="0" dirty="0"/>
              <a:t>, 17 </a:t>
            </a:r>
            <a:r>
              <a:rPr lang="hu-HU" sz="1600" b="0" dirty="0" err="1"/>
              <a:t>October</a:t>
            </a:r>
            <a:r>
              <a:rPr lang="hu-HU" sz="1600" b="0" dirty="0"/>
              <a:t> 2019</a:t>
            </a:r>
            <a:endParaRPr lang="en-GB" sz="1600" b="0" dirty="0"/>
          </a:p>
          <a:p>
            <a:pPr algn="ctr"/>
            <a:endParaRPr lang="hu-HU" sz="1800" b="0" dirty="0"/>
          </a:p>
          <a:p>
            <a:pPr algn="ctr"/>
            <a:endParaRPr lang="hu-HU" sz="1800" b="0" dirty="0"/>
          </a:p>
          <a:p>
            <a:pPr algn="ctr"/>
            <a:endParaRPr lang="hu-HU" sz="1800" b="0" i="1" dirty="0"/>
          </a:p>
          <a:p>
            <a:pPr algn="ctr"/>
            <a:endParaRPr lang="de-DE" sz="1800" b="0" i="1" dirty="0"/>
          </a:p>
          <a:p>
            <a:endParaRPr lang="es-ES_tradnl" b="0" dirty="0">
              <a:latin typeface="Arial Narrow" panose="020B0606020202030204" pitchFamily="34" charset="0"/>
              <a:ea typeface="Open Sans" charset="0"/>
              <a:cs typeface="Open Sans" charset="0"/>
            </a:endParaRPr>
          </a:p>
          <a:p>
            <a:endParaRPr lang="es-ES_tradnl" dirty="0">
              <a:latin typeface="+mj-lt"/>
            </a:endParaRPr>
          </a:p>
        </p:txBody>
      </p:sp>
      <p:sp>
        <p:nvSpPr>
          <p:cNvPr id="4" name="Rechteck 3"/>
          <p:cNvSpPr/>
          <p:nvPr/>
        </p:nvSpPr>
        <p:spPr>
          <a:xfrm>
            <a:off x="5892800" y="6025662"/>
            <a:ext cx="2078892" cy="586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1050" dirty="0">
                <a:solidFill>
                  <a:srgbClr val="043487"/>
                </a:solidFill>
              </a:rPr>
              <a:t>www.brazil.enrichcentres.eu</a:t>
            </a:r>
          </a:p>
          <a:p>
            <a:pPr algn="r"/>
            <a:r>
              <a:rPr lang="de-DE" sz="1050" dirty="0">
                <a:solidFill>
                  <a:srgbClr val="ABD3B2"/>
                </a:solidFill>
              </a:rPr>
              <a:t>brazil@enrichcentres.eu </a:t>
            </a:r>
          </a:p>
        </p:txBody>
      </p:sp>
      <p:pic>
        <p:nvPicPr>
          <p:cNvPr id="5" name="Picture 2" descr="Regional Centre for Information and Scientific Development Lt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787" y="119322"/>
            <a:ext cx="2505739" cy="6431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093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p:cNvGrpSpPr/>
          <p:nvPr/>
        </p:nvGrpSpPr>
        <p:grpSpPr>
          <a:xfrm>
            <a:off x="-127000" y="39900"/>
            <a:ext cx="10049197" cy="618401"/>
            <a:chOff x="-126814" y="39900"/>
            <a:chExt cx="10032815" cy="618401"/>
          </a:xfrm>
        </p:grpSpPr>
        <p:sp>
          <p:nvSpPr>
            <p:cNvPr id="3" name="Titel 1"/>
            <p:cNvSpPr txBox="1">
              <a:spLocks/>
            </p:cNvSpPr>
            <p:nvPr/>
          </p:nvSpPr>
          <p:spPr bwMode="auto">
            <a:xfrm>
              <a:off x="-126814" y="39900"/>
              <a:ext cx="10032815" cy="461665"/>
            </a:xfrm>
            <a:prstGeom prst="rect">
              <a:avLst/>
            </a:prstGeom>
            <a:noFill/>
            <a:ln>
              <a:noFill/>
            </a:ln>
          </p:spPr>
          <p:txBody>
            <a:bodyPr wrap="square" rtlCol="0">
              <a:spAutoFit/>
            </a:bodyPr>
            <a:lstStyle>
              <a:defPPr>
                <a:defRPr lang="es-ES_tradnl"/>
              </a:defPPr>
              <a:lvl1pPr>
                <a:defRPr sz="2400" b="1">
                  <a:solidFill>
                    <a:schemeClr val="bg1"/>
                  </a:solidFill>
                  <a:latin typeface="Calibri" panose="020F0502020204030204" pitchFamily="34" charset="0"/>
                  <a:cs typeface="Calibri" panose="020F0502020204030204" pitchFamily="34" charset="0"/>
                </a:defRPr>
              </a:lvl1pPr>
            </a:lstStyle>
            <a:p>
              <a:pPr algn="ctr"/>
              <a:r>
                <a:rPr lang="en-US" dirty="0">
                  <a:solidFill>
                    <a:srgbClr val="5B9BD5">
                      <a:lumMod val="75000"/>
                    </a:srgbClr>
                  </a:solidFill>
                </a:rPr>
                <a:t>Spotlight on Services </a:t>
              </a:r>
              <a:r>
                <a:rPr lang="hu-HU" dirty="0">
                  <a:solidFill>
                    <a:srgbClr val="5B9BD5">
                      <a:lumMod val="75000"/>
                    </a:srgbClr>
                  </a:solidFill>
                </a:rPr>
                <a:t>(</a:t>
              </a:r>
              <a:r>
                <a:rPr lang="en-US" dirty="0">
                  <a:solidFill>
                    <a:srgbClr val="5B9BD5">
                      <a:lumMod val="75000"/>
                    </a:srgbClr>
                  </a:solidFill>
                </a:rPr>
                <a:t> 2018)</a:t>
              </a:r>
            </a:p>
          </p:txBody>
        </p:sp>
        <p:cxnSp>
          <p:nvCxnSpPr>
            <p:cNvPr id="4" name="Straight Connector 21"/>
            <p:cNvCxnSpPr/>
            <p:nvPr/>
          </p:nvCxnSpPr>
          <p:spPr>
            <a:xfrm>
              <a:off x="-13803" y="658301"/>
              <a:ext cx="9900000"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21"/>
            <p:cNvCxnSpPr/>
            <p:nvPr/>
          </p:nvCxnSpPr>
          <p:spPr>
            <a:xfrm>
              <a:off x="-12503" y="565065"/>
              <a:ext cx="9900000" cy="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grpSp>
      <p:pic>
        <p:nvPicPr>
          <p:cNvPr id="6" name="Grafik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07959" y="2669251"/>
            <a:ext cx="2852022" cy="4047506"/>
          </a:xfrm>
          <a:prstGeom prst="rect">
            <a:avLst/>
          </a:prstGeom>
          <a:solidFill>
            <a:srgbClr val="094CA1"/>
          </a:solidFill>
          <a:ln>
            <a:solidFill>
              <a:srgbClr val="094CA1"/>
            </a:solidFill>
          </a:ln>
          <a:effectLst>
            <a:outerShdw blurRad="50800" dist="38100" dir="2700000" algn="tl" rotWithShape="0">
              <a:prstClr val="black">
                <a:alpha val="40000"/>
              </a:prstClr>
            </a:outerShdw>
          </a:effectLst>
        </p:spPr>
      </p:pic>
      <p:pic>
        <p:nvPicPr>
          <p:cNvPr id="7" name="Grafik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57808" y="1760170"/>
            <a:ext cx="2849606" cy="4047506"/>
          </a:xfrm>
          <a:prstGeom prst="rect">
            <a:avLst/>
          </a:prstGeom>
          <a:ln>
            <a:solidFill>
              <a:srgbClr val="FFC000"/>
            </a:solidFill>
          </a:ln>
          <a:effectLst>
            <a:outerShdw blurRad="50800" dist="38100" dir="2700000" algn="tl" rotWithShape="0">
              <a:prstClr val="black">
                <a:alpha val="40000"/>
              </a:prstClr>
            </a:outerShdw>
          </a:effectLst>
        </p:spPr>
      </p:pic>
      <p:sp>
        <p:nvSpPr>
          <p:cNvPr id="9" name="Rechteck 8"/>
          <p:cNvSpPr/>
          <p:nvPr/>
        </p:nvSpPr>
        <p:spPr>
          <a:xfrm>
            <a:off x="211390" y="902097"/>
            <a:ext cx="2880000" cy="31509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prstClr val="white"/>
                </a:solidFill>
                <a:latin typeface="Calibri" panose="020F0502020204030204" pitchFamily="34" charset="0"/>
                <a:cs typeface="Calibri" panose="020F0502020204030204" pitchFamily="34" charset="0"/>
              </a:rPr>
              <a:t>11 &amp; 15 </a:t>
            </a:r>
            <a:r>
              <a:rPr lang="de-DE" b="1" dirty="0" err="1">
                <a:solidFill>
                  <a:prstClr val="white"/>
                </a:solidFill>
                <a:latin typeface="Calibri" panose="020F0502020204030204" pitchFamily="34" charset="0"/>
                <a:cs typeface="Calibri" panose="020F0502020204030204" pitchFamily="34" charset="0"/>
              </a:rPr>
              <a:t>Oct</a:t>
            </a:r>
            <a:r>
              <a:rPr lang="de-DE" b="1" dirty="0">
                <a:solidFill>
                  <a:prstClr val="white"/>
                </a:solidFill>
                <a:latin typeface="Calibri" panose="020F0502020204030204" pitchFamily="34" charset="0"/>
                <a:cs typeface="Calibri" panose="020F0502020204030204" pitchFamily="34" charset="0"/>
              </a:rPr>
              <a:t> 2018</a:t>
            </a:r>
          </a:p>
        </p:txBody>
      </p:sp>
      <p:sp>
        <p:nvSpPr>
          <p:cNvPr id="12" name="Rechteck 11"/>
          <p:cNvSpPr/>
          <p:nvPr/>
        </p:nvSpPr>
        <p:spPr>
          <a:xfrm>
            <a:off x="6895603" y="2317884"/>
            <a:ext cx="2880000" cy="315097"/>
          </a:xfrm>
          <a:prstGeom prst="rect">
            <a:avLst/>
          </a:prstGeom>
          <a:solidFill>
            <a:srgbClr val="094C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prstClr val="white"/>
                </a:solidFill>
                <a:latin typeface="Calibri" panose="020F0502020204030204" pitchFamily="34" charset="0"/>
                <a:cs typeface="Calibri" panose="020F0502020204030204" pitchFamily="34" charset="0"/>
              </a:rPr>
              <a:t>5 – 9 Nov 2018</a:t>
            </a:r>
          </a:p>
        </p:txBody>
      </p:sp>
      <p:sp>
        <p:nvSpPr>
          <p:cNvPr id="13" name="Rechteck 12"/>
          <p:cNvSpPr/>
          <p:nvPr/>
        </p:nvSpPr>
        <p:spPr>
          <a:xfrm>
            <a:off x="3557808" y="1412992"/>
            <a:ext cx="2880000" cy="31509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prstClr val="white"/>
                </a:solidFill>
                <a:latin typeface="Calibri" panose="020F0502020204030204" pitchFamily="34" charset="0"/>
                <a:cs typeface="Calibri" panose="020F0502020204030204" pitchFamily="34" charset="0"/>
              </a:rPr>
              <a:t>29 &amp; 30 </a:t>
            </a:r>
            <a:r>
              <a:rPr lang="de-DE" b="1" dirty="0" err="1">
                <a:solidFill>
                  <a:prstClr val="white"/>
                </a:solidFill>
                <a:latin typeface="Calibri" panose="020F0502020204030204" pitchFamily="34" charset="0"/>
                <a:cs typeface="Calibri" panose="020F0502020204030204" pitchFamily="34" charset="0"/>
              </a:rPr>
              <a:t>Oct</a:t>
            </a:r>
            <a:r>
              <a:rPr lang="de-DE" b="1" dirty="0">
                <a:solidFill>
                  <a:prstClr val="white"/>
                </a:solidFill>
                <a:latin typeface="Calibri" panose="020F0502020204030204" pitchFamily="34" charset="0"/>
                <a:cs typeface="Calibri" panose="020F0502020204030204" pitchFamily="34" charset="0"/>
              </a:rPr>
              <a:t> 2018</a:t>
            </a:r>
          </a:p>
        </p:txBody>
      </p:sp>
      <p:sp>
        <p:nvSpPr>
          <p:cNvPr id="11" name="Rechteck 10"/>
          <p:cNvSpPr/>
          <p:nvPr/>
        </p:nvSpPr>
        <p:spPr>
          <a:xfrm>
            <a:off x="2879642" y="1837944"/>
            <a:ext cx="192742" cy="4159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15" name="Grafik 14"/>
          <p:cNvPicPr>
            <a:picLocks noChangeAspect="1"/>
          </p:cNvPicPr>
          <p:nvPr/>
        </p:nvPicPr>
        <p:blipFill>
          <a:blip r:embed="rId5"/>
          <a:stretch>
            <a:fillRect/>
          </a:stretch>
        </p:blipFill>
        <p:spPr>
          <a:xfrm>
            <a:off x="232960" y="1252292"/>
            <a:ext cx="2849015" cy="4063028"/>
          </a:xfrm>
          <a:prstGeom prst="rect">
            <a:avLst/>
          </a:prstGeom>
          <a:solidFill>
            <a:schemeClr val="bg1"/>
          </a:solidFill>
          <a:ln>
            <a:solidFill>
              <a:srgbClr val="00B050"/>
            </a:solidFill>
          </a:ln>
          <a:effectLst>
            <a:outerShdw blurRad="50800" dist="38100" dir="2700000" algn="tl" rotWithShape="0">
              <a:prstClr val="black">
                <a:alpha val="40000"/>
              </a:prstClr>
            </a:outerShdw>
          </a:effectLst>
        </p:spPr>
      </p:pic>
      <p:sp>
        <p:nvSpPr>
          <p:cNvPr id="16" name="Rechteck 15"/>
          <p:cNvSpPr/>
          <p:nvPr/>
        </p:nvSpPr>
        <p:spPr>
          <a:xfrm>
            <a:off x="1828800" y="1396951"/>
            <a:ext cx="1244030" cy="3632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cap="all" dirty="0">
                <a:solidFill>
                  <a:srgbClr val="00B050"/>
                </a:solidFill>
              </a:rPr>
              <a:t>Webinars</a:t>
            </a:r>
          </a:p>
        </p:txBody>
      </p:sp>
      <p:sp>
        <p:nvSpPr>
          <p:cNvPr id="17" name="Rechteck 16"/>
          <p:cNvSpPr/>
          <p:nvPr/>
        </p:nvSpPr>
        <p:spPr>
          <a:xfrm>
            <a:off x="232960" y="3327951"/>
            <a:ext cx="2839424" cy="1644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200" b="1" dirty="0">
              <a:solidFill>
                <a:srgbClr val="094CA1"/>
              </a:solidFill>
              <a:latin typeface="Calibri" panose="020F0502020204030204" pitchFamily="34" charset="0"/>
              <a:cs typeface="Calibri" panose="020F0502020204030204" pitchFamily="34" charset="0"/>
            </a:endParaRPr>
          </a:p>
          <a:p>
            <a:r>
              <a:rPr lang="en-GB" sz="1400" b="1" dirty="0">
                <a:solidFill>
                  <a:srgbClr val="094CA1"/>
                </a:solidFill>
                <a:latin typeface="Calibri" panose="020F0502020204030204" pitchFamily="34" charset="0"/>
                <a:cs typeface="Calibri" panose="020F0502020204030204" pitchFamily="34" charset="0"/>
              </a:rPr>
              <a:t>Innovation Landscape &amp; Culture in Brazil </a:t>
            </a:r>
            <a:r>
              <a:rPr lang="en-GB" sz="1200" dirty="0">
                <a:solidFill>
                  <a:srgbClr val="094CA1"/>
                </a:solidFill>
                <a:latin typeface="Calibri" panose="020F0502020204030204" pitchFamily="34" charset="0"/>
                <a:cs typeface="Calibri" panose="020F0502020204030204" pitchFamily="34" charset="0"/>
              </a:rPr>
              <a:t>11 October 2018 (15-16 CET) </a:t>
            </a:r>
          </a:p>
          <a:p>
            <a:endParaRPr lang="en-GB" sz="1400" dirty="0">
              <a:solidFill>
                <a:srgbClr val="094CA1"/>
              </a:solidFill>
              <a:latin typeface="Calibri" panose="020F0502020204030204" pitchFamily="34" charset="0"/>
              <a:cs typeface="Calibri" panose="020F0502020204030204" pitchFamily="34" charset="0"/>
            </a:endParaRPr>
          </a:p>
          <a:p>
            <a:r>
              <a:rPr lang="en-GB" sz="1400" b="1" dirty="0">
                <a:solidFill>
                  <a:srgbClr val="094CA1"/>
                </a:solidFill>
                <a:latin typeface="Calibri" panose="020F0502020204030204" pitchFamily="34" charset="0"/>
                <a:cs typeface="Calibri" panose="020F0502020204030204" pitchFamily="34" charset="0"/>
              </a:rPr>
              <a:t>Showcasing the Applied Research Sector in Brazil (Part I): Electronics &amp; Digital Technologies </a:t>
            </a:r>
            <a:r>
              <a:rPr lang="en-GB" sz="1200" b="1" dirty="0">
                <a:solidFill>
                  <a:srgbClr val="094CA1"/>
                </a:solidFill>
                <a:latin typeface="Calibri" panose="020F0502020204030204" pitchFamily="34" charset="0"/>
                <a:cs typeface="Calibri" panose="020F0502020204030204" pitchFamily="34" charset="0"/>
              </a:rPr>
              <a:t> </a:t>
            </a:r>
          </a:p>
          <a:p>
            <a:r>
              <a:rPr lang="en-GB" sz="1200" dirty="0">
                <a:solidFill>
                  <a:srgbClr val="094CA1"/>
                </a:solidFill>
                <a:latin typeface="Calibri" panose="020F0502020204030204" pitchFamily="34" charset="0"/>
                <a:cs typeface="Calibri" panose="020F0502020204030204" pitchFamily="34" charset="0"/>
              </a:rPr>
              <a:t>15 October 2018 (15-16 CET)</a:t>
            </a:r>
          </a:p>
          <a:p>
            <a:pPr algn="ctr"/>
            <a:endParaRPr lang="en-GB" sz="1200" dirty="0">
              <a:solidFill>
                <a:srgbClr val="094CA1"/>
              </a:solidFill>
              <a:latin typeface="Calibri" panose="020F0502020204030204" pitchFamily="34" charset="0"/>
              <a:cs typeface="Calibri" panose="020F0502020204030204" pitchFamily="34" charset="0"/>
            </a:endParaRPr>
          </a:p>
        </p:txBody>
      </p:sp>
      <p:pic>
        <p:nvPicPr>
          <p:cNvPr id="18" name="Picture 2" descr="Regional Centre for Information and Scientific Development Lt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56521" y="6182559"/>
            <a:ext cx="2081287" cy="53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3941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Conexão recta 34"/>
          <p:cNvCxnSpPr/>
          <p:nvPr/>
        </p:nvCxnSpPr>
        <p:spPr>
          <a:xfrm>
            <a:off x="8284012" y="5033362"/>
            <a:ext cx="0" cy="801433"/>
          </a:xfrm>
          <a:prstGeom prst="line">
            <a:avLst/>
          </a:prstGeom>
          <a:ln w="28575">
            <a:solidFill>
              <a:schemeClr val="bg1">
                <a:lumMod val="85000"/>
              </a:schemeClr>
            </a:solidFill>
          </a:ln>
        </p:spPr>
        <p:style>
          <a:lnRef idx="3">
            <a:schemeClr val="accent1"/>
          </a:lnRef>
          <a:fillRef idx="0">
            <a:schemeClr val="accent1"/>
          </a:fillRef>
          <a:effectRef idx="2">
            <a:schemeClr val="accent1"/>
          </a:effectRef>
          <a:fontRef idx="minor">
            <a:schemeClr val="tx1"/>
          </a:fontRef>
        </p:style>
      </p:cxnSp>
      <p:cxnSp>
        <p:nvCxnSpPr>
          <p:cNvPr id="28" name="Conexão recta 34"/>
          <p:cNvCxnSpPr/>
          <p:nvPr/>
        </p:nvCxnSpPr>
        <p:spPr>
          <a:xfrm>
            <a:off x="3697595" y="5033362"/>
            <a:ext cx="0" cy="801433"/>
          </a:xfrm>
          <a:prstGeom prst="line">
            <a:avLst/>
          </a:prstGeom>
          <a:ln w="28575">
            <a:solidFill>
              <a:schemeClr val="bg1">
                <a:lumMod val="85000"/>
              </a:schemeClr>
            </a:solidFill>
          </a:ln>
        </p:spPr>
        <p:style>
          <a:lnRef idx="3">
            <a:schemeClr val="accent1"/>
          </a:lnRef>
          <a:fillRef idx="0">
            <a:schemeClr val="accent1"/>
          </a:fillRef>
          <a:effectRef idx="2">
            <a:schemeClr val="accent1"/>
          </a:effectRef>
          <a:fontRef idx="minor">
            <a:schemeClr val="tx1"/>
          </a:fontRef>
        </p:style>
      </p:cxnSp>
      <p:cxnSp>
        <p:nvCxnSpPr>
          <p:cNvPr id="25" name="Conexão recta 27"/>
          <p:cNvCxnSpPr/>
          <p:nvPr/>
        </p:nvCxnSpPr>
        <p:spPr>
          <a:xfrm>
            <a:off x="4427019" y="5637617"/>
            <a:ext cx="3134529" cy="0"/>
          </a:xfrm>
          <a:prstGeom prst="line">
            <a:avLst/>
          </a:prstGeom>
          <a:ln w="28575">
            <a:solidFill>
              <a:schemeClr val="bg1">
                <a:lumMod val="85000"/>
              </a:schemeClr>
            </a:solidFill>
          </a:ln>
        </p:spPr>
        <p:style>
          <a:lnRef idx="3">
            <a:schemeClr val="accent1"/>
          </a:lnRef>
          <a:fillRef idx="0">
            <a:schemeClr val="accent1"/>
          </a:fillRef>
          <a:effectRef idx="2">
            <a:schemeClr val="accent1"/>
          </a:effectRef>
          <a:fontRef idx="minor">
            <a:schemeClr val="tx1"/>
          </a:fontRef>
        </p:style>
      </p:cxnSp>
      <p:cxnSp>
        <p:nvCxnSpPr>
          <p:cNvPr id="24" name="Conexão recta 27"/>
          <p:cNvCxnSpPr/>
          <p:nvPr/>
        </p:nvCxnSpPr>
        <p:spPr>
          <a:xfrm>
            <a:off x="4440809" y="5231903"/>
            <a:ext cx="3134529" cy="0"/>
          </a:xfrm>
          <a:prstGeom prst="line">
            <a:avLst/>
          </a:prstGeom>
          <a:ln w="28575">
            <a:solidFill>
              <a:schemeClr val="bg1">
                <a:lumMod val="85000"/>
              </a:schemeClr>
            </a:solidFill>
          </a:ln>
        </p:spPr>
        <p:style>
          <a:lnRef idx="3">
            <a:schemeClr val="accent1"/>
          </a:lnRef>
          <a:fillRef idx="0">
            <a:schemeClr val="accent1"/>
          </a:fillRef>
          <a:effectRef idx="2">
            <a:schemeClr val="accent1"/>
          </a:effectRef>
          <a:fontRef idx="minor">
            <a:schemeClr val="tx1"/>
          </a:fontRef>
        </p:style>
      </p:cxnSp>
      <p:pic>
        <p:nvPicPr>
          <p:cNvPr id="20" name="Grafik 19"/>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71256" y="855970"/>
            <a:ext cx="7813490" cy="3425671"/>
          </a:xfrm>
          <a:prstGeom prst="rect">
            <a:avLst/>
          </a:prstGeom>
        </p:spPr>
      </p:pic>
      <p:grpSp>
        <p:nvGrpSpPr>
          <p:cNvPr id="2" name="Group 22"/>
          <p:cNvGrpSpPr/>
          <p:nvPr/>
        </p:nvGrpSpPr>
        <p:grpSpPr>
          <a:xfrm>
            <a:off x="-127000" y="39900"/>
            <a:ext cx="10049197" cy="618401"/>
            <a:chOff x="-126814" y="39900"/>
            <a:chExt cx="10032815" cy="618401"/>
          </a:xfrm>
        </p:grpSpPr>
        <p:sp>
          <p:nvSpPr>
            <p:cNvPr id="6" name="Titel 1"/>
            <p:cNvSpPr txBox="1">
              <a:spLocks/>
            </p:cNvSpPr>
            <p:nvPr/>
          </p:nvSpPr>
          <p:spPr bwMode="auto">
            <a:xfrm>
              <a:off x="-126814" y="39900"/>
              <a:ext cx="10032815" cy="461665"/>
            </a:xfrm>
            <a:prstGeom prst="rect">
              <a:avLst/>
            </a:prstGeom>
            <a:noFill/>
            <a:ln>
              <a:noFill/>
            </a:ln>
          </p:spPr>
          <p:txBody>
            <a:bodyPr wrap="square" rtlCol="0">
              <a:spAutoFit/>
            </a:bodyPr>
            <a:lstStyle>
              <a:defPPr>
                <a:defRPr lang="es-ES_tradnl"/>
              </a:defPPr>
              <a:lvl1pPr>
                <a:defRPr sz="2400" b="1">
                  <a:solidFill>
                    <a:schemeClr val="bg1"/>
                  </a:solidFill>
                  <a:latin typeface="Calibri" panose="020F0502020204030204" pitchFamily="34" charset="0"/>
                  <a:cs typeface="Calibri" panose="020F0502020204030204" pitchFamily="34" charset="0"/>
                </a:defRPr>
              </a:lvl1pPr>
            </a:lstStyle>
            <a:p>
              <a:pPr algn="ctr"/>
              <a:r>
                <a:rPr lang="en-US" dirty="0">
                  <a:solidFill>
                    <a:schemeClr val="accent5"/>
                  </a:solidFill>
                </a:rPr>
                <a:t>ENRICH in Brazil: Community</a:t>
              </a:r>
            </a:p>
          </p:txBody>
        </p:sp>
        <p:cxnSp>
          <p:nvCxnSpPr>
            <p:cNvPr id="7" name="Straight Connector 21"/>
            <p:cNvCxnSpPr/>
            <p:nvPr/>
          </p:nvCxnSpPr>
          <p:spPr>
            <a:xfrm>
              <a:off x="-13803" y="658301"/>
              <a:ext cx="9900000"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21"/>
            <p:cNvCxnSpPr/>
            <p:nvPr/>
          </p:nvCxnSpPr>
          <p:spPr>
            <a:xfrm>
              <a:off x="-12503" y="565065"/>
              <a:ext cx="9900000" cy="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grpSp>
      <p:sp>
        <p:nvSpPr>
          <p:cNvPr id="10" name="Oval 21"/>
          <p:cNvSpPr/>
          <p:nvPr/>
        </p:nvSpPr>
        <p:spPr>
          <a:xfrm>
            <a:off x="7194549" y="4860576"/>
            <a:ext cx="2174299" cy="481558"/>
          </a:xfrm>
          <a:prstGeom prst="rect">
            <a:avLst/>
          </a:prstGeom>
          <a:solidFill>
            <a:srgbClr val="46AF6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ENRICH</a:t>
            </a:r>
          </a:p>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Calibri" panose="020F0502020204030204" pitchFamily="34" charset="0"/>
                <a:cs typeface="Calibri" panose="020F0502020204030204" pitchFamily="34" charset="0"/>
              </a:rPr>
              <a:t>Supporters &amp; Ambassadors</a:t>
            </a: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1" name="Oval 22"/>
          <p:cNvSpPr/>
          <p:nvPr/>
        </p:nvSpPr>
        <p:spPr>
          <a:xfrm>
            <a:off x="2619721" y="4860576"/>
            <a:ext cx="2174299" cy="481558"/>
          </a:xfrm>
          <a:prstGeom prst="rect">
            <a:avLst/>
          </a:prstGeom>
          <a:solidFill>
            <a:srgbClr val="46AF6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Service</a:t>
            </a:r>
            <a:r>
              <a:rPr kumimoji="0" lang="en-US" sz="1200" b="1" i="0" u="none" strike="noStrike" kern="0" cap="none" spc="0" normalizeH="0" noProof="0" dirty="0">
                <a:ln>
                  <a:noFill/>
                </a:ln>
                <a:solidFill>
                  <a:prstClr val="white"/>
                </a:solidFill>
                <a:effectLst/>
                <a:uLnTx/>
                <a:uFillTx/>
                <a:latin typeface="Calibri" panose="020F0502020204030204" pitchFamily="34" charset="0"/>
                <a:cs typeface="Calibri" panose="020F0502020204030204" pitchFamily="34" charset="0"/>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noProof="0" dirty="0">
                <a:ln>
                  <a:noFill/>
                </a:ln>
                <a:solidFill>
                  <a:prstClr val="white"/>
                </a:solidFill>
                <a:effectLst/>
                <a:uLnTx/>
                <a:uFillTx/>
                <a:latin typeface="Calibri" panose="020F0502020204030204" pitchFamily="34" charset="0"/>
                <a:cs typeface="Calibri" panose="020F0502020204030204" pitchFamily="34" charset="0"/>
              </a:rPr>
              <a:t>Provider</a:t>
            </a: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5" name="Oval 20"/>
          <p:cNvSpPr/>
          <p:nvPr/>
        </p:nvSpPr>
        <p:spPr>
          <a:xfrm>
            <a:off x="7194549" y="5523656"/>
            <a:ext cx="2174300" cy="481558"/>
          </a:xfrm>
          <a:prstGeom prst="rect">
            <a:avLst/>
          </a:prstGeom>
          <a:solidFill>
            <a:srgbClr val="46AF6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prstClr val="white"/>
                </a:solidFill>
                <a:effectLst/>
                <a:uLnTx/>
                <a:uFillTx/>
                <a:latin typeface="Calibri" panose="020F0502020204030204" pitchFamily="34" charset="0"/>
                <a:cs typeface="Calibri" panose="020F0502020204030204" pitchFamily="34" charset="0"/>
              </a:rPr>
              <a:t>Individuals</a:t>
            </a:r>
            <a:r>
              <a:rPr kumimoji="0" lang="en-GB" sz="1200" b="1" i="0" u="none" strike="noStrike" kern="0" cap="none" spc="0" normalizeH="0" dirty="0">
                <a:ln>
                  <a:noFill/>
                </a:ln>
                <a:solidFill>
                  <a:prstClr val="white"/>
                </a:solidFill>
                <a:effectLst/>
                <a:uLnTx/>
                <a:uFillTx/>
                <a:latin typeface="Calibri" panose="020F0502020204030204" pitchFamily="34" charset="0"/>
                <a:cs typeface="Calibri" panose="020F0502020204030204" pitchFamily="34" charset="0"/>
              </a:rPr>
              <a:t> &amp; Organisation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dirty="0">
                <a:ln>
                  <a:noFill/>
                </a:ln>
                <a:solidFill>
                  <a:prstClr val="white"/>
                </a:solidFill>
                <a:effectLst/>
                <a:uLnTx/>
                <a:uFillTx/>
                <a:latin typeface="Calibri" panose="020F0502020204030204" pitchFamily="34" charset="0"/>
                <a:cs typeface="Calibri" panose="020F0502020204030204" pitchFamily="34" charset="0"/>
              </a:rPr>
              <a:t>as Beneficiaries</a:t>
            </a:r>
            <a:endParaRPr kumimoji="0" lang="en-GB" sz="1200" b="1" i="0" u="none" strike="noStrike" kern="0" cap="none" spc="0" normalizeH="0" baseline="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7" name="CaixaDeTexto 54"/>
          <p:cNvSpPr txBox="1"/>
          <p:nvPr/>
        </p:nvSpPr>
        <p:spPr>
          <a:xfrm>
            <a:off x="8445499" y="758593"/>
            <a:ext cx="1456861" cy="707886"/>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2000" b="1" i="0" u="none" strike="noStrike" kern="0" cap="none" spc="0" normalizeH="0" baseline="0" noProof="0" dirty="0">
                <a:ln>
                  <a:noFill/>
                </a:ln>
                <a:solidFill>
                  <a:schemeClr val="bg2">
                    <a:lumMod val="50000"/>
                  </a:schemeClr>
                </a:solidFill>
                <a:effectLst/>
                <a:uLnTx/>
                <a:uFillTx/>
                <a:latin typeface="Calibri" panose="020F0502020204030204" pitchFamily="34" charset="0"/>
                <a:cs typeface="Calibri" panose="020F0502020204030204" pitchFamily="34" charset="0"/>
              </a:rPr>
              <a:t>Brazi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2000" b="1" i="0" u="none" strike="noStrike" kern="0" cap="none" spc="0" normalizeH="0" baseline="0" noProof="0" dirty="0">
                <a:ln>
                  <a:noFill/>
                </a:ln>
                <a:solidFill>
                  <a:schemeClr val="bg2">
                    <a:lumMod val="50000"/>
                  </a:schemeClr>
                </a:solidFill>
                <a:effectLst/>
                <a:uLnTx/>
                <a:uFillTx/>
                <a:latin typeface="Calibri" panose="020F0502020204030204" pitchFamily="34" charset="0"/>
                <a:cs typeface="Calibri" panose="020F0502020204030204" pitchFamily="34" charset="0"/>
              </a:rPr>
              <a:t>&amp; Europe</a:t>
            </a:r>
            <a:endParaRPr kumimoji="0" lang="en-US" sz="2000" b="1" i="0" u="none" strike="noStrike" kern="0" cap="none" spc="0" normalizeH="0" baseline="0" noProof="0" dirty="0">
              <a:ln>
                <a:noFill/>
              </a:ln>
              <a:solidFill>
                <a:schemeClr val="bg2">
                  <a:lumMod val="50000"/>
                </a:schemeClr>
              </a:solidFill>
              <a:effectLst/>
              <a:uLnTx/>
              <a:uFillTx/>
              <a:latin typeface="Calibri" panose="020F0502020204030204" pitchFamily="34" charset="0"/>
              <a:cs typeface="Calibri" panose="020F0502020204030204" pitchFamily="34" charset="0"/>
            </a:endParaRPr>
          </a:p>
        </p:txBody>
      </p:sp>
      <p:sp>
        <p:nvSpPr>
          <p:cNvPr id="18" name="Oval 50"/>
          <p:cNvSpPr/>
          <p:nvPr/>
        </p:nvSpPr>
        <p:spPr>
          <a:xfrm>
            <a:off x="5036606" y="5033362"/>
            <a:ext cx="1915357" cy="720000"/>
          </a:xfrm>
          <a:prstGeom prst="rect">
            <a:avLst/>
          </a:prstGeom>
          <a:solidFill>
            <a:sysClr val="window" lastClr="FFFFFF"/>
          </a:solidFill>
          <a:ln w="25400" cap="flat" cmpd="sng" algn="ctr">
            <a:solidFill>
              <a:srgbClr val="FFCC33">
                <a:lumMod val="75000"/>
              </a:srgbClr>
            </a:solidFill>
            <a:prstDash val="solid"/>
          </a:ln>
          <a:effectLst/>
        </p:spPr>
        <p:txBody>
          <a:bodyPr rtlCol="0" anchor="ctr"/>
          <a:lstStyle/>
          <a:p>
            <a:pPr lvl="0" algn="ctr">
              <a:defRPr/>
            </a:pPr>
            <a:r>
              <a:rPr lang="en-US" sz="1200" b="1" kern="0">
                <a:solidFill>
                  <a:schemeClr val="accent4">
                    <a:lumMod val="50000"/>
                  </a:schemeClr>
                </a:solidFill>
                <a:latin typeface="Calibri" panose="020F0502020204030204" pitchFamily="34" charset="0"/>
                <a:cs typeface="Calibri" panose="020F0502020204030204" pitchFamily="34" charset="0"/>
              </a:rPr>
              <a:t>Headquarters </a:t>
            </a:r>
          </a:p>
          <a:p>
            <a:pPr lvl="0" algn="ctr">
              <a:defRPr/>
            </a:pPr>
            <a:r>
              <a:rPr lang="en-US" sz="1200" b="1" kern="0">
                <a:solidFill>
                  <a:schemeClr val="accent4">
                    <a:lumMod val="50000"/>
                  </a:schemeClr>
                </a:solidFill>
                <a:latin typeface="Calibri" panose="020F0502020204030204" pitchFamily="34" charset="0"/>
                <a:cs typeface="Calibri" panose="020F0502020204030204" pitchFamily="34" charset="0"/>
              </a:rPr>
              <a:t>in Brasília &amp; planned Branches in SP &amp; RJ</a:t>
            </a:r>
          </a:p>
        </p:txBody>
      </p:sp>
      <p:pic>
        <p:nvPicPr>
          <p:cNvPr id="22" name="Grafik 2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9826499">
            <a:off x="1452230" y="4468846"/>
            <a:ext cx="1233565" cy="1747405"/>
          </a:xfrm>
          <a:prstGeom prst="rect">
            <a:avLst/>
          </a:prstGeom>
          <a:effectLst>
            <a:outerShdw blurRad="50800" dist="38100" dir="16200000" rotWithShape="0">
              <a:prstClr val="black">
                <a:alpha val="40000"/>
              </a:prstClr>
            </a:outerShdw>
          </a:effectLst>
        </p:spPr>
      </p:pic>
      <p:sp>
        <p:nvSpPr>
          <p:cNvPr id="9" name="Oval 16"/>
          <p:cNvSpPr/>
          <p:nvPr/>
        </p:nvSpPr>
        <p:spPr>
          <a:xfrm>
            <a:off x="2619721" y="5523656"/>
            <a:ext cx="2174299" cy="481558"/>
          </a:xfrm>
          <a:prstGeom prst="rect">
            <a:avLst/>
          </a:prstGeom>
          <a:solidFill>
            <a:srgbClr val="46AF6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Soft Landing</a:t>
            </a:r>
            <a:r>
              <a:rPr kumimoji="0" lang="en-US" sz="1200" b="1" i="0" u="none" strike="noStrike" kern="0" cap="none" spc="0" normalizeH="0" noProof="0" dirty="0">
                <a:ln>
                  <a:noFill/>
                </a:ln>
                <a:solidFill>
                  <a:prstClr val="white"/>
                </a:solidFill>
                <a:effectLst/>
                <a:uLnTx/>
                <a:uFillTx/>
                <a:latin typeface="Calibri" panose="020F0502020204030204" pitchFamily="34" charset="0"/>
                <a:cs typeface="Calibri" panose="020F0502020204030204" pitchFamily="34" charset="0"/>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noProof="0" dirty="0">
                <a:ln>
                  <a:noFill/>
                </a:ln>
                <a:solidFill>
                  <a:prstClr val="white"/>
                </a:solidFill>
                <a:effectLst/>
                <a:uLnTx/>
                <a:uFillTx/>
                <a:latin typeface="Calibri" panose="020F0502020204030204" pitchFamily="34" charset="0"/>
                <a:cs typeface="Calibri" panose="020F0502020204030204" pitchFamily="34" charset="0"/>
              </a:rPr>
              <a:t>Hub</a:t>
            </a: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3" name="Textfeld 22"/>
          <p:cNvSpPr txBox="1"/>
          <p:nvPr/>
        </p:nvSpPr>
        <p:spPr>
          <a:xfrm>
            <a:off x="2511758" y="4370826"/>
            <a:ext cx="4771679" cy="369332"/>
          </a:xfrm>
          <a:prstGeom prst="rect">
            <a:avLst/>
          </a:prstGeom>
          <a:noFill/>
        </p:spPr>
        <p:txBody>
          <a:bodyPr wrap="square" rtlCol="0">
            <a:spAutoFit/>
          </a:bodyPr>
          <a:lstStyle/>
          <a:p>
            <a:r>
              <a:rPr lang="en-GB" b="1" dirty="0">
                <a:solidFill>
                  <a:schemeClr val="bg2">
                    <a:lumMod val="50000"/>
                  </a:schemeClr>
                </a:solidFill>
                <a:latin typeface="Calibri" panose="020F0502020204030204" pitchFamily="34" charset="0"/>
                <a:cs typeface="Calibri" panose="020F0502020204030204" pitchFamily="34" charset="0"/>
              </a:rPr>
              <a:t>ENRICH in Brazil Ecosystem</a:t>
            </a:r>
          </a:p>
        </p:txBody>
      </p:sp>
      <p:pic>
        <p:nvPicPr>
          <p:cNvPr id="19" name="Picture 2" descr="Regional Centre for Information and Scientific Development Lt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8603" y="6214860"/>
            <a:ext cx="2081287" cy="53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23870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6"/>
          <p:cNvGrpSpPr/>
          <p:nvPr/>
        </p:nvGrpSpPr>
        <p:grpSpPr>
          <a:xfrm>
            <a:off x="3854981" y="3536399"/>
            <a:ext cx="5252756" cy="2477601"/>
            <a:chOff x="665444" y="3435092"/>
            <a:chExt cx="5252756" cy="2477601"/>
          </a:xfrm>
        </p:grpSpPr>
        <p:sp>
          <p:nvSpPr>
            <p:cNvPr id="4" name="Rectangle 2"/>
            <p:cNvSpPr/>
            <p:nvPr/>
          </p:nvSpPr>
          <p:spPr>
            <a:xfrm>
              <a:off x="1097670" y="3435092"/>
              <a:ext cx="4820530" cy="2477601"/>
            </a:xfrm>
            <a:prstGeom prst="rect">
              <a:avLst/>
            </a:prstGeom>
          </p:spPr>
          <p:txBody>
            <a:bodyPr wrap="square">
              <a:spAutoFit/>
            </a:bodyPr>
            <a:lstStyle/>
            <a:p>
              <a:pPr>
                <a:lnSpc>
                  <a:spcPct val="150000"/>
                </a:lnSpc>
                <a:spcBef>
                  <a:spcPts val="300"/>
                </a:spcBef>
                <a:spcAft>
                  <a:spcPts val="300"/>
                </a:spcAft>
              </a:pPr>
              <a:r>
                <a:rPr lang="pt-PT" dirty="0">
                  <a:solidFill>
                    <a:schemeClr val="accent1">
                      <a:lumMod val="75000"/>
                    </a:schemeClr>
                  </a:solidFill>
                  <a:latin typeface="Calibri" panose="020F0502020204030204" pitchFamily="34" charset="0"/>
                  <a:cs typeface="Calibri" panose="020F0502020204030204" pitchFamily="34" charset="0"/>
                  <a:hlinkClick r:id="rId3"/>
                </a:rPr>
                <a:t>www.brazil.enrichcentres.eu</a:t>
              </a:r>
              <a:endParaRPr lang="pt-PT" dirty="0">
                <a:solidFill>
                  <a:schemeClr val="accent1">
                    <a:lumMod val="75000"/>
                  </a:schemeClr>
                </a:solidFill>
                <a:latin typeface="Calibri" panose="020F0502020204030204" pitchFamily="34" charset="0"/>
                <a:cs typeface="Calibri" panose="020F0502020204030204" pitchFamily="34" charset="0"/>
              </a:endParaRPr>
            </a:p>
            <a:p>
              <a:pPr>
                <a:lnSpc>
                  <a:spcPct val="150000"/>
                </a:lnSpc>
                <a:spcBef>
                  <a:spcPts val="300"/>
                </a:spcBef>
                <a:spcAft>
                  <a:spcPts val="300"/>
                </a:spcAft>
              </a:pPr>
              <a:r>
                <a:rPr lang="pt-PT" dirty="0">
                  <a:solidFill>
                    <a:schemeClr val="accent1">
                      <a:lumMod val="75000"/>
                    </a:schemeClr>
                  </a:solidFill>
                  <a:latin typeface="Calibri" panose="020F0502020204030204" pitchFamily="34" charset="0"/>
                  <a:cs typeface="Calibri" panose="020F0502020204030204" pitchFamily="34" charset="0"/>
                  <a:hlinkClick r:id="rId4"/>
                </a:rPr>
                <a:t>brazil@enrichcentres.eu</a:t>
              </a:r>
              <a:endParaRPr lang="pt-PT" dirty="0">
                <a:solidFill>
                  <a:schemeClr val="accent1">
                    <a:lumMod val="75000"/>
                  </a:schemeClr>
                </a:solidFill>
                <a:latin typeface="Calibri" panose="020F0502020204030204" pitchFamily="34" charset="0"/>
                <a:cs typeface="Calibri" panose="020F0502020204030204" pitchFamily="34" charset="0"/>
              </a:endParaRPr>
            </a:p>
            <a:p>
              <a:pPr>
                <a:lnSpc>
                  <a:spcPct val="150000"/>
                </a:lnSpc>
                <a:spcBef>
                  <a:spcPts val="300"/>
                </a:spcBef>
                <a:spcAft>
                  <a:spcPts val="300"/>
                </a:spcAft>
              </a:pPr>
              <a:r>
                <a:rPr lang="pt-PT" dirty="0">
                  <a:solidFill>
                    <a:schemeClr val="accent1">
                      <a:lumMod val="75000"/>
                    </a:schemeClr>
                  </a:solidFill>
                  <a:latin typeface="Calibri" panose="020F0502020204030204" pitchFamily="34" charset="0"/>
                  <a:cs typeface="Calibri" panose="020F0502020204030204" pitchFamily="34" charset="0"/>
                  <a:hlinkClick r:id="rId5"/>
                </a:rPr>
                <a:t>https://twitter.com/ENRICH_brazil</a:t>
              </a:r>
              <a:endParaRPr lang="pt-PT" dirty="0">
                <a:solidFill>
                  <a:schemeClr val="accent1">
                    <a:lumMod val="75000"/>
                  </a:schemeClr>
                </a:solidFill>
                <a:latin typeface="Calibri" panose="020F0502020204030204" pitchFamily="34" charset="0"/>
                <a:cs typeface="Calibri" panose="020F0502020204030204" pitchFamily="34" charset="0"/>
              </a:endParaRPr>
            </a:p>
            <a:p>
              <a:pPr>
                <a:lnSpc>
                  <a:spcPct val="150000"/>
                </a:lnSpc>
                <a:spcBef>
                  <a:spcPts val="300"/>
                </a:spcBef>
                <a:spcAft>
                  <a:spcPts val="300"/>
                </a:spcAft>
              </a:pPr>
              <a:r>
                <a:rPr lang="pt-PT" dirty="0">
                  <a:solidFill>
                    <a:schemeClr val="accent1">
                      <a:lumMod val="75000"/>
                    </a:schemeClr>
                  </a:solidFill>
                  <a:latin typeface="Calibri" panose="020F0502020204030204" pitchFamily="34" charset="0"/>
                  <a:cs typeface="Calibri" panose="020F0502020204030204" pitchFamily="34" charset="0"/>
                  <a:hlinkClick r:id="rId6"/>
                </a:rPr>
                <a:t>https://www.facebook.com/ENRICHinBrazil</a:t>
              </a:r>
              <a:endParaRPr lang="pt-PT" dirty="0">
                <a:solidFill>
                  <a:schemeClr val="accent1">
                    <a:lumMod val="75000"/>
                  </a:schemeClr>
                </a:solidFill>
                <a:latin typeface="Calibri" panose="020F0502020204030204" pitchFamily="34" charset="0"/>
                <a:cs typeface="Calibri" panose="020F0502020204030204" pitchFamily="34" charset="0"/>
              </a:endParaRPr>
            </a:p>
            <a:p>
              <a:pPr>
                <a:lnSpc>
                  <a:spcPct val="150000"/>
                </a:lnSpc>
                <a:spcBef>
                  <a:spcPts val="300"/>
                </a:spcBef>
                <a:spcAft>
                  <a:spcPts val="300"/>
                </a:spcAft>
              </a:pPr>
              <a:r>
                <a:rPr lang="pt-PT" dirty="0">
                  <a:solidFill>
                    <a:schemeClr val="accent1">
                      <a:lumMod val="75000"/>
                    </a:schemeClr>
                  </a:solidFill>
                  <a:latin typeface="Calibri" panose="020F0502020204030204" pitchFamily="34" charset="0"/>
                  <a:cs typeface="Calibri" panose="020F0502020204030204" pitchFamily="34" charset="0"/>
                  <a:hlinkClick r:id="rId7"/>
                </a:rPr>
                <a:t>https://www.linkedin.com/company/11125511</a:t>
              </a:r>
              <a:endParaRPr lang="pt-PT" dirty="0">
                <a:solidFill>
                  <a:schemeClr val="accent1">
                    <a:lumMod val="75000"/>
                  </a:schemeClr>
                </a:solidFill>
                <a:latin typeface="Calibri" panose="020F0502020204030204" pitchFamily="34" charset="0"/>
                <a:cs typeface="Calibri" panose="020F0502020204030204" pitchFamily="34" charset="0"/>
              </a:endParaRPr>
            </a:p>
          </p:txBody>
        </p:sp>
        <p:pic>
          <p:nvPicPr>
            <p:cNvPr id="5" name="Picture 3"/>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690417" y="4399844"/>
              <a:ext cx="407253" cy="407253"/>
            </a:xfrm>
            <a:prstGeom prst="rect">
              <a:avLst/>
            </a:prstGeom>
          </p:spPr>
        </p:pic>
        <p:pic>
          <p:nvPicPr>
            <p:cNvPr id="6" name="Picture 5"/>
            <p:cNvPicPr>
              <a:picLocks noChangeAspect="1"/>
            </p:cNvPicPr>
            <p:nvPr/>
          </p:nvPicPr>
          <p:blipFill>
            <a:blip r:embed="rId9"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90416" y="3957054"/>
              <a:ext cx="392842" cy="392842"/>
            </a:xfrm>
            <a:prstGeom prst="rect">
              <a:avLst/>
            </a:prstGeom>
          </p:spPr>
        </p:pic>
        <p:pic>
          <p:nvPicPr>
            <p:cNvPr id="7" name="Picture 6"/>
            <p:cNvPicPr>
              <a:picLocks noChangeAspect="1"/>
            </p:cNvPicPr>
            <p:nvPr/>
          </p:nvPicPr>
          <p:blipFill>
            <a:blip r:embed="rId10"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65444" y="3498592"/>
              <a:ext cx="394105" cy="394105"/>
            </a:xfrm>
            <a:prstGeom prst="rect">
              <a:avLst/>
            </a:prstGeom>
          </p:spPr>
        </p:pic>
        <p:pic>
          <p:nvPicPr>
            <p:cNvPr id="9" name="Picture 6"/>
            <p:cNvPicPr>
              <a:picLocks noChangeAspect="1" noChangeArrowheads="1"/>
            </p:cNvPicPr>
            <p:nvPr/>
          </p:nvPicPr>
          <p:blipFill rotWithShape="1">
            <a:blip r:embed="rId11" cstate="email">
              <a:extLst>
                <a:ext uri="{BEBA8EAE-BF5A-486C-A8C5-ECC9F3942E4B}">
                  <a14:imgProps xmlns:a14="http://schemas.microsoft.com/office/drawing/2010/main">
                    <a14:imgLayer r:embed="rId12">
                      <a14:imgEffect>
                        <a14:backgroundRemoval t="2474" b="97396" l="3125" r="97005"/>
                      </a14:imgEffect>
                      <a14:imgEffect>
                        <a14:saturation sat="33000"/>
                      </a14:imgEffect>
                    </a14:imgLayer>
                  </a14:imgProps>
                </a:ext>
                <a:ext uri="{28A0092B-C50C-407E-A947-70E740481C1C}">
                  <a14:useLocalDpi xmlns:a14="http://schemas.microsoft.com/office/drawing/2010/main"/>
                </a:ext>
              </a:extLst>
            </a:blip>
            <a:srcRect l="3971" t="2563" r="4513" b="3296"/>
            <a:stretch/>
          </p:blipFill>
          <p:spPr bwMode="auto">
            <a:xfrm>
              <a:off x="712019" y="5401696"/>
              <a:ext cx="358439"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8" name="Group 41"/>
          <p:cNvGrpSpPr/>
          <p:nvPr/>
        </p:nvGrpSpPr>
        <p:grpSpPr>
          <a:xfrm>
            <a:off x="862497" y="977899"/>
            <a:ext cx="2304000" cy="2304000"/>
            <a:chOff x="862497" y="1130299"/>
            <a:chExt cx="2304000" cy="2304000"/>
          </a:xfrm>
        </p:grpSpPr>
        <p:pic>
          <p:nvPicPr>
            <p:cNvPr id="10" name="Imagem 11"/>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81050" y="1892300"/>
              <a:ext cx="1797747" cy="795099"/>
            </a:xfrm>
            <a:prstGeom prst="rect">
              <a:avLst/>
            </a:prstGeom>
            <a:ln>
              <a:noFill/>
            </a:ln>
          </p:spPr>
        </p:pic>
        <p:sp>
          <p:nvSpPr>
            <p:cNvPr id="37" name="Oval 36"/>
            <p:cNvSpPr/>
            <p:nvPr/>
          </p:nvSpPr>
          <p:spPr>
            <a:xfrm>
              <a:off x="862497" y="1130299"/>
              <a:ext cx="2304000" cy="2304000"/>
            </a:xfrm>
            <a:prstGeom prst="ellipse">
              <a:avLst/>
            </a:pr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1002197" y="1268699"/>
              <a:ext cx="2016000" cy="2016000"/>
            </a:xfrm>
            <a:prstGeom prst="ellipse">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 42"/>
          <p:cNvGrpSpPr/>
          <p:nvPr/>
        </p:nvGrpSpPr>
        <p:grpSpPr>
          <a:xfrm>
            <a:off x="862497" y="3599899"/>
            <a:ext cx="2304000" cy="2304000"/>
            <a:chOff x="862497" y="3599899"/>
            <a:chExt cx="2304000" cy="2304000"/>
          </a:xfrm>
        </p:grpSpPr>
        <p:sp>
          <p:nvSpPr>
            <p:cNvPr id="39" name="矩形 4"/>
            <p:cNvSpPr/>
            <p:nvPr/>
          </p:nvSpPr>
          <p:spPr>
            <a:xfrm>
              <a:off x="1057927" y="4333069"/>
              <a:ext cx="1960270" cy="1040285"/>
            </a:xfrm>
            <a:prstGeom prst="rect">
              <a:avLst/>
            </a:prstGeom>
            <a:ln>
              <a:noFill/>
            </a:ln>
          </p:spPr>
          <p:txBody>
            <a:bodyPr wrap="square">
              <a:spAutoFit/>
            </a:bodyPr>
            <a:lstStyle/>
            <a:p>
              <a:pPr algn="ctr">
                <a:spcBef>
                  <a:spcPct val="20000"/>
                </a:spcBef>
              </a:pPr>
              <a:r>
                <a:rPr lang="en-US" altLang="zh-CN" sz="2800" b="1" dirty="0">
                  <a:solidFill>
                    <a:schemeClr val="accent5">
                      <a:lumMod val="75000"/>
                    </a:schemeClr>
                  </a:solidFill>
                  <a:latin typeface="Calibri" panose="020F0502020204030204" pitchFamily="34" charset="0"/>
                  <a:cs typeface="Calibri" panose="020F0502020204030204" pitchFamily="34" charset="0"/>
                </a:rPr>
                <a:t>FOLLOW </a:t>
              </a:r>
            </a:p>
            <a:p>
              <a:pPr algn="ctr">
                <a:spcBef>
                  <a:spcPct val="20000"/>
                </a:spcBef>
              </a:pPr>
              <a:r>
                <a:rPr lang="en-US" altLang="zh-CN" sz="2800" b="1" dirty="0">
                  <a:solidFill>
                    <a:schemeClr val="accent5">
                      <a:lumMod val="75000"/>
                    </a:schemeClr>
                  </a:solidFill>
                  <a:latin typeface="Calibri" panose="020F0502020204030204" pitchFamily="34" charset="0"/>
                  <a:cs typeface="Calibri" panose="020F0502020204030204" pitchFamily="34" charset="0"/>
                </a:rPr>
                <a:t>US!</a:t>
              </a:r>
            </a:p>
          </p:txBody>
        </p:sp>
        <p:sp>
          <p:nvSpPr>
            <p:cNvPr id="40" name="Oval 39"/>
            <p:cNvSpPr/>
            <p:nvPr/>
          </p:nvSpPr>
          <p:spPr>
            <a:xfrm>
              <a:off x="862497" y="3599899"/>
              <a:ext cx="2304000" cy="2304000"/>
            </a:xfrm>
            <a:prstGeom prst="ellipse">
              <a:avLst/>
            </a:pr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1002197" y="3738299"/>
              <a:ext cx="2016000" cy="2016000"/>
            </a:xfrm>
            <a:prstGeom prst="ellipse">
              <a:avLst/>
            </a:prstGeom>
            <a:no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feld 2"/>
          <p:cNvSpPr txBox="1"/>
          <p:nvPr/>
        </p:nvSpPr>
        <p:spPr>
          <a:xfrm>
            <a:off x="3702581" y="1130299"/>
            <a:ext cx="4908019" cy="2308324"/>
          </a:xfrm>
          <a:prstGeom prst="rect">
            <a:avLst/>
          </a:prstGeom>
          <a:noFill/>
        </p:spPr>
        <p:txBody>
          <a:bodyPr wrap="square" rtlCol="0">
            <a:spAutoFit/>
          </a:bodyPr>
          <a:lstStyle/>
          <a:p>
            <a:pPr marL="342900" indent="-342900">
              <a:buClr>
                <a:schemeClr val="accent1">
                  <a:lumMod val="75000"/>
                </a:schemeClr>
              </a:buClr>
              <a:buFont typeface="Wingdings" pitchFamily="2" charset="2"/>
              <a:buChar char="ü"/>
            </a:pPr>
            <a:r>
              <a:rPr lang="en-GB" b="1" dirty="0">
                <a:solidFill>
                  <a:schemeClr val="accent5">
                    <a:lumMod val="75000"/>
                  </a:schemeClr>
                </a:solidFill>
                <a:latin typeface="Calibri" panose="020F0502020204030204" pitchFamily="34" charset="0"/>
                <a:cs typeface="Calibri" panose="020F0502020204030204" pitchFamily="34" charset="0"/>
              </a:rPr>
              <a:t>Become part of our Community: Application for Service Providers, </a:t>
            </a:r>
            <a:r>
              <a:rPr lang="de-DE" b="1" dirty="0">
                <a:solidFill>
                  <a:schemeClr val="accent5">
                    <a:lumMod val="75000"/>
                  </a:schemeClr>
                </a:solidFill>
                <a:latin typeface="Calibri" panose="020F0502020204030204" pitchFamily="34" charset="0"/>
                <a:cs typeface="Calibri" panose="020F0502020204030204" pitchFamily="34" charset="0"/>
              </a:rPr>
              <a:t>SLH &amp; </a:t>
            </a:r>
            <a:r>
              <a:rPr lang="en-GB" b="1" dirty="0">
                <a:solidFill>
                  <a:schemeClr val="accent5">
                    <a:lumMod val="75000"/>
                  </a:schemeClr>
                </a:solidFill>
                <a:latin typeface="Calibri" panose="020F0502020204030204" pitchFamily="34" charset="0"/>
                <a:cs typeface="Calibri" panose="020F0502020204030204" pitchFamily="34" charset="0"/>
              </a:rPr>
              <a:t>Ambassadors via Website! </a:t>
            </a:r>
          </a:p>
          <a:p>
            <a:pPr marL="342900" indent="-342900">
              <a:buClr>
                <a:schemeClr val="accent1">
                  <a:lumMod val="75000"/>
                </a:schemeClr>
              </a:buClr>
              <a:buFont typeface="Wingdings" pitchFamily="2" charset="2"/>
              <a:buChar char="ü"/>
            </a:pPr>
            <a:endParaRPr lang="en-GB" b="1" dirty="0">
              <a:solidFill>
                <a:schemeClr val="accent5">
                  <a:lumMod val="75000"/>
                </a:schemeClr>
              </a:solidFill>
              <a:latin typeface="Calibri" panose="020F0502020204030204" pitchFamily="34" charset="0"/>
              <a:cs typeface="Calibri" panose="020F0502020204030204" pitchFamily="34" charset="0"/>
            </a:endParaRPr>
          </a:p>
          <a:p>
            <a:pPr marL="342900" indent="-342900">
              <a:buClr>
                <a:schemeClr val="accent1">
                  <a:lumMod val="75000"/>
                </a:schemeClr>
              </a:buClr>
              <a:buFont typeface="Wingdings" pitchFamily="2" charset="2"/>
              <a:buChar char="ü"/>
            </a:pPr>
            <a:r>
              <a:rPr lang="en-GB" b="1" dirty="0">
                <a:solidFill>
                  <a:schemeClr val="accent5">
                    <a:lumMod val="75000"/>
                  </a:schemeClr>
                </a:solidFill>
                <a:latin typeface="Calibri" panose="020F0502020204030204" pitchFamily="34" charset="0"/>
                <a:cs typeface="Calibri" panose="020F0502020204030204" pitchFamily="34" charset="0"/>
              </a:rPr>
              <a:t>Test our Services as ‚free-of-charge‘ in 2018</a:t>
            </a:r>
          </a:p>
          <a:p>
            <a:pPr marL="342900" indent="-342900">
              <a:buClr>
                <a:schemeClr val="accent1">
                  <a:lumMod val="75000"/>
                </a:schemeClr>
              </a:buClr>
              <a:buFont typeface="Wingdings" pitchFamily="2" charset="2"/>
              <a:buChar char="ü"/>
            </a:pPr>
            <a:endParaRPr lang="en-GB" b="1" dirty="0">
              <a:solidFill>
                <a:schemeClr val="accent5">
                  <a:lumMod val="75000"/>
                </a:schemeClr>
              </a:solidFill>
              <a:latin typeface="Calibri" panose="020F0502020204030204" pitchFamily="34" charset="0"/>
              <a:cs typeface="Calibri" panose="020F0502020204030204" pitchFamily="34" charset="0"/>
            </a:endParaRPr>
          </a:p>
          <a:p>
            <a:pPr marL="342900" indent="-342900">
              <a:buClr>
                <a:schemeClr val="accent1">
                  <a:lumMod val="75000"/>
                </a:schemeClr>
              </a:buClr>
              <a:buFont typeface="Wingdings" pitchFamily="2" charset="2"/>
              <a:buChar char="ü"/>
            </a:pPr>
            <a:r>
              <a:rPr lang="en-GB" b="1" dirty="0">
                <a:solidFill>
                  <a:schemeClr val="accent5">
                    <a:lumMod val="75000"/>
                  </a:schemeClr>
                </a:solidFill>
                <a:latin typeface="Calibri" panose="020F0502020204030204" pitchFamily="34" charset="0"/>
                <a:cs typeface="Calibri" panose="020F0502020204030204" pitchFamily="34" charset="0"/>
              </a:rPr>
              <a:t>Stay tuned about our Activities via Social Channels &amp; Newsletter Subscription </a:t>
            </a:r>
          </a:p>
        </p:txBody>
      </p:sp>
      <p:grpSp>
        <p:nvGrpSpPr>
          <p:cNvPr id="12" name="Group 22"/>
          <p:cNvGrpSpPr/>
          <p:nvPr/>
        </p:nvGrpSpPr>
        <p:grpSpPr>
          <a:xfrm>
            <a:off x="-127000" y="39900"/>
            <a:ext cx="10049197" cy="618401"/>
            <a:chOff x="-126814" y="39900"/>
            <a:chExt cx="10032815" cy="618401"/>
          </a:xfrm>
        </p:grpSpPr>
        <p:sp>
          <p:nvSpPr>
            <p:cNvPr id="24" name="Titel 1"/>
            <p:cNvSpPr txBox="1">
              <a:spLocks/>
            </p:cNvSpPr>
            <p:nvPr/>
          </p:nvSpPr>
          <p:spPr bwMode="auto">
            <a:xfrm>
              <a:off x="-126814" y="39900"/>
              <a:ext cx="10032815" cy="461665"/>
            </a:xfrm>
            <a:prstGeom prst="rect">
              <a:avLst/>
            </a:prstGeom>
            <a:noFill/>
            <a:ln>
              <a:noFill/>
            </a:ln>
          </p:spPr>
          <p:txBody>
            <a:bodyPr wrap="square" rtlCol="0">
              <a:spAutoFit/>
            </a:bodyPr>
            <a:lstStyle>
              <a:defPPr>
                <a:defRPr lang="es-ES_tradnl"/>
              </a:defPPr>
              <a:lvl1pPr>
                <a:defRPr sz="2400" b="1">
                  <a:solidFill>
                    <a:schemeClr val="bg1"/>
                  </a:solidFill>
                  <a:latin typeface="Calibri" panose="020F0502020204030204" pitchFamily="34" charset="0"/>
                  <a:cs typeface="Calibri" panose="020F0502020204030204" pitchFamily="34" charset="0"/>
                </a:defRPr>
              </a:lvl1pPr>
            </a:lstStyle>
            <a:p>
              <a:pPr algn="ctr"/>
              <a:r>
                <a:rPr lang="de-DE" dirty="0" err="1">
                  <a:solidFill>
                    <a:schemeClr val="accent5"/>
                  </a:solidFill>
                </a:rPr>
                <a:t>How</a:t>
              </a:r>
              <a:r>
                <a:rPr lang="de-DE" dirty="0">
                  <a:solidFill>
                    <a:schemeClr val="accent5"/>
                  </a:solidFill>
                </a:rPr>
                <a:t> </a:t>
              </a:r>
              <a:r>
                <a:rPr lang="de-DE" dirty="0" err="1">
                  <a:solidFill>
                    <a:schemeClr val="accent5"/>
                  </a:solidFill>
                </a:rPr>
                <a:t>to</a:t>
              </a:r>
              <a:r>
                <a:rPr lang="de-DE" dirty="0">
                  <a:solidFill>
                    <a:schemeClr val="accent5"/>
                  </a:solidFill>
                </a:rPr>
                <a:t> </a:t>
              </a:r>
              <a:r>
                <a:rPr lang="de-DE" dirty="0" err="1">
                  <a:solidFill>
                    <a:schemeClr val="accent5"/>
                  </a:solidFill>
                </a:rPr>
                <a:t>involve</a:t>
              </a:r>
              <a:r>
                <a:rPr lang="de-DE" dirty="0">
                  <a:solidFill>
                    <a:schemeClr val="accent5"/>
                  </a:solidFill>
                </a:rPr>
                <a:t>?</a:t>
              </a:r>
            </a:p>
          </p:txBody>
        </p:sp>
        <p:cxnSp>
          <p:nvCxnSpPr>
            <p:cNvPr id="25" name="Straight Connector 21"/>
            <p:cNvCxnSpPr/>
            <p:nvPr/>
          </p:nvCxnSpPr>
          <p:spPr>
            <a:xfrm>
              <a:off x="-13803" y="658301"/>
              <a:ext cx="9900000"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1"/>
            <p:cNvCxnSpPr/>
            <p:nvPr/>
          </p:nvCxnSpPr>
          <p:spPr>
            <a:xfrm>
              <a:off x="-12503" y="565065"/>
              <a:ext cx="9900000" cy="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grpSp>
      <p:pic>
        <p:nvPicPr>
          <p:cNvPr id="22" name="Picture 4" descr="Resultado de imagem para facebook logo"/>
          <p:cNvPicPr>
            <a:picLocks noChangeAspect="1" noChangeArrowheads="1"/>
          </p:cNvPicPr>
          <p:nvPr/>
        </p:nvPicPr>
        <p:blipFill>
          <a:blip r:embed="rId14" cstate="print">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876584" y="4984603"/>
            <a:ext cx="368715" cy="396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Regional Centre for Information and Scientific Development Ltd."/>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48603" y="6214860"/>
            <a:ext cx="2081287" cy="53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47733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Regional Centre for Information and Scientific Development Lt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8603" y="6214860"/>
            <a:ext cx="2081287" cy="53419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7314" y="0"/>
            <a:ext cx="7392742" cy="5969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descr="Képtalálat a következőre: „eu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9512" y="65569"/>
            <a:ext cx="1055586" cy="7054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926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Regional Centre for Information and Scientific Development Lt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8603" y="6214860"/>
            <a:ext cx="2081287" cy="534198"/>
          </a:xfrm>
          <a:prstGeom prst="rect">
            <a:avLst/>
          </a:prstGeom>
          <a:noFill/>
          <a:extLst>
            <a:ext uri="{909E8E84-426E-40DD-AFC4-6F175D3DCCD1}">
              <a14:hiddenFill xmlns:a14="http://schemas.microsoft.com/office/drawing/2010/main">
                <a:solidFill>
                  <a:srgbClr val="FFFFFF"/>
                </a:solidFill>
              </a14:hiddenFill>
            </a:ext>
          </a:extLst>
        </p:spPr>
      </p:pic>
      <p:sp>
        <p:nvSpPr>
          <p:cNvPr id="4" name="Téglalap 3"/>
          <p:cNvSpPr/>
          <p:nvPr/>
        </p:nvSpPr>
        <p:spPr>
          <a:xfrm>
            <a:off x="460645" y="4859384"/>
            <a:ext cx="4346986" cy="769441"/>
          </a:xfrm>
          <a:prstGeom prst="rect">
            <a:avLst/>
          </a:prstGeom>
        </p:spPr>
        <p:txBody>
          <a:bodyPr wrap="square">
            <a:spAutoFit/>
          </a:bodyPr>
          <a:lstStyle/>
          <a:p>
            <a:r>
              <a:rPr lang="hu-HU" sz="1100" b="1" dirty="0">
                <a:latin typeface="Arial" pitchFamily="34" charset="0"/>
                <a:cs typeface="Arial" pitchFamily="34" charset="0"/>
              </a:rPr>
              <a:t>Zita Buday </a:t>
            </a:r>
            <a:r>
              <a:rPr lang="hu-HU" sz="1100" b="1" dirty="0" err="1">
                <a:latin typeface="Arial" pitchFamily="34" charset="0"/>
                <a:cs typeface="Arial" pitchFamily="34" charset="0"/>
              </a:rPr>
              <a:t>Senior</a:t>
            </a:r>
            <a:r>
              <a:rPr lang="hu-HU" sz="1100" b="1" dirty="0">
                <a:latin typeface="Arial" pitchFamily="34" charset="0"/>
                <a:cs typeface="Arial" pitchFamily="34" charset="0"/>
              </a:rPr>
              <a:t> International </a:t>
            </a:r>
            <a:r>
              <a:rPr lang="hu-HU" sz="1100" b="1" dirty="0" err="1">
                <a:latin typeface="Arial" pitchFamily="34" charset="0"/>
                <a:cs typeface="Arial" pitchFamily="34" charset="0"/>
              </a:rPr>
              <a:t>Expert</a:t>
            </a:r>
            <a:br>
              <a:rPr lang="hu-HU" sz="1100" b="1" dirty="0">
                <a:latin typeface="Arial" pitchFamily="34" charset="0"/>
                <a:cs typeface="Arial" pitchFamily="34" charset="0"/>
              </a:rPr>
            </a:br>
            <a:r>
              <a:rPr lang="hu-HU" sz="1100" b="1" dirty="0" err="1">
                <a:latin typeface="Arial" pitchFamily="34" charset="0"/>
                <a:cs typeface="Arial" pitchFamily="34" charset="0"/>
              </a:rPr>
              <a:t>Regional</a:t>
            </a:r>
            <a:r>
              <a:rPr lang="hu-HU" sz="1100" b="1" dirty="0">
                <a:latin typeface="Arial" pitchFamily="34" charset="0"/>
                <a:cs typeface="Arial" pitchFamily="34" charset="0"/>
              </a:rPr>
              <a:t> Centre </a:t>
            </a:r>
            <a:r>
              <a:rPr lang="hu-HU" sz="1100" b="1" dirty="0" err="1">
                <a:latin typeface="Arial" pitchFamily="34" charset="0"/>
                <a:cs typeface="Arial" pitchFamily="34" charset="0"/>
              </a:rPr>
              <a:t>for</a:t>
            </a:r>
            <a:r>
              <a:rPr lang="hu-HU" sz="1100" b="1" dirty="0">
                <a:latin typeface="Arial" pitchFamily="34" charset="0"/>
                <a:cs typeface="Arial" pitchFamily="34" charset="0"/>
              </a:rPr>
              <a:t> </a:t>
            </a:r>
            <a:r>
              <a:rPr lang="hu-HU" sz="1100" b="1" dirty="0" err="1">
                <a:latin typeface="Arial" pitchFamily="34" charset="0"/>
                <a:cs typeface="Arial" pitchFamily="34" charset="0"/>
              </a:rPr>
              <a:t>Information</a:t>
            </a:r>
            <a:r>
              <a:rPr lang="hu-HU" sz="1100" b="1" dirty="0">
                <a:latin typeface="Arial" pitchFamily="34" charset="0"/>
                <a:cs typeface="Arial" pitchFamily="34" charset="0"/>
              </a:rPr>
              <a:t> and </a:t>
            </a:r>
            <a:r>
              <a:rPr lang="hu-HU" sz="1100" b="1" dirty="0" err="1">
                <a:latin typeface="Arial" pitchFamily="34" charset="0"/>
                <a:cs typeface="Arial" pitchFamily="34" charset="0"/>
              </a:rPr>
              <a:t>Scientific</a:t>
            </a:r>
            <a:r>
              <a:rPr lang="hu-HU" sz="1100" b="1" dirty="0">
                <a:latin typeface="Arial" pitchFamily="34" charset="0"/>
                <a:cs typeface="Arial" pitchFamily="34" charset="0"/>
              </a:rPr>
              <a:t> </a:t>
            </a:r>
            <a:r>
              <a:rPr lang="hu-HU" sz="1100" b="1" dirty="0" err="1">
                <a:latin typeface="Arial" pitchFamily="34" charset="0"/>
                <a:cs typeface="Arial" pitchFamily="34" charset="0"/>
              </a:rPr>
              <a:t>Development</a:t>
            </a:r>
            <a:r>
              <a:rPr lang="hu-HU" sz="1100" b="1" dirty="0">
                <a:latin typeface="Arial" pitchFamily="34" charset="0"/>
                <a:cs typeface="Arial" pitchFamily="34" charset="0"/>
              </a:rPr>
              <a:t> </a:t>
            </a:r>
            <a:br>
              <a:rPr lang="hu-HU" sz="1100" dirty="0">
                <a:latin typeface="Arial" pitchFamily="34" charset="0"/>
                <a:cs typeface="Arial" pitchFamily="34" charset="0"/>
              </a:rPr>
            </a:br>
            <a:r>
              <a:rPr lang="hu-HU" sz="1100" dirty="0" err="1">
                <a:latin typeface="Arial" pitchFamily="34" charset="0"/>
                <a:cs typeface="Arial" pitchFamily="34" charset="0"/>
                <a:hlinkClick r:id="rId4"/>
              </a:rPr>
              <a:t>zita.buday</a:t>
            </a:r>
            <a:r>
              <a:rPr lang="hu-HU" sz="1100" dirty="0">
                <a:latin typeface="Arial" pitchFamily="34" charset="0"/>
                <a:cs typeface="Arial" pitchFamily="34" charset="0"/>
                <a:hlinkClick r:id="rId4"/>
              </a:rPr>
              <a:t>@</a:t>
            </a:r>
            <a:r>
              <a:rPr lang="hu-HU" sz="1100" dirty="0" err="1">
                <a:latin typeface="Arial" pitchFamily="34" charset="0"/>
                <a:cs typeface="Arial" pitchFamily="34" charset="0"/>
                <a:hlinkClick r:id="rId4"/>
              </a:rPr>
              <a:t>rcisd.eu</a:t>
            </a:r>
            <a:br>
              <a:rPr lang="hu-HU" sz="1100" dirty="0">
                <a:latin typeface="Arial" pitchFamily="34" charset="0"/>
                <a:cs typeface="Arial" pitchFamily="34" charset="0"/>
              </a:rPr>
            </a:br>
            <a:r>
              <a:rPr lang="hu-HU" sz="1100" dirty="0" err="1">
                <a:latin typeface="Arial" pitchFamily="34" charset="0"/>
                <a:cs typeface="Arial" pitchFamily="34" charset="0"/>
                <a:hlinkClick r:id="rId5"/>
              </a:rPr>
              <a:t>www.rcisd.eu</a:t>
            </a:r>
            <a:endParaRPr lang="hu-HU" sz="1100" dirty="0">
              <a:latin typeface="Arial" pitchFamily="34" charset="0"/>
              <a:cs typeface="Arial" pitchFamily="34" charset="0"/>
            </a:endParaRPr>
          </a:p>
        </p:txBody>
      </p:sp>
      <p:pic>
        <p:nvPicPr>
          <p:cNvPr id="5" name="Picture 2" descr="Képtalálat a következőre: „eu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9512" y="65569"/>
            <a:ext cx="1055586" cy="705483"/>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1"/>
          <p:cNvGrpSpPr/>
          <p:nvPr/>
        </p:nvGrpSpPr>
        <p:grpSpPr>
          <a:xfrm>
            <a:off x="2915729" y="771052"/>
            <a:ext cx="4175184" cy="4088332"/>
            <a:chOff x="862497" y="1130299"/>
            <a:chExt cx="2304000" cy="2304000"/>
          </a:xfrm>
        </p:grpSpPr>
        <p:sp>
          <p:nvSpPr>
            <p:cNvPr id="8" name="Oval 36"/>
            <p:cNvSpPr/>
            <p:nvPr/>
          </p:nvSpPr>
          <p:spPr>
            <a:xfrm>
              <a:off x="862497" y="1130299"/>
              <a:ext cx="2304000" cy="2304000"/>
            </a:xfrm>
            <a:prstGeom prst="ellipse">
              <a:avLst/>
            </a:pr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37"/>
            <p:cNvSpPr/>
            <p:nvPr/>
          </p:nvSpPr>
          <p:spPr>
            <a:xfrm>
              <a:off x="1002197" y="1268699"/>
              <a:ext cx="2016000" cy="2016000"/>
            </a:xfrm>
            <a:prstGeom prst="ellipse">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églalap 9"/>
          <p:cNvSpPr/>
          <p:nvPr/>
        </p:nvSpPr>
        <p:spPr>
          <a:xfrm>
            <a:off x="3151321" y="2760453"/>
            <a:ext cx="3603358" cy="369332"/>
          </a:xfrm>
          <a:prstGeom prst="rect">
            <a:avLst/>
          </a:prstGeom>
        </p:spPr>
        <p:txBody>
          <a:bodyPr wrap="square">
            <a:spAutoFit/>
          </a:bodyPr>
          <a:lstStyle/>
          <a:p>
            <a:pPr algn="ctr">
              <a:buClr>
                <a:srgbClr val="1F4E79"/>
              </a:buClr>
            </a:pPr>
            <a:r>
              <a:rPr lang="en-US" b="1" dirty="0">
                <a:latin typeface="Calibri" panose="020F0502020204030204" pitchFamily="34" charset="0"/>
                <a:cs typeface="Calibri" panose="020F0502020204030204" pitchFamily="34" charset="0"/>
              </a:rPr>
              <a:t>THANK YOU FOR YOUR ATTENTION</a:t>
            </a:r>
            <a:r>
              <a:rPr lang="hu-HU" b="1" dirty="0">
                <a:latin typeface="Calibri" panose="020F0502020204030204" pitchFamily="34" charset="0"/>
                <a:cs typeface="Calibri" panose="020F0502020204030204" pitchFamily="34" charset="0"/>
              </a:rPr>
              <a:t>!</a:t>
            </a:r>
            <a:endParaRPr lang="en-US"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50926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2520" y="2789320"/>
            <a:ext cx="3275856" cy="1719800"/>
          </a:xfrm>
          <a:prstGeom prst="rect">
            <a:avLst/>
          </a:prstGeom>
          <a:noFill/>
          <a:ln>
            <a:noFill/>
          </a:ln>
        </p:spPr>
      </p:pic>
      <p:sp>
        <p:nvSpPr>
          <p:cNvPr id="13" name="Textfeld 12"/>
          <p:cNvSpPr txBox="1"/>
          <p:nvPr/>
        </p:nvSpPr>
        <p:spPr>
          <a:xfrm>
            <a:off x="2792761" y="3501008"/>
            <a:ext cx="817073" cy="215444"/>
          </a:xfrm>
          <a:prstGeom prst="rect">
            <a:avLst/>
          </a:prstGeom>
          <a:noFill/>
        </p:spPr>
        <p:txBody>
          <a:bodyPr wrap="square" rtlCol="0">
            <a:spAutoFit/>
          </a:bodyPr>
          <a:lstStyle/>
          <a:p>
            <a:r>
              <a:rPr lang="en-GB" sz="800" dirty="0">
                <a:solidFill>
                  <a:srgbClr val="FFFFFF">
                    <a:lumMod val="75000"/>
                  </a:srgbClr>
                </a:solidFill>
                <a:latin typeface="Calibri" panose="020F0502020204030204" pitchFamily="34" charset="0"/>
                <a:cs typeface="Calibri" panose="020F0502020204030204" pitchFamily="34" charset="0"/>
              </a:rPr>
              <a:t>©Fotolia</a:t>
            </a:r>
          </a:p>
        </p:txBody>
      </p:sp>
      <p:sp>
        <p:nvSpPr>
          <p:cNvPr id="14" name="Titel 1"/>
          <p:cNvSpPr txBox="1">
            <a:spLocks/>
          </p:cNvSpPr>
          <p:nvPr/>
        </p:nvSpPr>
        <p:spPr bwMode="auto">
          <a:xfrm>
            <a:off x="0" y="6415"/>
            <a:ext cx="9906000" cy="461665"/>
          </a:xfrm>
          <a:prstGeom prst="rect">
            <a:avLst/>
          </a:prstGeom>
          <a:solidFill>
            <a:schemeClr val="bg2">
              <a:lumMod val="50000"/>
            </a:schemeClr>
          </a:solidFill>
        </p:spPr>
        <p:txBody>
          <a:bodyPr wrap="square" rtlCol="0">
            <a:spAutoFit/>
          </a:bodyPr>
          <a:lstStyle>
            <a:defPPr>
              <a:defRPr lang="es-ES_tradnl"/>
            </a:defPPr>
            <a:lvl1pPr>
              <a:defRPr sz="2400" b="1">
                <a:solidFill>
                  <a:schemeClr val="bg1"/>
                </a:solidFill>
                <a:latin typeface="Calibri" panose="020F0502020204030204" pitchFamily="34" charset="0"/>
                <a:cs typeface="Calibri" panose="020F0502020204030204" pitchFamily="34" charset="0"/>
              </a:defRPr>
            </a:lvl1pPr>
          </a:lstStyle>
          <a:p>
            <a:r>
              <a:rPr lang="en-GB" dirty="0"/>
              <a:t>CEBRABIC Project establishes ‘ENRICH in Brazil’</a:t>
            </a:r>
          </a:p>
        </p:txBody>
      </p:sp>
      <p:sp>
        <p:nvSpPr>
          <p:cNvPr id="9" name="Content Placeholder 2"/>
          <p:cNvSpPr txBox="1">
            <a:spLocks/>
          </p:cNvSpPr>
          <p:nvPr/>
        </p:nvSpPr>
        <p:spPr>
          <a:xfrm>
            <a:off x="4389368" y="729461"/>
            <a:ext cx="5092180" cy="4467041"/>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lnSpc>
                <a:spcPct val="110000"/>
              </a:lnSpc>
              <a:spcAft>
                <a:spcPts val="600"/>
              </a:spcAft>
              <a:buSzPct val="100000"/>
              <a:buFont typeface="Arial" panose="020B0604020202020204" pitchFamily="34" charset="0"/>
              <a:buChar char="•"/>
            </a:pPr>
            <a:r>
              <a:rPr lang="en-US" sz="1800" b="1" dirty="0">
                <a:solidFill>
                  <a:schemeClr val="bg2">
                    <a:lumMod val="50000"/>
                  </a:schemeClr>
                </a:solidFill>
                <a:latin typeface="Calibri" panose="020F0502020204030204" pitchFamily="34" charset="0"/>
                <a:cs typeface="Calibri" panose="020F0502020204030204" pitchFamily="34" charset="0"/>
              </a:rPr>
              <a:t>Horizon 2020: ENG-GLOBALLY-9-2016, </a:t>
            </a:r>
            <a:r>
              <a:rPr lang="en-US" sz="1800" b="1" dirty="0" err="1">
                <a:solidFill>
                  <a:schemeClr val="bg2">
                    <a:lumMod val="50000"/>
                  </a:schemeClr>
                </a:solidFill>
                <a:latin typeface="Calibri" panose="020F0502020204030204" pitchFamily="34" charset="0"/>
                <a:cs typeface="Calibri" panose="020F0502020204030204" pitchFamily="34" charset="0"/>
              </a:rPr>
              <a:t>Centres</a:t>
            </a:r>
            <a:r>
              <a:rPr lang="en-US" sz="1800" b="1" dirty="0">
                <a:solidFill>
                  <a:schemeClr val="bg2">
                    <a:lumMod val="50000"/>
                  </a:schemeClr>
                </a:solidFill>
                <a:latin typeface="Calibri" panose="020F0502020204030204" pitchFamily="34" charset="0"/>
                <a:cs typeface="Calibri" panose="020F0502020204030204" pitchFamily="34" charset="0"/>
              </a:rPr>
              <a:t>/Networks of European research and innovation</a:t>
            </a:r>
            <a:r>
              <a:rPr lang="en-US" sz="1800" b="1" dirty="0">
                <a:solidFill>
                  <a:schemeClr val="tx1">
                    <a:lumMod val="50000"/>
                    <a:lumOff val="50000"/>
                  </a:schemeClr>
                </a:solidFill>
                <a:latin typeface="Calibri" panose="020F0502020204030204" pitchFamily="34" charset="0"/>
                <a:cs typeface="Calibri" panose="020F0502020204030204" pitchFamily="34" charset="0"/>
              </a:rPr>
              <a:t>:</a:t>
            </a:r>
            <a:r>
              <a:rPr lang="en-US" sz="1800" b="1" dirty="0">
                <a:solidFill>
                  <a:srgbClr val="1F4099"/>
                </a:solidFill>
                <a:latin typeface="Calibri" panose="020F0502020204030204" pitchFamily="34" charset="0"/>
                <a:cs typeface="Calibri" panose="020F0502020204030204" pitchFamily="34" charset="0"/>
              </a:rPr>
              <a:t> </a:t>
            </a:r>
            <a:r>
              <a:rPr lang="en-US" sz="1800" dirty="0">
                <a:solidFill>
                  <a:schemeClr val="tx1">
                    <a:lumMod val="50000"/>
                    <a:lumOff val="50000"/>
                  </a:schemeClr>
                </a:solidFill>
                <a:latin typeface="Calibri" panose="020F0502020204030204" pitchFamily="34" charset="0"/>
                <a:cs typeface="Calibri" panose="020F0502020204030204" pitchFamily="34" charset="0"/>
              </a:rPr>
              <a:t>Establish strategic Partnerships in Science, Technology and Innovation (STI) with selected key countries: China, USA, Brazil (Pilots) </a:t>
            </a:r>
          </a:p>
          <a:p>
            <a:pPr lvl="1">
              <a:lnSpc>
                <a:spcPct val="110000"/>
              </a:lnSpc>
              <a:spcAft>
                <a:spcPts val="600"/>
              </a:spcAft>
              <a:buSzPct val="100000"/>
              <a:buFont typeface="Arial" panose="020B0604020202020204" pitchFamily="34" charset="0"/>
              <a:buChar char="•"/>
            </a:pPr>
            <a:r>
              <a:rPr lang="en-US" sz="1800" b="1" dirty="0">
                <a:solidFill>
                  <a:schemeClr val="bg2">
                    <a:lumMod val="50000"/>
                  </a:schemeClr>
                </a:solidFill>
                <a:latin typeface="Calibri" panose="020F0502020204030204" pitchFamily="34" charset="0"/>
                <a:cs typeface="Calibri" panose="020F0502020204030204" pitchFamily="34" charset="0"/>
              </a:rPr>
              <a:t>CEBRABIC (Brazil): </a:t>
            </a:r>
            <a:r>
              <a:rPr lang="en-US" sz="1700" dirty="0">
                <a:solidFill>
                  <a:schemeClr val="tx1">
                    <a:lumMod val="50000"/>
                    <a:lumOff val="50000"/>
                  </a:schemeClr>
                </a:solidFill>
                <a:latin typeface="Calibri" panose="020F0502020204030204" pitchFamily="34" charset="0"/>
                <a:cs typeface="Calibri" panose="020F0502020204030204" pitchFamily="34" charset="0"/>
              </a:rPr>
              <a:t>01/2017 – 12/2020</a:t>
            </a:r>
            <a:br>
              <a:rPr lang="hu-HU" sz="1700" dirty="0">
                <a:solidFill>
                  <a:schemeClr val="tx1">
                    <a:lumMod val="50000"/>
                    <a:lumOff val="50000"/>
                  </a:schemeClr>
                </a:solidFill>
                <a:latin typeface="Calibri" panose="020F0502020204030204" pitchFamily="34" charset="0"/>
                <a:cs typeface="Calibri" panose="020F0502020204030204" pitchFamily="34" charset="0"/>
              </a:rPr>
            </a:br>
            <a:r>
              <a:rPr lang="en-US" sz="1700" dirty="0">
                <a:solidFill>
                  <a:schemeClr val="tx1">
                    <a:lumMod val="50000"/>
                    <a:lumOff val="50000"/>
                  </a:schemeClr>
                </a:solidFill>
                <a:latin typeface="Calibri" panose="020F0502020204030204" pitchFamily="34" charset="0"/>
                <a:cs typeface="Calibri" panose="020F0502020204030204" pitchFamily="34" charset="0"/>
              </a:rPr>
              <a:t>Centre for Europe-Brazil Business and Innovation </a:t>
            </a:r>
            <a:r>
              <a:rPr lang="en-US" sz="1700" dirty="0" err="1">
                <a:solidFill>
                  <a:schemeClr val="tx1">
                    <a:lumMod val="50000"/>
                    <a:lumOff val="50000"/>
                  </a:schemeClr>
                </a:solidFill>
                <a:latin typeface="Calibri" panose="020F0502020204030204" pitchFamily="34" charset="0"/>
                <a:cs typeface="Calibri" panose="020F0502020204030204" pitchFamily="34" charset="0"/>
              </a:rPr>
              <a:t>Cooperatio</a:t>
            </a:r>
            <a:r>
              <a:rPr lang="hu-HU" sz="1700" dirty="0">
                <a:solidFill>
                  <a:schemeClr val="tx1">
                    <a:lumMod val="50000"/>
                    <a:lumOff val="50000"/>
                  </a:schemeClr>
                </a:solidFill>
                <a:latin typeface="Calibri" panose="020F0502020204030204" pitchFamily="34" charset="0"/>
                <a:cs typeface="Calibri" panose="020F0502020204030204" pitchFamily="34" charset="0"/>
              </a:rPr>
              <a:t>n</a:t>
            </a:r>
            <a:endParaRPr lang="en-US" sz="1700" dirty="0">
              <a:solidFill>
                <a:schemeClr val="tx1">
                  <a:lumMod val="50000"/>
                  <a:lumOff val="50000"/>
                </a:schemeClr>
              </a:solidFill>
              <a:latin typeface="Calibri" panose="020F0502020204030204" pitchFamily="34" charset="0"/>
              <a:cs typeface="Calibri" panose="020F0502020204030204" pitchFamily="34" charset="0"/>
            </a:endParaRPr>
          </a:p>
          <a:p>
            <a:pPr lvl="1">
              <a:lnSpc>
                <a:spcPct val="110000"/>
              </a:lnSpc>
              <a:buSzPct val="100000"/>
              <a:buFont typeface="Arial" panose="020B0604020202020204" pitchFamily="34" charset="0"/>
              <a:buChar char="•"/>
            </a:pPr>
            <a:r>
              <a:rPr lang="en-US" sz="1800" b="1" dirty="0">
                <a:solidFill>
                  <a:schemeClr val="bg2">
                    <a:lumMod val="50000"/>
                  </a:schemeClr>
                </a:solidFill>
                <a:latin typeface="Calibri" panose="020F0502020204030204" pitchFamily="34" charset="0"/>
                <a:cs typeface="Calibri" panose="020F0502020204030204" pitchFamily="34" charset="0"/>
              </a:rPr>
              <a:t>Main Objectives of CEBRABIC: </a:t>
            </a:r>
          </a:p>
          <a:p>
            <a:pPr lvl="2">
              <a:lnSpc>
                <a:spcPct val="110000"/>
              </a:lnSpc>
              <a:spcAft>
                <a:spcPts val="600"/>
              </a:spcAft>
              <a:buSzPct val="100000"/>
              <a:buFont typeface="Arial" panose="020B0604020202020204" pitchFamily="34" charset="0"/>
              <a:buChar char="•"/>
            </a:pPr>
            <a:r>
              <a:rPr lang="en-US" sz="1800" dirty="0">
                <a:solidFill>
                  <a:schemeClr val="tx1">
                    <a:lumMod val="50000"/>
                    <a:lumOff val="50000"/>
                  </a:schemeClr>
                </a:solidFill>
                <a:latin typeface="Calibri" panose="020F0502020204030204" pitchFamily="34" charset="0"/>
                <a:cs typeface="Calibri" panose="020F0502020204030204" pitchFamily="34" charset="0"/>
              </a:rPr>
              <a:t>Encouraging cooperation among European and Brazilian Research, Innovation and Business (R&amp;I&amp;B) organizations</a:t>
            </a:r>
          </a:p>
          <a:p>
            <a:pPr lvl="2">
              <a:lnSpc>
                <a:spcPct val="110000"/>
              </a:lnSpc>
              <a:spcAft>
                <a:spcPts val="600"/>
              </a:spcAft>
              <a:buSzPct val="100000"/>
              <a:buFont typeface="Arial" panose="020B0604020202020204" pitchFamily="34" charset="0"/>
              <a:buChar char="•"/>
            </a:pPr>
            <a:r>
              <a:rPr lang="en-US" sz="1800" dirty="0">
                <a:solidFill>
                  <a:schemeClr val="tx1">
                    <a:lumMod val="50000"/>
                    <a:lumOff val="50000"/>
                  </a:schemeClr>
                </a:solidFill>
                <a:latin typeface="Calibri" panose="020F0502020204030204" pitchFamily="34" charset="0"/>
                <a:cs typeface="Calibri" panose="020F0502020204030204" pitchFamily="34" charset="0"/>
              </a:rPr>
              <a:t>Establish and deploy a self sustainable Centre for Europe-Brazil Business &amp; Innovation Cooperation within 48 month </a:t>
            </a:r>
          </a:p>
        </p:txBody>
      </p:sp>
      <p:pic>
        <p:nvPicPr>
          <p:cNvPr id="2050" name="Picture 2" descr="http://survey.inno-projects.net/upload/templates/nearUS2017/files/logos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2422" y="1447676"/>
            <a:ext cx="4215270" cy="6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Regional Centre for Information and Scientific Development Lt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8603" y="6214860"/>
            <a:ext cx="2081287" cy="53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635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31"/>
          <p:cNvGrpSpPr/>
          <p:nvPr/>
        </p:nvGrpSpPr>
        <p:grpSpPr>
          <a:xfrm>
            <a:off x="3806228" y="1146878"/>
            <a:ext cx="5458150" cy="4625994"/>
            <a:chOff x="3877782" y="1116988"/>
            <a:chExt cx="5589225" cy="4712832"/>
          </a:xfrm>
        </p:grpSpPr>
        <p:grpSp>
          <p:nvGrpSpPr>
            <p:cNvPr id="4" name="Group 2"/>
            <p:cNvGrpSpPr>
              <a:grpSpLocks noChangeAspect="1"/>
            </p:cNvGrpSpPr>
            <p:nvPr/>
          </p:nvGrpSpPr>
          <p:grpSpPr>
            <a:xfrm>
              <a:off x="4427137" y="1116988"/>
              <a:ext cx="4908795" cy="4246862"/>
              <a:chOff x="2093913" y="1900238"/>
              <a:chExt cx="4756150" cy="4114800"/>
            </a:xfrm>
            <a:solidFill>
              <a:schemeClr val="bg1">
                <a:lumMod val="85000"/>
              </a:schemeClr>
            </a:solidFill>
          </p:grpSpPr>
          <p:sp>
            <p:nvSpPr>
              <p:cNvPr id="85" name="Freeform 82"/>
              <p:cNvSpPr>
                <a:spLocks/>
              </p:cNvSpPr>
              <p:nvPr>
                <p:custDataLst>
                  <p:tags r:id="rId29"/>
                </p:custDataLst>
              </p:nvPr>
            </p:nvSpPr>
            <p:spPr bwMode="auto">
              <a:xfrm>
                <a:off x="5757863" y="1927226"/>
                <a:ext cx="104775" cy="57150"/>
              </a:xfrm>
              <a:custGeom>
                <a:avLst/>
                <a:gdLst>
                  <a:gd name="T0" fmla="*/ 96 w 37"/>
                  <a:gd name="T1" fmla="*/ 33 h 21"/>
                  <a:gd name="T2" fmla="*/ 96 w 37"/>
                  <a:gd name="T3" fmla="*/ 51 h 21"/>
                  <a:gd name="T4" fmla="*/ 43 w 37"/>
                  <a:gd name="T5" fmla="*/ 46 h 21"/>
                  <a:gd name="T6" fmla="*/ 5 w 37"/>
                  <a:gd name="T7" fmla="*/ 21 h 21"/>
                  <a:gd name="T8" fmla="*/ 20 w 37"/>
                  <a:gd name="T9" fmla="*/ 0 h 21"/>
                  <a:gd name="T10" fmla="*/ 80 w 37"/>
                  <a:gd name="T11" fmla="*/ 21 h 21"/>
                  <a:gd name="T12" fmla="*/ 96 w 37"/>
                  <a:gd name="T13" fmla="*/ 33 h 2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1">
                    <a:moveTo>
                      <a:pt x="36" y="13"/>
                    </a:moveTo>
                    <a:cubicBezTo>
                      <a:pt x="36" y="14"/>
                      <a:pt x="37" y="18"/>
                      <a:pt x="36" y="20"/>
                    </a:cubicBezTo>
                    <a:cubicBezTo>
                      <a:pt x="36" y="21"/>
                      <a:pt x="21" y="20"/>
                      <a:pt x="16" y="18"/>
                    </a:cubicBezTo>
                    <a:cubicBezTo>
                      <a:pt x="11" y="17"/>
                      <a:pt x="1" y="12"/>
                      <a:pt x="2" y="8"/>
                    </a:cubicBezTo>
                    <a:cubicBezTo>
                      <a:pt x="3" y="4"/>
                      <a:pt x="0" y="0"/>
                      <a:pt x="7" y="0"/>
                    </a:cubicBezTo>
                    <a:cubicBezTo>
                      <a:pt x="15" y="1"/>
                      <a:pt x="28" y="6"/>
                      <a:pt x="30" y="8"/>
                    </a:cubicBezTo>
                    <a:cubicBezTo>
                      <a:pt x="32" y="9"/>
                      <a:pt x="32" y="12"/>
                      <a:pt x="36" y="13"/>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6" name="Freeform 83"/>
              <p:cNvSpPr>
                <a:spLocks/>
              </p:cNvSpPr>
              <p:nvPr>
                <p:custDataLst>
                  <p:tags r:id="rId30"/>
                </p:custDataLst>
              </p:nvPr>
            </p:nvSpPr>
            <p:spPr bwMode="auto">
              <a:xfrm>
                <a:off x="5521326" y="5822951"/>
                <a:ext cx="201613" cy="146050"/>
              </a:xfrm>
              <a:custGeom>
                <a:avLst/>
                <a:gdLst>
                  <a:gd name="T0" fmla="*/ 184 w 71"/>
                  <a:gd name="T1" fmla="*/ 4 h 51"/>
                  <a:gd name="T2" fmla="*/ 182 w 71"/>
                  <a:gd name="T3" fmla="*/ 27 h 51"/>
                  <a:gd name="T4" fmla="*/ 147 w 71"/>
                  <a:gd name="T5" fmla="*/ 63 h 51"/>
                  <a:gd name="T6" fmla="*/ 157 w 71"/>
                  <a:gd name="T7" fmla="*/ 85 h 51"/>
                  <a:gd name="T8" fmla="*/ 131 w 71"/>
                  <a:gd name="T9" fmla="*/ 99 h 51"/>
                  <a:gd name="T10" fmla="*/ 77 w 71"/>
                  <a:gd name="T11" fmla="*/ 141 h 51"/>
                  <a:gd name="T12" fmla="*/ 16 w 71"/>
                  <a:gd name="T13" fmla="*/ 130 h 51"/>
                  <a:gd name="T14" fmla="*/ 5 w 71"/>
                  <a:gd name="T15" fmla="*/ 103 h 51"/>
                  <a:gd name="T16" fmla="*/ 27 w 71"/>
                  <a:gd name="T17" fmla="*/ 99 h 51"/>
                  <a:gd name="T18" fmla="*/ 54 w 71"/>
                  <a:gd name="T19" fmla="*/ 85 h 51"/>
                  <a:gd name="T20" fmla="*/ 54 w 71"/>
                  <a:gd name="T21" fmla="*/ 56 h 51"/>
                  <a:gd name="T22" fmla="*/ 82 w 71"/>
                  <a:gd name="T23" fmla="*/ 61 h 51"/>
                  <a:gd name="T24" fmla="*/ 114 w 71"/>
                  <a:gd name="T25" fmla="*/ 52 h 51"/>
                  <a:gd name="T26" fmla="*/ 184 w 71"/>
                  <a:gd name="T27" fmla="*/ 4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1" h="51">
                    <a:moveTo>
                      <a:pt x="68" y="1"/>
                    </a:moveTo>
                    <a:cubicBezTo>
                      <a:pt x="70" y="3"/>
                      <a:pt x="71" y="6"/>
                      <a:pt x="67" y="10"/>
                    </a:cubicBezTo>
                    <a:cubicBezTo>
                      <a:pt x="63" y="13"/>
                      <a:pt x="52" y="20"/>
                      <a:pt x="54" y="23"/>
                    </a:cubicBezTo>
                    <a:cubicBezTo>
                      <a:pt x="54" y="25"/>
                      <a:pt x="59" y="29"/>
                      <a:pt x="58" y="31"/>
                    </a:cubicBezTo>
                    <a:cubicBezTo>
                      <a:pt x="57" y="33"/>
                      <a:pt x="50" y="32"/>
                      <a:pt x="48" y="36"/>
                    </a:cubicBezTo>
                    <a:cubicBezTo>
                      <a:pt x="46" y="39"/>
                      <a:pt x="30" y="51"/>
                      <a:pt x="28" y="51"/>
                    </a:cubicBezTo>
                    <a:cubicBezTo>
                      <a:pt x="25" y="51"/>
                      <a:pt x="10" y="50"/>
                      <a:pt x="6" y="47"/>
                    </a:cubicBezTo>
                    <a:cubicBezTo>
                      <a:pt x="3" y="43"/>
                      <a:pt x="0" y="39"/>
                      <a:pt x="2" y="37"/>
                    </a:cubicBezTo>
                    <a:cubicBezTo>
                      <a:pt x="3" y="34"/>
                      <a:pt x="7" y="38"/>
                      <a:pt x="10" y="36"/>
                    </a:cubicBezTo>
                    <a:cubicBezTo>
                      <a:pt x="13" y="35"/>
                      <a:pt x="20" y="33"/>
                      <a:pt x="20" y="31"/>
                    </a:cubicBezTo>
                    <a:cubicBezTo>
                      <a:pt x="21" y="28"/>
                      <a:pt x="18" y="20"/>
                      <a:pt x="20" y="20"/>
                    </a:cubicBezTo>
                    <a:cubicBezTo>
                      <a:pt x="22" y="20"/>
                      <a:pt x="30" y="22"/>
                      <a:pt x="30" y="22"/>
                    </a:cubicBezTo>
                    <a:cubicBezTo>
                      <a:pt x="30" y="22"/>
                      <a:pt x="38" y="20"/>
                      <a:pt x="42" y="19"/>
                    </a:cubicBezTo>
                    <a:cubicBezTo>
                      <a:pt x="49" y="15"/>
                      <a:pt x="66" y="0"/>
                      <a:pt x="68" y="1"/>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7" name="Freeform 84"/>
              <p:cNvSpPr>
                <a:spLocks/>
              </p:cNvSpPr>
              <p:nvPr>
                <p:custDataLst>
                  <p:tags r:id="rId31"/>
                </p:custDataLst>
              </p:nvPr>
            </p:nvSpPr>
            <p:spPr bwMode="auto">
              <a:xfrm>
                <a:off x="5502276" y="2190751"/>
                <a:ext cx="76200" cy="85725"/>
              </a:xfrm>
              <a:custGeom>
                <a:avLst/>
                <a:gdLst>
                  <a:gd name="T0" fmla="*/ 68 w 27"/>
                  <a:gd name="T1" fmla="*/ 14 h 30"/>
                  <a:gd name="T2" fmla="*/ 62 w 27"/>
                  <a:gd name="T3" fmla="*/ 52 h 30"/>
                  <a:gd name="T4" fmla="*/ 52 w 27"/>
                  <a:gd name="T5" fmla="*/ 77 h 30"/>
                  <a:gd name="T6" fmla="*/ 30 w 27"/>
                  <a:gd name="T7" fmla="*/ 79 h 30"/>
                  <a:gd name="T8" fmla="*/ 0 w 27"/>
                  <a:gd name="T9" fmla="*/ 32 h 30"/>
                  <a:gd name="T10" fmla="*/ 20 w 27"/>
                  <a:gd name="T11" fmla="*/ 0 h 30"/>
                  <a:gd name="T12" fmla="*/ 68 w 27"/>
                  <a:gd name="T13" fmla="*/ 14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30">
                    <a:moveTo>
                      <a:pt x="25" y="5"/>
                    </a:moveTo>
                    <a:cubicBezTo>
                      <a:pt x="27" y="10"/>
                      <a:pt x="25" y="16"/>
                      <a:pt x="23" y="19"/>
                    </a:cubicBezTo>
                    <a:cubicBezTo>
                      <a:pt x="22" y="23"/>
                      <a:pt x="23" y="27"/>
                      <a:pt x="19" y="28"/>
                    </a:cubicBezTo>
                    <a:cubicBezTo>
                      <a:pt x="15" y="30"/>
                      <a:pt x="15" y="30"/>
                      <a:pt x="11" y="29"/>
                    </a:cubicBezTo>
                    <a:cubicBezTo>
                      <a:pt x="7" y="29"/>
                      <a:pt x="0" y="17"/>
                      <a:pt x="0" y="12"/>
                    </a:cubicBezTo>
                    <a:cubicBezTo>
                      <a:pt x="0" y="7"/>
                      <a:pt x="1" y="0"/>
                      <a:pt x="7" y="0"/>
                    </a:cubicBezTo>
                    <a:cubicBezTo>
                      <a:pt x="13" y="0"/>
                      <a:pt x="24" y="0"/>
                      <a:pt x="25" y="5"/>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8" name="Freeform 85"/>
              <p:cNvSpPr>
                <a:spLocks/>
              </p:cNvSpPr>
              <p:nvPr>
                <p:custDataLst>
                  <p:tags r:id="rId32"/>
                </p:custDataLst>
              </p:nvPr>
            </p:nvSpPr>
            <p:spPr bwMode="auto">
              <a:xfrm>
                <a:off x="5121276" y="5830888"/>
                <a:ext cx="55563" cy="61913"/>
              </a:xfrm>
              <a:custGeom>
                <a:avLst/>
                <a:gdLst>
                  <a:gd name="T0" fmla="*/ 48 w 19"/>
                  <a:gd name="T1" fmla="*/ 5 h 22"/>
                  <a:gd name="T2" fmla="*/ 42 w 19"/>
                  <a:gd name="T3" fmla="*/ 32 h 22"/>
                  <a:gd name="T4" fmla="*/ 11 w 19"/>
                  <a:gd name="T5" fmla="*/ 57 h 22"/>
                  <a:gd name="T6" fmla="*/ 6 w 19"/>
                  <a:gd name="T7" fmla="*/ 37 h 22"/>
                  <a:gd name="T8" fmla="*/ 15 w 19"/>
                  <a:gd name="T9" fmla="*/ 14 h 22"/>
                  <a:gd name="T10" fmla="*/ 48 w 19"/>
                  <a:gd name="T11" fmla="*/ 5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2">
                    <a:moveTo>
                      <a:pt x="17" y="2"/>
                    </a:moveTo>
                    <a:cubicBezTo>
                      <a:pt x="19" y="4"/>
                      <a:pt x="17" y="9"/>
                      <a:pt x="15" y="12"/>
                    </a:cubicBezTo>
                    <a:cubicBezTo>
                      <a:pt x="13" y="15"/>
                      <a:pt x="8" y="22"/>
                      <a:pt x="4" y="21"/>
                    </a:cubicBezTo>
                    <a:cubicBezTo>
                      <a:pt x="0" y="20"/>
                      <a:pt x="4" y="16"/>
                      <a:pt x="2" y="14"/>
                    </a:cubicBezTo>
                    <a:cubicBezTo>
                      <a:pt x="0" y="11"/>
                      <a:pt x="1" y="9"/>
                      <a:pt x="5" y="5"/>
                    </a:cubicBezTo>
                    <a:cubicBezTo>
                      <a:pt x="5" y="5"/>
                      <a:pt x="14" y="0"/>
                      <a:pt x="17" y="2"/>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9" name="Freeform 86"/>
              <p:cNvSpPr>
                <a:spLocks/>
              </p:cNvSpPr>
              <p:nvPr>
                <p:custDataLst>
                  <p:tags r:id="rId33"/>
                </p:custDataLst>
              </p:nvPr>
            </p:nvSpPr>
            <p:spPr bwMode="auto">
              <a:xfrm>
                <a:off x="5011738" y="5694363"/>
                <a:ext cx="47625" cy="26988"/>
              </a:xfrm>
              <a:custGeom>
                <a:avLst/>
                <a:gdLst>
                  <a:gd name="T0" fmla="*/ 42 w 17"/>
                  <a:gd name="T1" fmla="*/ 9 h 9"/>
                  <a:gd name="T2" fmla="*/ 32 w 17"/>
                  <a:gd name="T3" fmla="*/ 23 h 9"/>
                  <a:gd name="T4" fmla="*/ 19 w 17"/>
                  <a:gd name="T5" fmla="*/ 21 h 9"/>
                  <a:gd name="T6" fmla="*/ 5 w 17"/>
                  <a:gd name="T7" fmla="*/ 23 h 9"/>
                  <a:gd name="T8" fmla="*/ 5 w 17"/>
                  <a:gd name="T9" fmla="*/ 11 h 9"/>
                  <a:gd name="T10" fmla="*/ 21 w 17"/>
                  <a:gd name="T11" fmla="*/ 0 h 9"/>
                  <a:gd name="T12" fmla="*/ 32 w 17"/>
                  <a:gd name="T13" fmla="*/ 6 h 9"/>
                  <a:gd name="T14" fmla="*/ 42 w 17"/>
                  <a:gd name="T15" fmla="*/ 9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 h="9">
                    <a:moveTo>
                      <a:pt x="16" y="3"/>
                    </a:moveTo>
                    <a:cubicBezTo>
                      <a:pt x="17" y="4"/>
                      <a:pt x="14" y="7"/>
                      <a:pt x="12" y="8"/>
                    </a:cubicBezTo>
                    <a:cubicBezTo>
                      <a:pt x="11" y="9"/>
                      <a:pt x="8" y="7"/>
                      <a:pt x="7" y="7"/>
                    </a:cubicBezTo>
                    <a:cubicBezTo>
                      <a:pt x="5" y="6"/>
                      <a:pt x="3" y="8"/>
                      <a:pt x="2" y="8"/>
                    </a:cubicBezTo>
                    <a:cubicBezTo>
                      <a:pt x="0" y="8"/>
                      <a:pt x="0" y="6"/>
                      <a:pt x="2" y="4"/>
                    </a:cubicBezTo>
                    <a:cubicBezTo>
                      <a:pt x="3" y="2"/>
                      <a:pt x="6" y="0"/>
                      <a:pt x="8" y="0"/>
                    </a:cubicBezTo>
                    <a:cubicBezTo>
                      <a:pt x="9" y="1"/>
                      <a:pt x="10" y="1"/>
                      <a:pt x="12" y="2"/>
                    </a:cubicBezTo>
                    <a:cubicBezTo>
                      <a:pt x="13" y="3"/>
                      <a:pt x="14" y="1"/>
                      <a:pt x="16" y="3"/>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0" name="Freeform 87"/>
              <p:cNvSpPr>
                <a:spLocks/>
              </p:cNvSpPr>
              <p:nvPr>
                <p:custDataLst>
                  <p:tags r:id="rId34"/>
                </p:custDataLst>
              </p:nvPr>
            </p:nvSpPr>
            <p:spPr bwMode="auto">
              <a:xfrm>
                <a:off x="4772026" y="5932488"/>
                <a:ext cx="257175" cy="82550"/>
              </a:xfrm>
              <a:custGeom>
                <a:avLst/>
                <a:gdLst>
                  <a:gd name="T0" fmla="*/ 235 w 91"/>
                  <a:gd name="T1" fmla="*/ 25 h 29"/>
                  <a:gd name="T2" fmla="*/ 235 w 91"/>
                  <a:gd name="T3" fmla="*/ 48 h 29"/>
                  <a:gd name="T4" fmla="*/ 224 w 91"/>
                  <a:gd name="T5" fmla="*/ 63 h 29"/>
                  <a:gd name="T6" fmla="*/ 158 w 91"/>
                  <a:gd name="T7" fmla="*/ 70 h 29"/>
                  <a:gd name="T8" fmla="*/ 105 w 91"/>
                  <a:gd name="T9" fmla="*/ 79 h 29"/>
                  <a:gd name="T10" fmla="*/ 100 w 91"/>
                  <a:gd name="T11" fmla="*/ 59 h 29"/>
                  <a:gd name="T12" fmla="*/ 59 w 91"/>
                  <a:gd name="T13" fmla="*/ 52 h 29"/>
                  <a:gd name="T14" fmla="*/ 5 w 91"/>
                  <a:gd name="T15" fmla="*/ 47 h 29"/>
                  <a:gd name="T16" fmla="*/ 9 w 91"/>
                  <a:gd name="T17" fmla="*/ 9 h 29"/>
                  <a:gd name="T18" fmla="*/ 32 w 91"/>
                  <a:gd name="T19" fmla="*/ 20 h 29"/>
                  <a:gd name="T20" fmla="*/ 94 w 91"/>
                  <a:gd name="T21" fmla="*/ 27 h 29"/>
                  <a:gd name="T22" fmla="*/ 142 w 91"/>
                  <a:gd name="T23" fmla="*/ 25 h 29"/>
                  <a:gd name="T24" fmla="*/ 182 w 91"/>
                  <a:gd name="T25" fmla="*/ 27 h 29"/>
                  <a:gd name="T26" fmla="*/ 187 w 91"/>
                  <a:gd name="T27" fmla="*/ 47 h 29"/>
                  <a:gd name="T28" fmla="*/ 235 w 91"/>
                  <a:gd name="T29" fmla="*/ 25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1" h="29">
                    <a:moveTo>
                      <a:pt x="87" y="9"/>
                    </a:moveTo>
                    <a:cubicBezTo>
                      <a:pt x="91" y="9"/>
                      <a:pt x="89" y="15"/>
                      <a:pt x="87" y="18"/>
                    </a:cubicBezTo>
                    <a:cubicBezTo>
                      <a:pt x="85" y="21"/>
                      <a:pt x="85" y="23"/>
                      <a:pt x="83" y="23"/>
                    </a:cubicBezTo>
                    <a:cubicBezTo>
                      <a:pt x="80" y="23"/>
                      <a:pt x="63" y="25"/>
                      <a:pt x="59" y="26"/>
                    </a:cubicBezTo>
                    <a:cubicBezTo>
                      <a:pt x="55" y="28"/>
                      <a:pt x="41" y="29"/>
                      <a:pt x="39" y="29"/>
                    </a:cubicBezTo>
                    <a:cubicBezTo>
                      <a:pt x="37" y="28"/>
                      <a:pt x="41" y="23"/>
                      <a:pt x="37" y="22"/>
                    </a:cubicBezTo>
                    <a:cubicBezTo>
                      <a:pt x="33" y="21"/>
                      <a:pt x="22" y="19"/>
                      <a:pt x="22" y="19"/>
                    </a:cubicBezTo>
                    <a:cubicBezTo>
                      <a:pt x="17" y="19"/>
                      <a:pt x="4" y="20"/>
                      <a:pt x="2" y="17"/>
                    </a:cubicBezTo>
                    <a:cubicBezTo>
                      <a:pt x="0" y="14"/>
                      <a:pt x="1" y="7"/>
                      <a:pt x="3" y="3"/>
                    </a:cubicBezTo>
                    <a:cubicBezTo>
                      <a:pt x="5" y="0"/>
                      <a:pt x="9" y="7"/>
                      <a:pt x="12" y="7"/>
                    </a:cubicBezTo>
                    <a:cubicBezTo>
                      <a:pt x="15" y="7"/>
                      <a:pt x="31" y="11"/>
                      <a:pt x="35" y="10"/>
                    </a:cubicBezTo>
                    <a:cubicBezTo>
                      <a:pt x="41" y="10"/>
                      <a:pt x="50" y="9"/>
                      <a:pt x="53" y="9"/>
                    </a:cubicBezTo>
                    <a:cubicBezTo>
                      <a:pt x="56" y="9"/>
                      <a:pt x="64" y="10"/>
                      <a:pt x="67" y="10"/>
                    </a:cubicBezTo>
                    <a:cubicBezTo>
                      <a:pt x="69" y="10"/>
                      <a:pt x="66" y="18"/>
                      <a:pt x="69" y="17"/>
                    </a:cubicBezTo>
                    <a:cubicBezTo>
                      <a:pt x="73" y="16"/>
                      <a:pt x="84" y="9"/>
                      <a:pt x="87" y="9"/>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1" name="Freeform 88"/>
              <p:cNvSpPr>
                <a:spLocks/>
              </p:cNvSpPr>
              <p:nvPr>
                <p:custDataLst>
                  <p:tags r:id="rId35"/>
                </p:custDataLst>
              </p:nvPr>
            </p:nvSpPr>
            <p:spPr bwMode="auto">
              <a:xfrm>
                <a:off x="4945063" y="5548313"/>
                <a:ext cx="65088" cy="41275"/>
              </a:xfrm>
              <a:custGeom>
                <a:avLst/>
                <a:gdLst>
                  <a:gd name="T0" fmla="*/ 59 w 23"/>
                  <a:gd name="T1" fmla="*/ 17 h 14"/>
                  <a:gd name="T2" fmla="*/ 53 w 23"/>
                  <a:gd name="T3" fmla="*/ 37 h 14"/>
                  <a:gd name="T4" fmla="*/ 16 w 23"/>
                  <a:gd name="T5" fmla="*/ 26 h 14"/>
                  <a:gd name="T6" fmla="*/ 0 w 23"/>
                  <a:gd name="T7" fmla="*/ 9 h 14"/>
                  <a:gd name="T8" fmla="*/ 21 w 23"/>
                  <a:gd name="T9" fmla="*/ 0 h 14"/>
                  <a:gd name="T10" fmla="*/ 39 w 23"/>
                  <a:gd name="T11" fmla="*/ 4 h 14"/>
                  <a:gd name="T12" fmla="*/ 59 w 23"/>
                  <a:gd name="T13" fmla="*/ 17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4">
                    <a:moveTo>
                      <a:pt x="22" y="6"/>
                    </a:moveTo>
                    <a:cubicBezTo>
                      <a:pt x="23" y="9"/>
                      <a:pt x="22" y="11"/>
                      <a:pt x="20" y="13"/>
                    </a:cubicBezTo>
                    <a:cubicBezTo>
                      <a:pt x="18" y="14"/>
                      <a:pt x="9" y="10"/>
                      <a:pt x="6" y="9"/>
                    </a:cubicBezTo>
                    <a:cubicBezTo>
                      <a:pt x="3" y="9"/>
                      <a:pt x="0" y="6"/>
                      <a:pt x="0" y="3"/>
                    </a:cubicBezTo>
                    <a:cubicBezTo>
                      <a:pt x="0" y="1"/>
                      <a:pt x="8" y="0"/>
                      <a:pt x="8" y="0"/>
                    </a:cubicBezTo>
                    <a:cubicBezTo>
                      <a:pt x="15" y="1"/>
                      <a:pt x="15" y="1"/>
                      <a:pt x="15" y="1"/>
                    </a:cubicBezTo>
                    <a:cubicBezTo>
                      <a:pt x="15" y="1"/>
                      <a:pt x="21" y="4"/>
                      <a:pt x="22" y="6"/>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2" name="Freeform 89"/>
              <p:cNvSpPr>
                <a:spLocks/>
              </p:cNvSpPr>
              <p:nvPr>
                <p:custDataLst>
                  <p:tags r:id="rId36"/>
                </p:custDataLst>
              </p:nvPr>
            </p:nvSpPr>
            <p:spPr bwMode="auto">
              <a:xfrm>
                <a:off x="4921251" y="5770563"/>
                <a:ext cx="28575" cy="31750"/>
              </a:xfrm>
              <a:custGeom>
                <a:avLst/>
                <a:gdLst>
                  <a:gd name="T0" fmla="*/ 22 w 10"/>
                  <a:gd name="T1" fmla="*/ 5 h 11"/>
                  <a:gd name="T2" fmla="*/ 16 w 10"/>
                  <a:gd name="T3" fmla="*/ 27 h 11"/>
                  <a:gd name="T4" fmla="*/ 5 w 10"/>
                  <a:gd name="T5" fmla="*/ 27 h 11"/>
                  <a:gd name="T6" fmla="*/ 0 w 10"/>
                  <a:gd name="T7" fmla="*/ 11 h 11"/>
                  <a:gd name="T8" fmla="*/ 5 w 10"/>
                  <a:gd name="T9" fmla="*/ 4 h 11"/>
                  <a:gd name="T10" fmla="*/ 22 w 10"/>
                  <a:gd name="T11" fmla="*/ 5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1">
                    <a:moveTo>
                      <a:pt x="8" y="2"/>
                    </a:moveTo>
                    <a:cubicBezTo>
                      <a:pt x="10" y="3"/>
                      <a:pt x="8" y="9"/>
                      <a:pt x="6" y="10"/>
                    </a:cubicBezTo>
                    <a:cubicBezTo>
                      <a:pt x="6" y="11"/>
                      <a:pt x="3" y="11"/>
                      <a:pt x="2" y="10"/>
                    </a:cubicBezTo>
                    <a:cubicBezTo>
                      <a:pt x="2" y="10"/>
                      <a:pt x="0" y="5"/>
                      <a:pt x="0" y="4"/>
                    </a:cubicBezTo>
                    <a:cubicBezTo>
                      <a:pt x="0" y="3"/>
                      <a:pt x="0" y="2"/>
                      <a:pt x="2" y="1"/>
                    </a:cubicBezTo>
                    <a:cubicBezTo>
                      <a:pt x="2" y="1"/>
                      <a:pt x="6" y="0"/>
                      <a:pt x="8" y="2"/>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3" name="Freeform 90"/>
              <p:cNvSpPr>
                <a:spLocks/>
              </p:cNvSpPr>
              <p:nvPr>
                <p:custDataLst>
                  <p:tags r:id="rId37"/>
                </p:custDataLst>
              </p:nvPr>
            </p:nvSpPr>
            <p:spPr bwMode="auto">
              <a:xfrm>
                <a:off x="4913313" y="5818188"/>
                <a:ext cx="15875" cy="19050"/>
              </a:xfrm>
              <a:custGeom>
                <a:avLst/>
                <a:gdLst>
                  <a:gd name="T0" fmla="*/ 5 w 6"/>
                  <a:gd name="T1" fmla="*/ 0 h 7"/>
                  <a:gd name="T2" fmla="*/ 13 w 6"/>
                  <a:gd name="T3" fmla="*/ 10 h 7"/>
                  <a:gd name="T4" fmla="*/ 5 w 6"/>
                  <a:gd name="T5" fmla="*/ 15 h 7"/>
                  <a:gd name="T6" fmla="*/ 0 w 6"/>
                  <a:gd name="T7" fmla="*/ 5 h 7"/>
                  <a:gd name="T8" fmla="*/ 5 w 6"/>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
                    <a:moveTo>
                      <a:pt x="2" y="0"/>
                    </a:moveTo>
                    <a:cubicBezTo>
                      <a:pt x="4" y="0"/>
                      <a:pt x="6" y="1"/>
                      <a:pt x="6" y="4"/>
                    </a:cubicBezTo>
                    <a:cubicBezTo>
                      <a:pt x="6" y="7"/>
                      <a:pt x="4" y="7"/>
                      <a:pt x="2" y="6"/>
                    </a:cubicBezTo>
                    <a:cubicBezTo>
                      <a:pt x="1" y="6"/>
                      <a:pt x="0" y="4"/>
                      <a:pt x="0" y="2"/>
                    </a:cubicBezTo>
                    <a:cubicBezTo>
                      <a:pt x="0" y="0"/>
                      <a:pt x="1" y="0"/>
                      <a:pt x="2" y="0"/>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4" name="Freeform 91"/>
              <p:cNvSpPr>
                <a:spLocks/>
              </p:cNvSpPr>
              <p:nvPr>
                <p:custDataLst>
                  <p:tags r:id="rId38"/>
                </p:custDataLst>
              </p:nvPr>
            </p:nvSpPr>
            <p:spPr bwMode="auto">
              <a:xfrm>
                <a:off x="4872038" y="5472113"/>
                <a:ext cx="44450" cy="38100"/>
              </a:xfrm>
              <a:custGeom>
                <a:avLst/>
                <a:gdLst>
                  <a:gd name="T0" fmla="*/ 39 w 15"/>
                  <a:gd name="T1" fmla="*/ 4 h 13"/>
                  <a:gd name="T2" fmla="*/ 37 w 15"/>
                  <a:gd name="T3" fmla="*/ 22 h 13"/>
                  <a:gd name="T4" fmla="*/ 32 w 15"/>
                  <a:gd name="T5" fmla="*/ 33 h 13"/>
                  <a:gd name="T6" fmla="*/ 21 w 15"/>
                  <a:gd name="T7" fmla="*/ 31 h 13"/>
                  <a:gd name="T8" fmla="*/ 6 w 15"/>
                  <a:gd name="T9" fmla="*/ 26 h 13"/>
                  <a:gd name="T10" fmla="*/ 6 w 15"/>
                  <a:gd name="T11" fmla="*/ 9 h 13"/>
                  <a:gd name="T12" fmla="*/ 26 w 15"/>
                  <a:gd name="T13" fmla="*/ 9 h 13"/>
                  <a:gd name="T14" fmla="*/ 39 w 15"/>
                  <a:gd name="T15" fmla="*/ 4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5" h="13">
                    <a:moveTo>
                      <a:pt x="14" y="1"/>
                    </a:moveTo>
                    <a:cubicBezTo>
                      <a:pt x="15" y="2"/>
                      <a:pt x="12" y="6"/>
                      <a:pt x="13" y="8"/>
                    </a:cubicBezTo>
                    <a:cubicBezTo>
                      <a:pt x="14" y="10"/>
                      <a:pt x="12" y="12"/>
                      <a:pt x="11" y="12"/>
                    </a:cubicBezTo>
                    <a:cubicBezTo>
                      <a:pt x="11" y="12"/>
                      <a:pt x="8" y="11"/>
                      <a:pt x="7" y="11"/>
                    </a:cubicBezTo>
                    <a:cubicBezTo>
                      <a:pt x="5" y="11"/>
                      <a:pt x="2" y="13"/>
                      <a:pt x="2" y="9"/>
                    </a:cubicBezTo>
                    <a:cubicBezTo>
                      <a:pt x="2" y="6"/>
                      <a:pt x="0" y="3"/>
                      <a:pt x="2" y="3"/>
                    </a:cubicBezTo>
                    <a:cubicBezTo>
                      <a:pt x="4" y="2"/>
                      <a:pt x="8" y="4"/>
                      <a:pt x="9" y="3"/>
                    </a:cubicBezTo>
                    <a:cubicBezTo>
                      <a:pt x="10" y="2"/>
                      <a:pt x="13" y="0"/>
                      <a:pt x="14" y="1"/>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5" name="Freeform 92"/>
              <p:cNvSpPr>
                <a:spLocks/>
              </p:cNvSpPr>
              <p:nvPr>
                <p:custDataLst>
                  <p:tags r:id="rId39"/>
                </p:custDataLst>
              </p:nvPr>
            </p:nvSpPr>
            <p:spPr bwMode="auto">
              <a:xfrm>
                <a:off x="4867276" y="5694363"/>
                <a:ext cx="31750" cy="38100"/>
              </a:xfrm>
              <a:custGeom>
                <a:avLst/>
                <a:gdLst>
                  <a:gd name="T0" fmla="*/ 22 w 11"/>
                  <a:gd name="T1" fmla="*/ 15 h 13"/>
                  <a:gd name="T2" fmla="*/ 31 w 11"/>
                  <a:gd name="T3" fmla="*/ 33 h 13"/>
                  <a:gd name="T4" fmla="*/ 15 w 11"/>
                  <a:gd name="T5" fmla="*/ 28 h 13"/>
                  <a:gd name="T6" fmla="*/ 4 w 11"/>
                  <a:gd name="T7" fmla="*/ 9 h 13"/>
                  <a:gd name="T8" fmla="*/ 9 w 11"/>
                  <a:gd name="T9" fmla="*/ 0 h 13"/>
                  <a:gd name="T10" fmla="*/ 20 w 11"/>
                  <a:gd name="T11" fmla="*/ 0 h 13"/>
                  <a:gd name="T12" fmla="*/ 22 w 11"/>
                  <a:gd name="T13" fmla="*/ 15 h 1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 h="13">
                    <a:moveTo>
                      <a:pt x="8" y="5"/>
                    </a:moveTo>
                    <a:cubicBezTo>
                      <a:pt x="8" y="6"/>
                      <a:pt x="11" y="11"/>
                      <a:pt x="11" y="12"/>
                    </a:cubicBezTo>
                    <a:cubicBezTo>
                      <a:pt x="10" y="13"/>
                      <a:pt x="6" y="11"/>
                      <a:pt x="5" y="10"/>
                    </a:cubicBezTo>
                    <a:cubicBezTo>
                      <a:pt x="4" y="10"/>
                      <a:pt x="1" y="5"/>
                      <a:pt x="1" y="3"/>
                    </a:cubicBezTo>
                    <a:cubicBezTo>
                      <a:pt x="0" y="1"/>
                      <a:pt x="1" y="1"/>
                      <a:pt x="3" y="0"/>
                    </a:cubicBezTo>
                    <a:cubicBezTo>
                      <a:pt x="3" y="0"/>
                      <a:pt x="6" y="0"/>
                      <a:pt x="7" y="0"/>
                    </a:cubicBezTo>
                    <a:cubicBezTo>
                      <a:pt x="8" y="1"/>
                      <a:pt x="8" y="3"/>
                      <a:pt x="8" y="5"/>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6" name="Freeform 93"/>
              <p:cNvSpPr>
                <a:spLocks/>
              </p:cNvSpPr>
              <p:nvPr>
                <p:custDataLst>
                  <p:tags r:id="rId40"/>
                </p:custDataLst>
              </p:nvPr>
            </p:nvSpPr>
            <p:spPr bwMode="auto">
              <a:xfrm>
                <a:off x="4830763" y="5813426"/>
                <a:ext cx="39688" cy="26988"/>
              </a:xfrm>
              <a:custGeom>
                <a:avLst/>
                <a:gdLst>
                  <a:gd name="T0" fmla="*/ 30 w 14"/>
                  <a:gd name="T1" fmla="*/ 5 h 10"/>
                  <a:gd name="T2" fmla="*/ 25 w 14"/>
                  <a:gd name="T3" fmla="*/ 20 h 10"/>
                  <a:gd name="T4" fmla="*/ 5 w 14"/>
                  <a:gd name="T5" fmla="*/ 24 h 10"/>
                  <a:gd name="T6" fmla="*/ 5 w 14"/>
                  <a:gd name="T7" fmla="*/ 10 h 10"/>
                  <a:gd name="T8" fmla="*/ 21 w 14"/>
                  <a:gd name="T9" fmla="*/ 5 h 10"/>
                  <a:gd name="T10" fmla="*/ 30 w 14"/>
                  <a:gd name="T11" fmla="*/ 5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0">
                    <a:moveTo>
                      <a:pt x="11" y="2"/>
                    </a:moveTo>
                    <a:cubicBezTo>
                      <a:pt x="14" y="5"/>
                      <a:pt x="11" y="7"/>
                      <a:pt x="9" y="8"/>
                    </a:cubicBezTo>
                    <a:cubicBezTo>
                      <a:pt x="7" y="9"/>
                      <a:pt x="4" y="10"/>
                      <a:pt x="2" y="9"/>
                    </a:cubicBezTo>
                    <a:cubicBezTo>
                      <a:pt x="0" y="8"/>
                      <a:pt x="2" y="4"/>
                      <a:pt x="2" y="4"/>
                    </a:cubicBezTo>
                    <a:cubicBezTo>
                      <a:pt x="2" y="4"/>
                      <a:pt x="6" y="3"/>
                      <a:pt x="8" y="2"/>
                    </a:cubicBezTo>
                    <a:cubicBezTo>
                      <a:pt x="8" y="2"/>
                      <a:pt x="9" y="0"/>
                      <a:pt x="11" y="2"/>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7" name="Freeform 94"/>
              <p:cNvSpPr>
                <a:spLocks/>
              </p:cNvSpPr>
              <p:nvPr>
                <p:custDataLst>
                  <p:tags r:id="rId41"/>
                </p:custDataLst>
              </p:nvPr>
            </p:nvSpPr>
            <p:spPr bwMode="auto">
              <a:xfrm>
                <a:off x="4840288" y="5770563"/>
                <a:ext cx="19050" cy="25400"/>
              </a:xfrm>
              <a:custGeom>
                <a:avLst/>
                <a:gdLst>
                  <a:gd name="T0" fmla="*/ 7 w 7"/>
                  <a:gd name="T1" fmla="*/ 0 h 9"/>
                  <a:gd name="T2" fmla="*/ 17 w 7"/>
                  <a:gd name="T3" fmla="*/ 14 h 9"/>
                  <a:gd name="T4" fmla="*/ 5 w 7"/>
                  <a:gd name="T5" fmla="*/ 25 h 9"/>
                  <a:gd name="T6" fmla="*/ 0 w 7"/>
                  <a:gd name="T7" fmla="*/ 5 h 9"/>
                  <a:gd name="T8" fmla="*/ 7 w 7"/>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9">
                    <a:moveTo>
                      <a:pt x="3" y="0"/>
                    </a:moveTo>
                    <a:cubicBezTo>
                      <a:pt x="4" y="0"/>
                      <a:pt x="7" y="3"/>
                      <a:pt x="7" y="5"/>
                    </a:cubicBezTo>
                    <a:cubicBezTo>
                      <a:pt x="7" y="7"/>
                      <a:pt x="4" y="9"/>
                      <a:pt x="2" y="9"/>
                    </a:cubicBezTo>
                    <a:cubicBezTo>
                      <a:pt x="0" y="9"/>
                      <a:pt x="0" y="4"/>
                      <a:pt x="0" y="2"/>
                    </a:cubicBezTo>
                    <a:cubicBezTo>
                      <a:pt x="0" y="0"/>
                      <a:pt x="1" y="0"/>
                      <a:pt x="3" y="0"/>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8" name="Freeform 95"/>
              <p:cNvSpPr>
                <a:spLocks/>
              </p:cNvSpPr>
              <p:nvPr>
                <p:custDataLst>
                  <p:tags r:id="rId42"/>
                </p:custDataLst>
              </p:nvPr>
            </p:nvSpPr>
            <p:spPr bwMode="auto">
              <a:xfrm>
                <a:off x="4572001" y="3540126"/>
                <a:ext cx="88900" cy="73025"/>
              </a:xfrm>
              <a:custGeom>
                <a:avLst/>
                <a:gdLst>
                  <a:gd name="T0" fmla="*/ 77 w 32"/>
                  <a:gd name="T1" fmla="*/ 14 h 26"/>
                  <a:gd name="T2" fmla="*/ 77 w 32"/>
                  <a:gd name="T3" fmla="*/ 27 h 26"/>
                  <a:gd name="T4" fmla="*/ 56 w 32"/>
                  <a:gd name="T5" fmla="*/ 35 h 26"/>
                  <a:gd name="T6" fmla="*/ 32 w 32"/>
                  <a:gd name="T7" fmla="*/ 46 h 26"/>
                  <a:gd name="T8" fmla="*/ 16 w 32"/>
                  <a:gd name="T9" fmla="*/ 67 h 26"/>
                  <a:gd name="T10" fmla="*/ 5 w 32"/>
                  <a:gd name="T11" fmla="*/ 41 h 26"/>
                  <a:gd name="T12" fmla="*/ 11 w 32"/>
                  <a:gd name="T13" fmla="*/ 21 h 26"/>
                  <a:gd name="T14" fmla="*/ 32 w 32"/>
                  <a:gd name="T15" fmla="*/ 5 h 26"/>
                  <a:gd name="T16" fmla="*/ 63 w 32"/>
                  <a:gd name="T17" fmla="*/ 0 h 26"/>
                  <a:gd name="T18" fmla="*/ 77 w 32"/>
                  <a:gd name="T19" fmla="*/ 14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26">
                    <a:moveTo>
                      <a:pt x="29" y="5"/>
                    </a:moveTo>
                    <a:cubicBezTo>
                      <a:pt x="30" y="8"/>
                      <a:pt x="32" y="9"/>
                      <a:pt x="29" y="10"/>
                    </a:cubicBezTo>
                    <a:cubicBezTo>
                      <a:pt x="26" y="11"/>
                      <a:pt x="21" y="13"/>
                      <a:pt x="21" y="13"/>
                    </a:cubicBezTo>
                    <a:cubicBezTo>
                      <a:pt x="17" y="15"/>
                      <a:pt x="13" y="16"/>
                      <a:pt x="12" y="17"/>
                    </a:cubicBezTo>
                    <a:cubicBezTo>
                      <a:pt x="11" y="18"/>
                      <a:pt x="10" y="26"/>
                      <a:pt x="6" y="25"/>
                    </a:cubicBezTo>
                    <a:cubicBezTo>
                      <a:pt x="3" y="24"/>
                      <a:pt x="7" y="18"/>
                      <a:pt x="2" y="15"/>
                    </a:cubicBezTo>
                    <a:cubicBezTo>
                      <a:pt x="0" y="14"/>
                      <a:pt x="0" y="10"/>
                      <a:pt x="4" y="8"/>
                    </a:cubicBezTo>
                    <a:cubicBezTo>
                      <a:pt x="7" y="6"/>
                      <a:pt x="10" y="2"/>
                      <a:pt x="12" y="2"/>
                    </a:cubicBezTo>
                    <a:cubicBezTo>
                      <a:pt x="15" y="2"/>
                      <a:pt x="23" y="0"/>
                      <a:pt x="24" y="0"/>
                    </a:cubicBezTo>
                    <a:cubicBezTo>
                      <a:pt x="26" y="1"/>
                      <a:pt x="28" y="3"/>
                      <a:pt x="29" y="5"/>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9" name="Freeform 96"/>
              <p:cNvSpPr>
                <a:spLocks/>
              </p:cNvSpPr>
              <p:nvPr>
                <p:custDataLst>
                  <p:tags r:id="rId43"/>
                </p:custDataLst>
              </p:nvPr>
            </p:nvSpPr>
            <p:spPr bwMode="auto">
              <a:xfrm>
                <a:off x="4583113" y="3490913"/>
                <a:ext cx="58738" cy="41275"/>
              </a:xfrm>
              <a:custGeom>
                <a:avLst/>
                <a:gdLst>
                  <a:gd name="T0" fmla="*/ 30 w 21"/>
                  <a:gd name="T1" fmla="*/ 0 h 15"/>
                  <a:gd name="T2" fmla="*/ 51 w 21"/>
                  <a:gd name="T3" fmla="*/ 26 h 15"/>
                  <a:gd name="T4" fmla="*/ 41 w 21"/>
                  <a:gd name="T5" fmla="*/ 28 h 15"/>
                  <a:gd name="T6" fmla="*/ 30 w 21"/>
                  <a:gd name="T7" fmla="*/ 36 h 15"/>
                  <a:gd name="T8" fmla="*/ 16 w 21"/>
                  <a:gd name="T9" fmla="*/ 26 h 15"/>
                  <a:gd name="T10" fmla="*/ 4 w 21"/>
                  <a:gd name="T11" fmla="*/ 26 h 15"/>
                  <a:gd name="T12" fmla="*/ 16 w 21"/>
                  <a:gd name="T13" fmla="*/ 12 h 15"/>
                  <a:gd name="T14" fmla="*/ 30 w 21"/>
                  <a:gd name="T15" fmla="*/ 0 h 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 h="15">
                    <a:moveTo>
                      <a:pt x="11" y="0"/>
                    </a:moveTo>
                    <a:cubicBezTo>
                      <a:pt x="14" y="1"/>
                      <a:pt x="21" y="10"/>
                      <a:pt x="19" y="10"/>
                    </a:cubicBezTo>
                    <a:cubicBezTo>
                      <a:pt x="17" y="11"/>
                      <a:pt x="16" y="11"/>
                      <a:pt x="15" y="11"/>
                    </a:cubicBezTo>
                    <a:cubicBezTo>
                      <a:pt x="14" y="12"/>
                      <a:pt x="13" y="15"/>
                      <a:pt x="11" y="14"/>
                    </a:cubicBezTo>
                    <a:cubicBezTo>
                      <a:pt x="8" y="13"/>
                      <a:pt x="8" y="10"/>
                      <a:pt x="6" y="10"/>
                    </a:cubicBezTo>
                    <a:cubicBezTo>
                      <a:pt x="4" y="10"/>
                      <a:pt x="1" y="12"/>
                      <a:pt x="1" y="10"/>
                    </a:cubicBezTo>
                    <a:cubicBezTo>
                      <a:pt x="0" y="5"/>
                      <a:pt x="5" y="5"/>
                      <a:pt x="6" y="5"/>
                    </a:cubicBezTo>
                    <a:cubicBezTo>
                      <a:pt x="8" y="4"/>
                      <a:pt x="8" y="0"/>
                      <a:pt x="11" y="0"/>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0" name="Freeform 97"/>
              <p:cNvSpPr>
                <a:spLocks/>
              </p:cNvSpPr>
              <p:nvPr>
                <p:custDataLst>
                  <p:tags r:id="rId44"/>
                </p:custDataLst>
              </p:nvPr>
            </p:nvSpPr>
            <p:spPr bwMode="auto">
              <a:xfrm>
                <a:off x="4500563" y="5661026"/>
                <a:ext cx="46038" cy="47625"/>
              </a:xfrm>
              <a:custGeom>
                <a:avLst/>
                <a:gdLst>
                  <a:gd name="T0" fmla="*/ 25 w 16"/>
                  <a:gd name="T1" fmla="*/ 4 h 16"/>
                  <a:gd name="T2" fmla="*/ 42 w 16"/>
                  <a:gd name="T3" fmla="*/ 43 h 16"/>
                  <a:gd name="T4" fmla="*/ 15 w 16"/>
                  <a:gd name="T5" fmla="*/ 43 h 16"/>
                  <a:gd name="T6" fmla="*/ 0 w 16"/>
                  <a:gd name="T7" fmla="*/ 21 h 16"/>
                  <a:gd name="T8" fmla="*/ 25 w 16"/>
                  <a:gd name="T9" fmla="*/ 4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 h="16">
                    <a:moveTo>
                      <a:pt x="9" y="1"/>
                    </a:moveTo>
                    <a:cubicBezTo>
                      <a:pt x="11" y="2"/>
                      <a:pt x="16" y="14"/>
                      <a:pt x="15" y="15"/>
                    </a:cubicBezTo>
                    <a:cubicBezTo>
                      <a:pt x="14" y="16"/>
                      <a:pt x="8" y="16"/>
                      <a:pt x="5" y="15"/>
                    </a:cubicBezTo>
                    <a:cubicBezTo>
                      <a:pt x="1" y="14"/>
                      <a:pt x="0" y="10"/>
                      <a:pt x="0" y="7"/>
                    </a:cubicBezTo>
                    <a:cubicBezTo>
                      <a:pt x="0" y="3"/>
                      <a:pt x="6" y="0"/>
                      <a:pt x="9" y="1"/>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1" name="Freeform 98"/>
              <p:cNvSpPr>
                <a:spLocks/>
              </p:cNvSpPr>
              <p:nvPr>
                <p:custDataLst>
                  <p:tags r:id="rId45"/>
                </p:custDataLst>
              </p:nvPr>
            </p:nvSpPr>
            <p:spPr bwMode="auto">
              <a:xfrm>
                <a:off x="4441826" y="3355976"/>
                <a:ext cx="61913" cy="49213"/>
              </a:xfrm>
              <a:custGeom>
                <a:avLst/>
                <a:gdLst>
                  <a:gd name="T0" fmla="*/ 53 w 22"/>
                  <a:gd name="T1" fmla="*/ 12 h 18"/>
                  <a:gd name="T2" fmla="*/ 48 w 22"/>
                  <a:gd name="T3" fmla="*/ 38 h 18"/>
                  <a:gd name="T4" fmla="*/ 30 w 22"/>
                  <a:gd name="T5" fmla="*/ 45 h 18"/>
                  <a:gd name="T6" fmla="*/ 16 w 22"/>
                  <a:gd name="T7" fmla="*/ 33 h 18"/>
                  <a:gd name="T8" fmla="*/ 5 w 22"/>
                  <a:gd name="T9" fmla="*/ 21 h 18"/>
                  <a:gd name="T10" fmla="*/ 20 w 22"/>
                  <a:gd name="T11" fmla="*/ 16 h 18"/>
                  <a:gd name="T12" fmla="*/ 27 w 22"/>
                  <a:gd name="T13" fmla="*/ 2 h 18"/>
                  <a:gd name="T14" fmla="*/ 53 w 22"/>
                  <a:gd name="T15" fmla="*/ 12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18">
                    <a:moveTo>
                      <a:pt x="20" y="5"/>
                    </a:moveTo>
                    <a:cubicBezTo>
                      <a:pt x="21" y="8"/>
                      <a:pt x="22" y="13"/>
                      <a:pt x="18" y="15"/>
                    </a:cubicBezTo>
                    <a:cubicBezTo>
                      <a:pt x="14" y="18"/>
                      <a:pt x="11" y="18"/>
                      <a:pt x="11" y="18"/>
                    </a:cubicBezTo>
                    <a:cubicBezTo>
                      <a:pt x="11" y="18"/>
                      <a:pt x="7" y="14"/>
                      <a:pt x="6" y="13"/>
                    </a:cubicBezTo>
                    <a:cubicBezTo>
                      <a:pt x="5" y="12"/>
                      <a:pt x="0" y="12"/>
                      <a:pt x="2" y="8"/>
                    </a:cubicBezTo>
                    <a:cubicBezTo>
                      <a:pt x="2" y="6"/>
                      <a:pt x="6" y="8"/>
                      <a:pt x="7" y="6"/>
                    </a:cubicBezTo>
                    <a:cubicBezTo>
                      <a:pt x="8" y="4"/>
                      <a:pt x="5" y="0"/>
                      <a:pt x="10" y="1"/>
                    </a:cubicBezTo>
                    <a:cubicBezTo>
                      <a:pt x="15" y="2"/>
                      <a:pt x="19" y="2"/>
                      <a:pt x="20" y="5"/>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2" name="Freeform 99"/>
              <p:cNvSpPr>
                <a:spLocks/>
              </p:cNvSpPr>
              <p:nvPr>
                <p:custDataLst>
                  <p:tags r:id="rId46"/>
                </p:custDataLst>
              </p:nvPr>
            </p:nvSpPr>
            <p:spPr bwMode="auto">
              <a:xfrm>
                <a:off x="4357688" y="3613151"/>
                <a:ext cx="80963" cy="115888"/>
              </a:xfrm>
              <a:custGeom>
                <a:avLst/>
                <a:gdLst>
                  <a:gd name="T0" fmla="*/ 67 w 28"/>
                  <a:gd name="T1" fmla="*/ 0 h 41"/>
                  <a:gd name="T2" fmla="*/ 75 w 28"/>
                  <a:gd name="T3" fmla="*/ 14 h 41"/>
                  <a:gd name="T4" fmla="*/ 53 w 28"/>
                  <a:gd name="T5" fmla="*/ 27 h 41"/>
                  <a:gd name="T6" fmla="*/ 47 w 28"/>
                  <a:gd name="T7" fmla="*/ 57 h 41"/>
                  <a:gd name="T8" fmla="*/ 26 w 28"/>
                  <a:gd name="T9" fmla="*/ 91 h 41"/>
                  <a:gd name="T10" fmla="*/ 20 w 28"/>
                  <a:gd name="T11" fmla="*/ 110 h 41"/>
                  <a:gd name="T12" fmla="*/ 9 w 28"/>
                  <a:gd name="T13" fmla="*/ 105 h 41"/>
                  <a:gd name="T14" fmla="*/ 9 w 28"/>
                  <a:gd name="T15" fmla="*/ 69 h 41"/>
                  <a:gd name="T16" fmla="*/ 9 w 28"/>
                  <a:gd name="T17" fmla="*/ 41 h 41"/>
                  <a:gd name="T18" fmla="*/ 33 w 28"/>
                  <a:gd name="T19" fmla="*/ 9 h 41"/>
                  <a:gd name="T20" fmla="*/ 67 w 28"/>
                  <a:gd name="T21" fmla="*/ 0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41">
                    <a:moveTo>
                      <a:pt x="24" y="0"/>
                    </a:moveTo>
                    <a:cubicBezTo>
                      <a:pt x="28" y="0"/>
                      <a:pt x="28" y="4"/>
                      <a:pt x="27" y="5"/>
                    </a:cubicBezTo>
                    <a:cubicBezTo>
                      <a:pt x="27" y="6"/>
                      <a:pt x="20" y="7"/>
                      <a:pt x="19" y="10"/>
                    </a:cubicBezTo>
                    <a:cubicBezTo>
                      <a:pt x="17" y="13"/>
                      <a:pt x="17" y="18"/>
                      <a:pt x="17" y="21"/>
                    </a:cubicBezTo>
                    <a:cubicBezTo>
                      <a:pt x="18" y="24"/>
                      <a:pt x="9" y="32"/>
                      <a:pt x="9" y="34"/>
                    </a:cubicBezTo>
                    <a:cubicBezTo>
                      <a:pt x="9" y="37"/>
                      <a:pt x="9" y="41"/>
                      <a:pt x="7" y="41"/>
                    </a:cubicBezTo>
                    <a:cubicBezTo>
                      <a:pt x="7" y="41"/>
                      <a:pt x="3" y="39"/>
                      <a:pt x="3" y="39"/>
                    </a:cubicBezTo>
                    <a:cubicBezTo>
                      <a:pt x="2" y="37"/>
                      <a:pt x="3" y="30"/>
                      <a:pt x="3" y="26"/>
                    </a:cubicBezTo>
                    <a:cubicBezTo>
                      <a:pt x="2" y="21"/>
                      <a:pt x="0" y="19"/>
                      <a:pt x="3" y="15"/>
                    </a:cubicBezTo>
                    <a:cubicBezTo>
                      <a:pt x="5" y="11"/>
                      <a:pt x="10" y="5"/>
                      <a:pt x="12" y="3"/>
                    </a:cubicBezTo>
                    <a:cubicBezTo>
                      <a:pt x="14" y="1"/>
                      <a:pt x="19" y="0"/>
                      <a:pt x="24" y="0"/>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3" name="Freeform 100"/>
              <p:cNvSpPr>
                <a:spLocks/>
              </p:cNvSpPr>
              <p:nvPr>
                <p:custDataLst>
                  <p:tags r:id="rId47"/>
                </p:custDataLst>
              </p:nvPr>
            </p:nvSpPr>
            <p:spPr bwMode="auto">
              <a:xfrm>
                <a:off x="4181476" y="5145088"/>
                <a:ext cx="49213" cy="20638"/>
              </a:xfrm>
              <a:custGeom>
                <a:avLst/>
                <a:gdLst>
                  <a:gd name="T0" fmla="*/ 22 w 18"/>
                  <a:gd name="T1" fmla="*/ 0 h 7"/>
                  <a:gd name="T2" fmla="*/ 45 w 18"/>
                  <a:gd name="T3" fmla="*/ 15 h 7"/>
                  <a:gd name="T4" fmla="*/ 24 w 18"/>
                  <a:gd name="T5" fmla="*/ 20 h 7"/>
                  <a:gd name="T6" fmla="*/ 2 w 18"/>
                  <a:gd name="T7" fmla="*/ 11 h 7"/>
                  <a:gd name="T8" fmla="*/ 5 w 18"/>
                  <a:gd name="T9" fmla="*/ 4 h 7"/>
                  <a:gd name="T10" fmla="*/ 22 w 18"/>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7">
                    <a:moveTo>
                      <a:pt x="9" y="0"/>
                    </a:moveTo>
                    <a:cubicBezTo>
                      <a:pt x="11" y="0"/>
                      <a:pt x="18" y="4"/>
                      <a:pt x="18" y="5"/>
                    </a:cubicBezTo>
                    <a:cubicBezTo>
                      <a:pt x="18" y="7"/>
                      <a:pt x="13" y="7"/>
                      <a:pt x="10" y="7"/>
                    </a:cubicBezTo>
                    <a:cubicBezTo>
                      <a:pt x="7" y="7"/>
                      <a:pt x="2" y="5"/>
                      <a:pt x="1" y="4"/>
                    </a:cubicBezTo>
                    <a:cubicBezTo>
                      <a:pt x="0" y="3"/>
                      <a:pt x="1" y="2"/>
                      <a:pt x="2" y="1"/>
                    </a:cubicBezTo>
                    <a:cubicBezTo>
                      <a:pt x="3" y="0"/>
                      <a:pt x="6" y="0"/>
                      <a:pt x="9" y="0"/>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4" name="Freeform 101"/>
              <p:cNvSpPr>
                <a:spLocks/>
              </p:cNvSpPr>
              <p:nvPr>
                <p:custDataLst>
                  <p:tags r:id="rId48"/>
                </p:custDataLst>
              </p:nvPr>
            </p:nvSpPr>
            <p:spPr bwMode="auto">
              <a:xfrm>
                <a:off x="2093913" y="1900238"/>
                <a:ext cx="4756150" cy="3975100"/>
              </a:xfrm>
              <a:custGeom>
                <a:avLst/>
                <a:gdLst>
                  <a:gd name="T0" fmla="*/ 1528 w 1682"/>
                  <a:gd name="T1" fmla="*/ 2965 h 1406"/>
                  <a:gd name="T2" fmla="*/ 1024 w 1682"/>
                  <a:gd name="T3" fmla="*/ 3097 h 1406"/>
                  <a:gd name="T4" fmla="*/ 495 w 1682"/>
                  <a:gd name="T5" fmla="*/ 3480 h 1406"/>
                  <a:gd name="T6" fmla="*/ 0 w 1682"/>
                  <a:gd name="T7" fmla="*/ 3286 h 1406"/>
                  <a:gd name="T8" fmla="*/ 191 w 1682"/>
                  <a:gd name="T9" fmla="*/ 2696 h 1406"/>
                  <a:gd name="T10" fmla="*/ 800 w 1682"/>
                  <a:gd name="T11" fmla="*/ 2670 h 1406"/>
                  <a:gd name="T12" fmla="*/ 670 w 1682"/>
                  <a:gd name="T13" fmla="*/ 2329 h 1406"/>
                  <a:gd name="T14" fmla="*/ 974 w 1682"/>
                  <a:gd name="T15" fmla="*/ 2321 h 1406"/>
                  <a:gd name="T16" fmla="*/ 1366 w 1682"/>
                  <a:gd name="T17" fmla="*/ 2041 h 1406"/>
                  <a:gd name="T18" fmla="*/ 1555 w 1682"/>
                  <a:gd name="T19" fmla="*/ 2021 h 1406"/>
                  <a:gd name="T20" fmla="*/ 1644 w 1682"/>
                  <a:gd name="T21" fmla="*/ 1665 h 1406"/>
                  <a:gd name="T22" fmla="*/ 1683 w 1682"/>
                  <a:gd name="T23" fmla="*/ 1818 h 1406"/>
                  <a:gd name="T24" fmla="*/ 1740 w 1682"/>
                  <a:gd name="T25" fmla="*/ 1979 h 1406"/>
                  <a:gd name="T26" fmla="*/ 2061 w 1682"/>
                  <a:gd name="T27" fmla="*/ 1968 h 1406"/>
                  <a:gd name="T28" fmla="*/ 2408 w 1682"/>
                  <a:gd name="T29" fmla="*/ 1667 h 1406"/>
                  <a:gd name="T30" fmla="*/ 2615 w 1682"/>
                  <a:gd name="T31" fmla="*/ 1466 h 1406"/>
                  <a:gd name="T32" fmla="*/ 2536 w 1682"/>
                  <a:gd name="T33" fmla="*/ 1393 h 1406"/>
                  <a:gd name="T34" fmla="*/ 2330 w 1682"/>
                  <a:gd name="T35" fmla="*/ 1127 h 1406"/>
                  <a:gd name="T36" fmla="*/ 2314 w 1682"/>
                  <a:gd name="T37" fmla="*/ 953 h 1406"/>
                  <a:gd name="T38" fmla="*/ 2189 w 1682"/>
                  <a:gd name="T39" fmla="*/ 1476 h 1406"/>
                  <a:gd name="T40" fmla="*/ 1945 w 1682"/>
                  <a:gd name="T41" fmla="*/ 1863 h 1406"/>
                  <a:gd name="T42" fmla="*/ 1765 w 1682"/>
                  <a:gd name="T43" fmla="*/ 1441 h 1406"/>
                  <a:gd name="T44" fmla="*/ 1576 w 1682"/>
                  <a:gd name="T45" fmla="*/ 1354 h 1406"/>
                  <a:gd name="T46" fmla="*/ 1657 w 1682"/>
                  <a:gd name="T47" fmla="*/ 1254 h 1406"/>
                  <a:gd name="T48" fmla="*/ 1662 w 1682"/>
                  <a:gd name="T49" fmla="*/ 1133 h 1406"/>
                  <a:gd name="T50" fmla="*/ 1881 w 1682"/>
                  <a:gd name="T51" fmla="*/ 1017 h 1406"/>
                  <a:gd name="T52" fmla="*/ 1945 w 1682"/>
                  <a:gd name="T53" fmla="*/ 866 h 1406"/>
                  <a:gd name="T54" fmla="*/ 2034 w 1682"/>
                  <a:gd name="T55" fmla="*/ 712 h 1406"/>
                  <a:gd name="T56" fmla="*/ 2130 w 1682"/>
                  <a:gd name="T57" fmla="*/ 584 h 1406"/>
                  <a:gd name="T58" fmla="*/ 2162 w 1682"/>
                  <a:gd name="T59" fmla="*/ 557 h 1406"/>
                  <a:gd name="T60" fmla="*/ 2362 w 1682"/>
                  <a:gd name="T61" fmla="*/ 427 h 1406"/>
                  <a:gd name="T62" fmla="*/ 2435 w 1682"/>
                  <a:gd name="T63" fmla="*/ 402 h 1406"/>
                  <a:gd name="T64" fmla="*/ 2577 w 1682"/>
                  <a:gd name="T65" fmla="*/ 358 h 1406"/>
                  <a:gd name="T66" fmla="*/ 2700 w 1682"/>
                  <a:gd name="T67" fmla="*/ 459 h 1406"/>
                  <a:gd name="T68" fmla="*/ 2784 w 1682"/>
                  <a:gd name="T69" fmla="*/ 702 h 1406"/>
                  <a:gd name="T70" fmla="*/ 3049 w 1682"/>
                  <a:gd name="T71" fmla="*/ 933 h 1406"/>
                  <a:gd name="T72" fmla="*/ 3138 w 1682"/>
                  <a:gd name="T73" fmla="*/ 645 h 1406"/>
                  <a:gd name="T74" fmla="*/ 3206 w 1682"/>
                  <a:gd name="T75" fmla="*/ 533 h 1406"/>
                  <a:gd name="T76" fmla="*/ 3507 w 1682"/>
                  <a:gd name="T77" fmla="*/ 305 h 1406"/>
                  <a:gd name="T78" fmla="*/ 3890 w 1682"/>
                  <a:gd name="T79" fmla="*/ 16 h 1406"/>
                  <a:gd name="T80" fmla="*/ 4118 w 1682"/>
                  <a:gd name="T81" fmla="*/ 2014 h 1406"/>
                  <a:gd name="T82" fmla="*/ 4270 w 1682"/>
                  <a:gd name="T83" fmla="*/ 2800 h 1406"/>
                  <a:gd name="T84" fmla="*/ 4366 w 1682"/>
                  <a:gd name="T85" fmla="*/ 3065 h 1406"/>
                  <a:gd name="T86" fmla="*/ 3600 w 1682"/>
                  <a:gd name="T87" fmla="*/ 3596 h 1406"/>
                  <a:gd name="T88" fmla="*/ 2996 w 1682"/>
                  <a:gd name="T89" fmla="*/ 3728 h 1406"/>
                  <a:gd name="T90" fmla="*/ 2943 w 1682"/>
                  <a:gd name="T91" fmla="*/ 3321 h 1406"/>
                  <a:gd name="T92" fmla="*/ 3545 w 1682"/>
                  <a:gd name="T93" fmla="*/ 3165 h 1406"/>
                  <a:gd name="T94" fmla="*/ 3464 w 1682"/>
                  <a:gd name="T95" fmla="*/ 2614 h 1406"/>
                  <a:gd name="T96" fmla="*/ 3206 w 1682"/>
                  <a:gd name="T97" fmla="*/ 2890 h 1406"/>
                  <a:gd name="T98" fmla="*/ 2875 w 1682"/>
                  <a:gd name="T99" fmla="*/ 3053 h 1406"/>
                  <a:gd name="T100" fmla="*/ 2642 w 1682"/>
                  <a:gd name="T101" fmla="*/ 3316 h 1406"/>
                  <a:gd name="T102" fmla="*/ 2463 w 1682"/>
                  <a:gd name="T103" fmla="*/ 3418 h 1406"/>
                  <a:gd name="T104" fmla="*/ 2588 w 1682"/>
                  <a:gd name="T105" fmla="*/ 3548 h 1406"/>
                  <a:gd name="T106" fmla="*/ 2522 w 1682"/>
                  <a:gd name="T107" fmla="*/ 3654 h 1406"/>
                  <a:gd name="T108" fmla="*/ 2389 w 1682"/>
                  <a:gd name="T109" fmla="*/ 3703 h 1406"/>
                  <a:gd name="T110" fmla="*/ 2305 w 1682"/>
                  <a:gd name="T111" fmla="*/ 3560 h 1406"/>
                  <a:gd name="T112" fmla="*/ 2039 w 1682"/>
                  <a:gd name="T113" fmla="*/ 3122 h 1406"/>
                  <a:gd name="T114" fmla="*/ 1820 w 1682"/>
                  <a:gd name="T115" fmla="*/ 2828 h 1406"/>
                  <a:gd name="T116" fmla="*/ 2120 w 1682"/>
                  <a:gd name="T117" fmla="*/ 3370 h 1406"/>
                  <a:gd name="T118" fmla="*/ 1974 w 1682"/>
                  <a:gd name="T119" fmla="*/ 3585 h 14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82" h="1406">
                    <a:moveTo>
                      <a:pt x="710" y="1269"/>
                    </a:moveTo>
                    <a:cubicBezTo>
                      <a:pt x="707" y="1269"/>
                      <a:pt x="708" y="1270"/>
                      <a:pt x="705" y="1267"/>
                    </a:cubicBezTo>
                    <a:cubicBezTo>
                      <a:pt x="702" y="1264"/>
                      <a:pt x="697" y="1262"/>
                      <a:pt x="697" y="1258"/>
                    </a:cubicBezTo>
                    <a:cubicBezTo>
                      <a:pt x="697" y="1255"/>
                      <a:pt x="700" y="1255"/>
                      <a:pt x="699" y="1252"/>
                    </a:cubicBezTo>
                    <a:cubicBezTo>
                      <a:pt x="698" y="1249"/>
                      <a:pt x="695" y="1242"/>
                      <a:pt x="693" y="1242"/>
                    </a:cubicBezTo>
                    <a:cubicBezTo>
                      <a:pt x="691" y="1243"/>
                      <a:pt x="683" y="1248"/>
                      <a:pt x="681" y="1245"/>
                    </a:cubicBezTo>
                    <a:cubicBezTo>
                      <a:pt x="679" y="1243"/>
                      <a:pt x="686" y="1241"/>
                      <a:pt x="683" y="1238"/>
                    </a:cubicBezTo>
                    <a:cubicBezTo>
                      <a:pt x="680" y="1235"/>
                      <a:pt x="679" y="1236"/>
                      <a:pt x="676" y="1236"/>
                    </a:cubicBezTo>
                    <a:cubicBezTo>
                      <a:pt x="672" y="1236"/>
                      <a:pt x="673" y="1231"/>
                      <a:pt x="670" y="1226"/>
                    </a:cubicBezTo>
                    <a:cubicBezTo>
                      <a:pt x="668" y="1221"/>
                      <a:pt x="663" y="1218"/>
                      <a:pt x="658" y="1218"/>
                    </a:cubicBezTo>
                    <a:cubicBezTo>
                      <a:pt x="654" y="1217"/>
                      <a:pt x="649" y="1217"/>
                      <a:pt x="648" y="1218"/>
                    </a:cubicBezTo>
                    <a:cubicBezTo>
                      <a:pt x="647" y="1218"/>
                      <a:pt x="646" y="1214"/>
                      <a:pt x="640" y="1211"/>
                    </a:cubicBezTo>
                    <a:cubicBezTo>
                      <a:pt x="635" y="1207"/>
                      <a:pt x="630" y="1203"/>
                      <a:pt x="627" y="1197"/>
                    </a:cubicBezTo>
                    <a:cubicBezTo>
                      <a:pt x="624" y="1192"/>
                      <a:pt x="610" y="1173"/>
                      <a:pt x="608" y="1172"/>
                    </a:cubicBezTo>
                    <a:cubicBezTo>
                      <a:pt x="606" y="1171"/>
                      <a:pt x="594" y="1156"/>
                      <a:pt x="592" y="1153"/>
                    </a:cubicBezTo>
                    <a:cubicBezTo>
                      <a:pt x="588" y="1150"/>
                      <a:pt x="584" y="1152"/>
                      <a:pt x="583" y="1148"/>
                    </a:cubicBezTo>
                    <a:cubicBezTo>
                      <a:pt x="582" y="1143"/>
                      <a:pt x="586" y="1140"/>
                      <a:pt x="584" y="1132"/>
                    </a:cubicBezTo>
                    <a:cubicBezTo>
                      <a:pt x="582" y="1123"/>
                      <a:pt x="583" y="1112"/>
                      <a:pt x="580" y="1108"/>
                    </a:cubicBezTo>
                    <a:cubicBezTo>
                      <a:pt x="576" y="1105"/>
                      <a:pt x="571" y="1107"/>
                      <a:pt x="568" y="1103"/>
                    </a:cubicBezTo>
                    <a:cubicBezTo>
                      <a:pt x="565" y="1098"/>
                      <a:pt x="559" y="1093"/>
                      <a:pt x="554" y="1090"/>
                    </a:cubicBezTo>
                    <a:cubicBezTo>
                      <a:pt x="550" y="1088"/>
                      <a:pt x="546" y="1086"/>
                      <a:pt x="542" y="1087"/>
                    </a:cubicBezTo>
                    <a:cubicBezTo>
                      <a:pt x="538" y="1088"/>
                      <a:pt x="538" y="1089"/>
                      <a:pt x="534" y="1094"/>
                    </a:cubicBezTo>
                    <a:cubicBezTo>
                      <a:pt x="530" y="1098"/>
                      <a:pt x="529" y="1100"/>
                      <a:pt x="526" y="1102"/>
                    </a:cubicBezTo>
                    <a:cubicBezTo>
                      <a:pt x="522" y="1104"/>
                      <a:pt x="512" y="1105"/>
                      <a:pt x="508" y="1106"/>
                    </a:cubicBezTo>
                    <a:cubicBezTo>
                      <a:pt x="504" y="1106"/>
                      <a:pt x="491" y="1113"/>
                      <a:pt x="488" y="1115"/>
                    </a:cubicBezTo>
                    <a:cubicBezTo>
                      <a:pt x="484" y="1117"/>
                      <a:pt x="484" y="1120"/>
                      <a:pt x="482" y="1123"/>
                    </a:cubicBezTo>
                    <a:cubicBezTo>
                      <a:pt x="479" y="1125"/>
                      <a:pt x="470" y="1125"/>
                      <a:pt x="467" y="1125"/>
                    </a:cubicBezTo>
                    <a:cubicBezTo>
                      <a:pt x="464" y="1125"/>
                      <a:pt x="450" y="1118"/>
                      <a:pt x="448" y="1116"/>
                    </a:cubicBezTo>
                    <a:cubicBezTo>
                      <a:pt x="446" y="1114"/>
                      <a:pt x="452" y="1109"/>
                      <a:pt x="446" y="1109"/>
                    </a:cubicBezTo>
                    <a:cubicBezTo>
                      <a:pt x="440" y="1109"/>
                      <a:pt x="433" y="1107"/>
                      <a:pt x="429" y="1107"/>
                    </a:cubicBezTo>
                    <a:cubicBezTo>
                      <a:pt x="423" y="1108"/>
                      <a:pt x="431" y="1105"/>
                      <a:pt x="427" y="1102"/>
                    </a:cubicBezTo>
                    <a:cubicBezTo>
                      <a:pt x="425" y="1100"/>
                      <a:pt x="419" y="1097"/>
                      <a:pt x="411" y="1099"/>
                    </a:cubicBezTo>
                    <a:cubicBezTo>
                      <a:pt x="404" y="1102"/>
                      <a:pt x="400" y="1100"/>
                      <a:pt x="392" y="1105"/>
                    </a:cubicBezTo>
                    <a:cubicBezTo>
                      <a:pt x="382" y="1110"/>
                      <a:pt x="382" y="1121"/>
                      <a:pt x="382" y="1125"/>
                    </a:cubicBezTo>
                    <a:cubicBezTo>
                      <a:pt x="383" y="1129"/>
                      <a:pt x="380" y="1131"/>
                      <a:pt x="384" y="1133"/>
                    </a:cubicBezTo>
                    <a:cubicBezTo>
                      <a:pt x="389" y="1135"/>
                      <a:pt x="389" y="1135"/>
                      <a:pt x="388" y="1138"/>
                    </a:cubicBezTo>
                    <a:cubicBezTo>
                      <a:pt x="388" y="1140"/>
                      <a:pt x="381" y="1138"/>
                      <a:pt x="381" y="1141"/>
                    </a:cubicBezTo>
                    <a:cubicBezTo>
                      <a:pt x="381" y="1145"/>
                      <a:pt x="386" y="1151"/>
                      <a:pt x="381" y="1152"/>
                    </a:cubicBezTo>
                    <a:cubicBezTo>
                      <a:pt x="377" y="1154"/>
                      <a:pt x="355" y="1159"/>
                      <a:pt x="352" y="1162"/>
                    </a:cubicBezTo>
                    <a:cubicBezTo>
                      <a:pt x="350" y="1165"/>
                      <a:pt x="346" y="1168"/>
                      <a:pt x="344" y="1168"/>
                    </a:cubicBezTo>
                    <a:cubicBezTo>
                      <a:pt x="341" y="1168"/>
                      <a:pt x="318" y="1168"/>
                      <a:pt x="315" y="1169"/>
                    </a:cubicBezTo>
                    <a:cubicBezTo>
                      <a:pt x="312" y="1171"/>
                      <a:pt x="306" y="1173"/>
                      <a:pt x="305" y="1175"/>
                    </a:cubicBezTo>
                    <a:cubicBezTo>
                      <a:pt x="304" y="1176"/>
                      <a:pt x="313" y="1178"/>
                      <a:pt x="311" y="1180"/>
                    </a:cubicBezTo>
                    <a:cubicBezTo>
                      <a:pt x="310" y="1182"/>
                      <a:pt x="302" y="1184"/>
                      <a:pt x="300" y="1185"/>
                    </a:cubicBezTo>
                    <a:cubicBezTo>
                      <a:pt x="298" y="1185"/>
                      <a:pt x="296" y="1185"/>
                      <a:pt x="293" y="1188"/>
                    </a:cubicBezTo>
                    <a:cubicBezTo>
                      <a:pt x="290" y="1192"/>
                      <a:pt x="269" y="1208"/>
                      <a:pt x="266" y="1215"/>
                    </a:cubicBezTo>
                    <a:cubicBezTo>
                      <a:pt x="263" y="1222"/>
                      <a:pt x="264" y="1230"/>
                      <a:pt x="265" y="1234"/>
                    </a:cubicBezTo>
                    <a:cubicBezTo>
                      <a:pt x="266" y="1238"/>
                      <a:pt x="271" y="1240"/>
                      <a:pt x="273" y="1242"/>
                    </a:cubicBezTo>
                    <a:cubicBezTo>
                      <a:pt x="275" y="1243"/>
                      <a:pt x="275" y="1245"/>
                      <a:pt x="275" y="1247"/>
                    </a:cubicBezTo>
                    <a:cubicBezTo>
                      <a:pt x="275" y="1248"/>
                      <a:pt x="268" y="1251"/>
                      <a:pt x="263" y="1252"/>
                    </a:cubicBezTo>
                    <a:cubicBezTo>
                      <a:pt x="259" y="1252"/>
                      <a:pt x="256" y="1251"/>
                      <a:pt x="251" y="1256"/>
                    </a:cubicBezTo>
                    <a:cubicBezTo>
                      <a:pt x="246" y="1260"/>
                      <a:pt x="243" y="1263"/>
                      <a:pt x="241" y="1268"/>
                    </a:cubicBezTo>
                    <a:cubicBezTo>
                      <a:pt x="238" y="1273"/>
                      <a:pt x="240" y="1278"/>
                      <a:pt x="238" y="1280"/>
                    </a:cubicBezTo>
                    <a:cubicBezTo>
                      <a:pt x="236" y="1281"/>
                      <a:pt x="222" y="1276"/>
                      <a:pt x="219" y="1277"/>
                    </a:cubicBezTo>
                    <a:cubicBezTo>
                      <a:pt x="216" y="1278"/>
                      <a:pt x="207" y="1281"/>
                      <a:pt x="204" y="1284"/>
                    </a:cubicBezTo>
                    <a:cubicBezTo>
                      <a:pt x="202" y="1288"/>
                      <a:pt x="193" y="1302"/>
                      <a:pt x="188" y="1301"/>
                    </a:cubicBezTo>
                    <a:cubicBezTo>
                      <a:pt x="183" y="1300"/>
                      <a:pt x="188" y="1294"/>
                      <a:pt x="184" y="1294"/>
                    </a:cubicBezTo>
                    <a:cubicBezTo>
                      <a:pt x="180" y="1294"/>
                      <a:pt x="178" y="1292"/>
                      <a:pt x="176" y="1295"/>
                    </a:cubicBezTo>
                    <a:cubicBezTo>
                      <a:pt x="173" y="1298"/>
                      <a:pt x="167" y="1298"/>
                      <a:pt x="166" y="1296"/>
                    </a:cubicBezTo>
                    <a:cubicBezTo>
                      <a:pt x="164" y="1295"/>
                      <a:pt x="166" y="1293"/>
                      <a:pt x="162" y="1291"/>
                    </a:cubicBezTo>
                    <a:cubicBezTo>
                      <a:pt x="157" y="1289"/>
                      <a:pt x="129" y="1280"/>
                      <a:pt x="125" y="1281"/>
                    </a:cubicBezTo>
                    <a:cubicBezTo>
                      <a:pt x="122" y="1282"/>
                      <a:pt x="116" y="1287"/>
                      <a:pt x="113" y="1285"/>
                    </a:cubicBezTo>
                    <a:cubicBezTo>
                      <a:pt x="110" y="1284"/>
                      <a:pt x="104" y="1283"/>
                      <a:pt x="100" y="1284"/>
                    </a:cubicBezTo>
                    <a:cubicBezTo>
                      <a:pt x="94" y="1285"/>
                      <a:pt x="94" y="1292"/>
                      <a:pt x="91" y="1292"/>
                    </a:cubicBezTo>
                    <a:cubicBezTo>
                      <a:pt x="88" y="1292"/>
                      <a:pt x="84" y="1296"/>
                      <a:pt x="82" y="1293"/>
                    </a:cubicBezTo>
                    <a:cubicBezTo>
                      <a:pt x="80" y="1290"/>
                      <a:pt x="80" y="1287"/>
                      <a:pt x="79" y="1285"/>
                    </a:cubicBezTo>
                    <a:cubicBezTo>
                      <a:pt x="78" y="1282"/>
                      <a:pt x="71" y="1287"/>
                      <a:pt x="70" y="1282"/>
                    </a:cubicBezTo>
                    <a:cubicBezTo>
                      <a:pt x="70" y="1277"/>
                      <a:pt x="68" y="1263"/>
                      <a:pt x="68" y="1261"/>
                    </a:cubicBezTo>
                    <a:cubicBezTo>
                      <a:pt x="68" y="1259"/>
                      <a:pt x="70" y="1257"/>
                      <a:pt x="70" y="1255"/>
                    </a:cubicBezTo>
                    <a:cubicBezTo>
                      <a:pt x="70" y="1253"/>
                      <a:pt x="61" y="1241"/>
                      <a:pt x="58" y="1239"/>
                    </a:cubicBezTo>
                    <a:cubicBezTo>
                      <a:pt x="56" y="1237"/>
                      <a:pt x="44" y="1234"/>
                      <a:pt x="40" y="1235"/>
                    </a:cubicBezTo>
                    <a:cubicBezTo>
                      <a:pt x="36" y="1235"/>
                      <a:pt x="31" y="1239"/>
                      <a:pt x="29" y="1238"/>
                    </a:cubicBezTo>
                    <a:cubicBezTo>
                      <a:pt x="26" y="1236"/>
                      <a:pt x="28" y="1233"/>
                      <a:pt x="18" y="1229"/>
                    </a:cubicBezTo>
                    <a:cubicBezTo>
                      <a:pt x="9" y="1225"/>
                      <a:pt x="10" y="1225"/>
                      <a:pt x="7" y="1225"/>
                    </a:cubicBezTo>
                    <a:cubicBezTo>
                      <a:pt x="4" y="1225"/>
                      <a:pt x="2" y="1225"/>
                      <a:pt x="1" y="1225"/>
                    </a:cubicBezTo>
                    <a:cubicBezTo>
                      <a:pt x="0" y="1225"/>
                      <a:pt x="0" y="1224"/>
                      <a:pt x="0" y="1222"/>
                    </a:cubicBezTo>
                    <a:cubicBezTo>
                      <a:pt x="1" y="1219"/>
                      <a:pt x="4" y="1219"/>
                      <a:pt x="7" y="1215"/>
                    </a:cubicBezTo>
                    <a:cubicBezTo>
                      <a:pt x="10" y="1212"/>
                      <a:pt x="15" y="1201"/>
                      <a:pt x="15" y="1199"/>
                    </a:cubicBezTo>
                    <a:cubicBezTo>
                      <a:pt x="16" y="1196"/>
                      <a:pt x="15" y="1192"/>
                      <a:pt x="17" y="1189"/>
                    </a:cubicBezTo>
                    <a:cubicBezTo>
                      <a:pt x="18" y="1187"/>
                      <a:pt x="24" y="1178"/>
                      <a:pt x="21" y="1175"/>
                    </a:cubicBezTo>
                    <a:cubicBezTo>
                      <a:pt x="18" y="1171"/>
                      <a:pt x="13" y="1175"/>
                      <a:pt x="11" y="1173"/>
                    </a:cubicBezTo>
                    <a:cubicBezTo>
                      <a:pt x="9" y="1170"/>
                      <a:pt x="15" y="1166"/>
                      <a:pt x="14" y="1164"/>
                    </a:cubicBezTo>
                    <a:cubicBezTo>
                      <a:pt x="12" y="1161"/>
                      <a:pt x="6" y="1163"/>
                      <a:pt x="6" y="1159"/>
                    </a:cubicBezTo>
                    <a:cubicBezTo>
                      <a:pt x="6" y="1155"/>
                      <a:pt x="18" y="1144"/>
                      <a:pt x="18" y="1142"/>
                    </a:cubicBezTo>
                    <a:cubicBezTo>
                      <a:pt x="18" y="1140"/>
                      <a:pt x="16" y="1138"/>
                      <a:pt x="17" y="1136"/>
                    </a:cubicBezTo>
                    <a:cubicBezTo>
                      <a:pt x="18" y="1134"/>
                      <a:pt x="23" y="1137"/>
                      <a:pt x="28" y="1133"/>
                    </a:cubicBezTo>
                    <a:cubicBezTo>
                      <a:pt x="32" y="1128"/>
                      <a:pt x="58" y="1091"/>
                      <a:pt x="58" y="1086"/>
                    </a:cubicBezTo>
                    <a:cubicBezTo>
                      <a:pt x="59" y="1082"/>
                      <a:pt x="64" y="1054"/>
                      <a:pt x="65" y="1051"/>
                    </a:cubicBezTo>
                    <a:cubicBezTo>
                      <a:pt x="66" y="1047"/>
                      <a:pt x="73" y="1045"/>
                      <a:pt x="74" y="1042"/>
                    </a:cubicBezTo>
                    <a:cubicBezTo>
                      <a:pt x="75" y="1040"/>
                      <a:pt x="69" y="1039"/>
                      <a:pt x="69" y="1037"/>
                    </a:cubicBezTo>
                    <a:cubicBezTo>
                      <a:pt x="70" y="1034"/>
                      <a:pt x="76" y="1034"/>
                      <a:pt x="76" y="1029"/>
                    </a:cubicBezTo>
                    <a:cubicBezTo>
                      <a:pt x="76" y="1025"/>
                      <a:pt x="68" y="1031"/>
                      <a:pt x="68" y="1028"/>
                    </a:cubicBezTo>
                    <a:cubicBezTo>
                      <a:pt x="68" y="1025"/>
                      <a:pt x="72" y="1018"/>
                      <a:pt x="71" y="1015"/>
                    </a:cubicBezTo>
                    <a:cubicBezTo>
                      <a:pt x="71" y="1013"/>
                      <a:pt x="64" y="1016"/>
                      <a:pt x="66" y="1012"/>
                    </a:cubicBezTo>
                    <a:cubicBezTo>
                      <a:pt x="68" y="1009"/>
                      <a:pt x="69" y="1004"/>
                      <a:pt x="71" y="1003"/>
                    </a:cubicBezTo>
                    <a:cubicBezTo>
                      <a:pt x="74" y="1002"/>
                      <a:pt x="75" y="1007"/>
                      <a:pt x="77" y="1006"/>
                    </a:cubicBezTo>
                    <a:cubicBezTo>
                      <a:pt x="80" y="1006"/>
                      <a:pt x="83" y="1003"/>
                      <a:pt x="84" y="1003"/>
                    </a:cubicBezTo>
                    <a:cubicBezTo>
                      <a:pt x="84" y="1003"/>
                      <a:pt x="88" y="1006"/>
                      <a:pt x="91" y="1006"/>
                    </a:cubicBezTo>
                    <a:cubicBezTo>
                      <a:pt x="94" y="1006"/>
                      <a:pt x="98" y="1007"/>
                      <a:pt x="98" y="1006"/>
                    </a:cubicBezTo>
                    <a:cubicBezTo>
                      <a:pt x="99" y="1005"/>
                      <a:pt x="96" y="1000"/>
                      <a:pt x="99" y="999"/>
                    </a:cubicBezTo>
                    <a:cubicBezTo>
                      <a:pt x="102" y="998"/>
                      <a:pt x="108" y="997"/>
                      <a:pt x="113" y="997"/>
                    </a:cubicBezTo>
                    <a:cubicBezTo>
                      <a:pt x="118" y="997"/>
                      <a:pt x="123" y="1004"/>
                      <a:pt x="124" y="1005"/>
                    </a:cubicBezTo>
                    <a:cubicBezTo>
                      <a:pt x="126" y="1007"/>
                      <a:pt x="126" y="1012"/>
                      <a:pt x="128" y="1012"/>
                    </a:cubicBezTo>
                    <a:cubicBezTo>
                      <a:pt x="130" y="1012"/>
                      <a:pt x="152" y="1021"/>
                      <a:pt x="154" y="1021"/>
                    </a:cubicBezTo>
                    <a:cubicBezTo>
                      <a:pt x="157" y="1021"/>
                      <a:pt x="159" y="1018"/>
                      <a:pt x="162" y="1019"/>
                    </a:cubicBezTo>
                    <a:cubicBezTo>
                      <a:pt x="165" y="1020"/>
                      <a:pt x="163" y="1025"/>
                      <a:pt x="165" y="1026"/>
                    </a:cubicBezTo>
                    <a:cubicBezTo>
                      <a:pt x="168" y="1026"/>
                      <a:pt x="194" y="1043"/>
                      <a:pt x="202" y="1043"/>
                    </a:cubicBezTo>
                    <a:cubicBezTo>
                      <a:pt x="211" y="1043"/>
                      <a:pt x="215" y="1043"/>
                      <a:pt x="218" y="1045"/>
                    </a:cubicBezTo>
                    <a:cubicBezTo>
                      <a:pt x="221" y="1046"/>
                      <a:pt x="224" y="1056"/>
                      <a:pt x="226" y="1057"/>
                    </a:cubicBezTo>
                    <a:cubicBezTo>
                      <a:pt x="229" y="1057"/>
                      <a:pt x="232" y="1052"/>
                      <a:pt x="234" y="1053"/>
                    </a:cubicBezTo>
                    <a:cubicBezTo>
                      <a:pt x="237" y="1053"/>
                      <a:pt x="245" y="1061"/>
                      <a:pt x="248" y="1062"/>
                    </a:cubicBezTo>
                    <a:cubicBezTo>
                      <a:pt x="251" y="1064"/>
                      <a:pt x="262" y="1065"/>
                      <a:pt x="266" y="1064"/>
                    </a:cubicBezTo>
                    <a:cubicBezTo>
                      <a:pt x="271" y="1062"/>
                      <a:pt x="285" y="1034"/>
                      <a:pt x="287" y="1025"/>
                    </a:cubicBezTo>
                    <a:cubicBezTo>
                      <a:pt x="289" y="1017"/>
                      <a:pt x="296" y="993"/>
                      <a:pt x="297" y="993"/>
                    </a:cubicBezTo>
                    <a:cubicBezTo>
                      <a:pt x="298" y="992"/>
                      <a:pt x="305" y="1001"/>
                      <a:pt x="305" y="1003"/>
                    </a:cubicBezTo>
                    <a:cubicBezTo>
                      <a:pt x="305" y="1005"/>
                      <a:pt x="305" y="1009"/>
                      <a:pt x="308" y="1009"/>
                    </a:cubicBezTo>
                    <a:cubicBezTo>
                      <a:pt x="310" y="1009"/>
                      <a:pt x="310" y="1005"/>
                      <a:pt x="310" y="1001"/>
                    </a:cubicBezTo>
                    <a:cubicBezTo>
                      <a:pt x="310" y="998"/>
                      <a:pt x="310" y="994"/>
                      <a:pt x="306" y="991"/>
                    </a:cubicBezTo>
                    <a:cubicBezTo>
                      <a:pt x="304" y="988"/>
                      <a:pt x="301" y="983"/>
                      <a:pt x="300" y="981"/>
                    </a:cubicBezTo>
                    <a:cubicBezTo>
                      <a:pt x="297" y="979"/>
                      <a:pt x="296" y="976"/>
                      <a:pt x="298" y="974"/>
                    </a:cubicBezTo>
                    <a:cubicBezTo>
                      <a:pt x="300" y="972"/>
                      <a:pt x="306" y="980"/>
                      <a:pt x="307" y="978"/>
                    </a:cubicBezTo>
                    <a:cubicBezTo>
                      <a:pt x="308" y="976"/>
                      <a:pt x="309" y="971"/>
                      <a:pt x="305" y="965"/>
                    </a:cubicBezTo>
                    <a:cubicBezTo>
                      <a:pt x="301" y="959"/>
                      <a:pt x="294" y="958"/>
                      <a:pt x="293" y="953"/>
                    </a:cubicBezTo>
                    <a:cubicBezTo>
                      <a:pt x="292" y="948"/>
                      <a:pt x="287" y="943"/>
                      <a:pt x="287" y="939"/>
                    </a:cubicBezTo>
                    <a:cubicBezTo>
                      <a:pt x="286" y="935"/>
                      <a:pt x="294" y="935"/>
                      <a:pt x="294" y="931"/>
                    </a:cubicBezTo>
                    <a:cubicBezTo>
                      <a:pt x="293" y="927"/>
                      <a:pt x="295" y="925"/>
                      <a:pt x="290" y="922"/>
                    </a:cubicBezTo>
                    <a:cubicBezTo>
                      <a:pt x="286" y="919"/>
                      <a:pt x="284" y="918"/>
                      <a:pt x="284" y="915"/>
                    </a:cubicBezTo>
                    <a:cubicBezTo>
                      <a:pt x="285" y="906"/>
                      <a:pt x="263" y="891"/>
                      <a:pt x="256" y="888"/>
                    </a:cubicBezTo>
                    <a:cubicBezTo>
                      <a:pt x="253" y="887"/>
                      <a:pt x="248" y="888"/>
                      <a:pt x="246" y="888"/>
                    </a:cubicBezTo>
                    <a:cubicBezTo>
                      <a:pt x="244" y="887"/>
                      <a:pt x="248" y="880"/>
                      <a:pt x="245" y="879"/>
                    </a:cubicBezTo>
                    <a:cubicBezTo>
                      <a:pt x="242" y="877"/>
                      <a:pt x="235" y="878"/>
                      <a:pt x="236" y="873"/>
                    </a:cubicBezTo>
                    <a:cubicBezTo>
                      <a:pt x="236" y="870"/>
                      <a:pt x="250" y="874"/>
                      <a:pt x="250" y="871"/>
                    </a:cubicBezTo>
                    <a:cubicBezTo>
                      <a:pt x="250" y="867"/>
                      <a:pt x="250" y="866"/>
                      <a:pt x="249" y="866"/>
                    </a:cubicBezTo>
                    <a:cubicBezTo>
                      <a:pt x="248" y="865"/>
                      <a:pt x="242" y="866"/>
                      <a:pt x="242" y="862"/>
                    </a:cubicBezTo>
                    <a:cubicBezTo>
                      <a:pt x="242" y="858"/>
                      <a:pt x="244" y="856"/>
                      <a:pt x="248" y="855"/>
                    </a:cubicBezTo>
                    <a:cubicBezTo>
                      <a:pt x="252" y="854"/>
                      <a:pt x="262" y="855"/>
                      <a:pt x="264" y="856"/>
                    </a:cubicBezTo>
                    <a:cubicBezTo>
                      <a:pt x="266" y="857"/>
                      <a:pt x="268" y="861"/>
                      <a:pt x="272" y="861"/>
                    </a:cubicBezTo>
                    <a:cubicBezTo>
                      <a:pt x="276" y="861"/>
                      <a:pt x="274" y="856"/>
                      <a:pt x="276" y="855"/>
                    </a:cubicBezTo>
                    <a:cubicBezTo>
                      <a:pt x="278" y="855"/>
                      <a:pt x="284" y="855"/>
                      <a:pt x="288" y="857"/>
                    </a:cubicBezTo>
                    <a:cubicBezTo>
                      <a:pt x="290" y="859"/>
                      <a:pt x="292" y="873"/>
                      <a:pt x="294" y="873"/>
                    </a:cubicBezTo>
                    <a:cubicBezTo>
                      <a:pt x="296" y="873"/>
                      <a:pt x="305" y="872"/>
                      <a:pt x="307" y="872"/>
                    </a:cubicBezTo>
                    <a:cubicBezTo>
                      <a:pt x="309" y="872"/>
                      <a:pt x="326" y="880"/>
                      <a:pt x="326" y="878"/>
                    </a:cubicBezTo>
                    <a:cubicBezTo>
                      <a:pt x="327" y="876"/>
                      <a:pt x="323" y="873"/>
                      <a:pt x="324" y="867"/>
                    </a:cubicBezTo>
                    <a:cubicBezTo>
                      <a:pt x="326" y="861"/>
                      <a:pt x="326" y="860"/>
                      <a:pt x="326" y="857"/>
                    </a:cubicBezTo>
                    <a:cubicBezTo>
                      <a:pt x="325" y="853"/>
                      <a:pt x="321" y="852"/>
                      <a:pt x="321" y="847"/>
                    </a:cubicBezTo>
                    <a:cubicBezTo>
                      <a:pt x="322" y="841"/>
                      <a:pt x="324" y="841"/>
                      <a:pt x="322" y="839"/>
                    </a:cubicBezTo>
                    <a:cubicBezTo>
                      <a:pt x="320" y="836"/>
                      <a:pt x="324" y="835"/>
                      <a:pt x="326" y="834"/>
                    </a:cubicBezTo>
                    <a:cubicBezTo>
                      <a:pt x="326" y="833"/>
                      <a:pt x="329" y="839"/>
                      <a:pt x="333" y="839"/>
                    </a:cubicBezTo>
                    <a:cubicBezTo>
                      <a:pt x="337" y="839"/>
                      <a:pt x="340" y="838"/>
                      <a:pt x="340" y="841"/>
                    </a:cubicBezTo>
                    <a:cubicBezTo>
                      <a:pt x="340" y="845"/>
                      <a:pt x="336" y="852"/>
                      <a:pt x="339" y="853"/>
                    </a:cubicBezTo>
                    <a:cubicBezTo>
                      <a:pt x="342" y="854"/>
                      <a:pt x="349" y="856"/>
                      <a:pt x="352" y="857"/>
                    </a:cubicBezTo>
                    <a:cubicBezTo>
                      <a:pt x="354" y="859"/>
                      <a:pt x="358" y="863"/>
                      <a:pt x="362" y="863"/>
                    </a:cubicBezTo>
                    <a:cubicBezTo>
                      <a:pt x="365" y="863"/>
                      <a:pt x="372" y="863"/>
                      <a:pt x="373" y="861"/>
                    </a:cubicBezTo>
                    <a:cubicBezTo>
                      <a:pt x="374" y="859"/>
                      <a:pt x="367" y="857"/>
                      <a:pt x="368" y="855"/>
                    </a:cubicBezTo>
                    <a:cubicBezTo>
                      <a:pt x="370" y="852"/>
                      <a:pt x="371" y="851"/>
                      <a:pt x="374" y="850"/>
                    </a:cubicBezTo>
                    <a:cubicBezTo>
                      <a:pt x="377" y="849"/>
                      <a:pt x="382" y="847"/>
                      <a:pt x="385" y="847"/>
                    </a:cubicBezTo>
                    <a:cubicBezTo>
                      <a:pt x="388" y="847"/>
                      <a:pt x="396" y="848"/>
                      <a:pt x="400" y="846"/>
                    </a:cubicBezTo>
                    <a:cubicBezTo>
                      <a:pt x="404" y="844"/>
                      <a:pt x="410" y="839"/>
                      <a:pt x="411" y="831"/>
                    </a:cubicBezTo>
                    <a:cubicBezTo>
                      <a:pt x="412" y="824"/>
                      <a:pt x="414" y="818"/>
                      <a:pt x="416" y="816"/>
                    </a:cubicBezTo>
                    <a:cubicBezTo>
                      <a:pt x="417" y="814"/>
                      <a:pt x="421" y="814"/>
                      <a:pt x="424" y="814"/>
                    </a:cubicBezTo>
                    <a:cubicBezTo>
                      <a:pt x="428" y="814"/>
                      <a:pt x="438" y="814"/>
                      <a:pt x="442" y="813"/>
                    </a:cubicBezTo>
                    <a:cubicBezTo>
                      <a:pt x="447" y="811"/>
                      <a:pt x="452" y="809"/>
                      <a:pt x="455" y="808"/>
                    </a:cubicBezTo>
                    <a:cubicBezTo>
                      <a:pt x="458" y="808"/>
                      <a:pt x="461" y="809"/>
                      <a:pt x="462" y="810"/>
                    </a:cubicBezTo>
                    <a:cubicBezTo>
                      <a:pt x="463" y="811"/>
                      <a:pt x="470" y="813"/>
                      <a:pt x="471" y="811"/>
                    </a:cubicBezTo>
                    <a:cubicBezTo>
                      <a:pt x="472" y="810"/>
                      <a:pt x="465" y="803"/>
                      <a:pt x="465" y="802"/>
                    </a:cubicBezTo>
                    <a:cubicBezTo>
                      <a:pt x="465" y="800"/>
                      <a:pt x="475" y="797"/>
                      <a:pt x="480" y="791"/>
                    </a:cubicBezTo>
                    <a:cubicBezTo>
                      <a:pt x="482" y="788"/>
                      <a:pt x="494" y="780"/>
                      <a:pt x="496" y="774"/>
                    </a:cubicBezTo>
                    <a:cubicBezTo>
                      <a:pt x="498" y="768"/>
                      <a:pt x="502" y="758"/>
                      <a:pt x="502" y="757"/>
                    </a:cubicBezTo>
                    <a:cubicBezTo>
                      <a:pt x="502" y="756"/>
                      <a:pt x="504" y="750"/>
                      <a:pt x="505" y="750"/>
                    </a:cubicBezTo>
                    <a:cubicBezTo>
                      <a:pt x="506" y="749"/>
                      <a:pt x="509" y="748"/>
                      <a:pt x="509" y="751"/>
                    </a:cubicBezTo>
                    <a:cubicBezTo>
                      <a:pt x="509" y="755"/>
                      <a:pt x="508" y="757"/>
                      <a:pt x="508" y="759"/>
                    </a:cubicBezTo>
                    <a:cubicBezTo>
                      <a:pt x="508" y="760"/>
                      <a:pt x="510" y="761"/>
                      <a:pt x="512" y="764"/>
                    </a:cubicBezTo>
                    <a:cubicBezTo>
                      <a:pt x="512" y="767"/>
                      <a:pt x="514" y="770"/>
                      <a:pt x="512" y="771"/>
                    </a:cubicBezTo>
                    <a:cubicBezTo>
                      <a:pt x="510" y="772"/>
                      <a:pt x="507" y="771"/>
                      <a:pt x="507" y="772"/>
                    </a:cubicBezTo>
                    <a:cubicBezTo>
                      <a:pt x="507" y="773"/>
                      <a:pt x="504" y="778"/>
                      <a:pt x="505" y="780"/>
                    </a:cubicBezTo>
                    <a:cubicBezTo>
                      <a:pt x="506" y="781"/>
                      <a:pt x="506" y="781"/>
                      <a:pt x="508" y="781"/>
                    </a:cubicBezTo>
                    <a:cubicBezTo>
                      <a:pt x="509" y="781"/>
                      <a:pt x="520" y="775"/>
                      <a:pt x="520" y="774"/>
                    </a:cubicBezTo>
                    <a:cubicBezTo>
                      <a:pt x="521" y="774"/>
                      <a:pt x="524" y="766"/>
                      <a:pt x="523" y="765"/>
                    </a:cubicBezTo>
                    <a:cubicBezTo>
                      <a:pt x="523" y="764"/>
                      <a:pt x="517" y="765"/>
                      <a:pt x="517" y="763"/>
                    </a:cubicBezTo>
                    <a:cubicBezTo>
                      <a:pt x="517" y="761"/>
                      <a:pt x="519" y="752"/>
                      <a:pt x="521" y="751"/>
                    </a:cubicBezTo>
                    <a:cubicBezTo>
                      <a:pt x="522" y="750"/>
                      <a:pt x="530" y="747"/>
                      <a:pt x="532" y="747"/>
                    </a:cubicBezTo>
                    <a:cubicBezTo>
                      <a:pt x="535" y="747"/>
                      <a:pt x="539" y="748"/>
                      <a:pt x="542" y="748"/>
                    </a:cubicBezTo>
                    <a:cubicBezTo>
                      <a:pt x="546" y="748"/>
                      <a:pt x="548" y="745"/>
                      <a:pt x="550" y="747"/>
                    </a:cubicBezTo>
                    <a:cubicBezTo>
                      <a:pt x="552" y="749"/>
                      <a:pt x="548" y="758"/>
                      <a:pt x="559" y="757"/>
                    </a:cubicBezTo>
                    <a:cubicBezTo>
                      <a:pt x="562" y="757"/>
                      <a:pt x="564" y="755"/>
                      <a:pt x="561" y="753"/>
                    </a:cubicBezTo>
                    <a:cubicBezTo>
                      <a:pt x="558" y="751"/>
                      <a:pt x="556" y="751"/>
                      <a:pt x="557" y="749"/>
                    </a:cubicBezTo>
                    <a:cubicBezTo>
                      <a:pt x="558" y="746"/>
                      <a:pt x="560" y="743"/>
                      <a:pt x="561" y="743"/>
                    </a:cubicBezTo>
                    <a:cubicBezTo>
                      <a:pt x="562" y="742"/>
                      <a:pt x="577" y="742"/>
                      <a:pt x="578" y="743"/>
                    </a:cubicBezTo>
                    <a:cubicBezTo>
                      <a:pt x="579" y="743"/>
                      <a:pt x="581" y="747"/>
                      <a:pt x="580" y="748"/>
                    </a:cubicBezTo>
                    <a:cubicBezTo>
                      <a:pt x="580" y="750"/>
                      <a:pt x="577" y="751"/>
                      <a:pt x="578" y="752"/>
                    </a:cubicBezTo>
                    <a:cubicBezTo>
                      <a:pt x="578" y="754"/>
                      <a:pt x="581" y="757"/>
                      <a:pt x="583" y="756"/>
                    </a:cubicBezTo>
                    <a:cubicBezTo>
                      <a:pt x="593" y="753"/>
                      <a:pt x="586" y="745"/>
                      <a:pt x="587" y="744"/>
                    </a:cubicBezTo>
                    <a:cubicBezTo>
                      <a:pt x="588" y="743"/>
                      <a:pt x="594" y="738"/>
                      <a:pt x="594" y="739"/>
                    </a:cubicBezTo>
                    <a:cubicBezTo>
                      <a:pt x="596" y="739"/>
                      <a:pt x="598" y="743"/>
                      <a:pt x="600" y="743"/>
                    </a:cubicBezTo>
                    <a:cubicBezTo>
                      <a:pt x="602" y="743"/>
                      <a:pt x="606" y="743"/>
                      <a:pt x="607" y="742"/>
                    </a:cubicBezTo>
                    <a:cubicBezTo>
                      <a:pt x="607" y="740"/>
                      <a:pt x="599" y="735"/>
                      <a:pt x="599" y="733"/>
                    </a:cubicBezTo>
                    <a:cubicBezTo>
                      <a:pt x="599" y="731"/>
                      <a:pt x="604" y="731"/>
                      <a:pt x="603" y="729"/>
                    </a:cubicBezTo>
                    <a:cubicBezTo>
                      <a:pt x="602" y="727"/>
                      <a:pt x="599" y="725"/>
                      <a:pt x="597" y="725"/>
                    </a:cubicBezTo>
                    <a:cubicBezTo>
                      <a:pt x="595" y="724"/>
                      <a:pt x="594" y="724"/>
                      <a:pt x="595" y="722"/>
                    </a:cubicBezTo>
                    <a:cubicBezTo>
                      <a:pt x="596" y="720"/>
                      <a:pt x="603" y="719"/>
                      <a:pt x="604" y="718"/>
                    </a:cubicBezTo>
                    <a:cubicBezTo>
                      <a:pt x="605" y="717"/>
                      <a:pt x="601" y="709"/>
                      <a:pt x="600" y="706"/>
                    </a:cubicBezTo>
                    <a:cubicBezTo>
                      <a:pt x="599" y="704"/>
                      <a:pt x="598" y="702"/>
                      <a:pt x="599" y="700"/>
                    </a:cubicBezTo>
                    <a:cubicBezTo>
                      <a:pt x="600" y="697"/>
                      <a:pt x="604" y="685"/>
                      <a:pt x="602" y="683"/>
                    </a:cubicBezTo>
                    <a:cubicBezTo>
                      <a:pt x="599" y="681"/>
                      <a:pt x="593" y="680"/>
                      <a:pt x="592" y="677"/>
                    </a:cubicBezTo>
                    <a:cubicBezTo>
                      <a:pt x="591" y="675"/>
                      <a:pt x="591" y="673"/>
                      <a:pt x="591" y="673"/>
                    </a:cubicBezTo>
                    <a:cubicBezTo>
                      <a:pt x="592" y="673"/>
                      <a:pt x="595" y="670"/>
                      <a:pt x="595" y="666"/>
                    </a:cubicBezTo>
                    <a:cubicBezTo>
                      <a:pt x="595" y="662"/>
                      <a:pt x="597" y="644"/>
                      <a:pt x="598" y="640"/>
                    </a:cubicBezTo>
                    <a:cubicBezTo>
                      <a:pt x="599" y="637"/>
                      <a:pt x="604" y="629"/>
                      <a:pt x="605" y="627"/>
                    </a:cubicBezTo>
                    <a:cubicBezTo>
                      <a:pt x="606" y="625"/>
                      <a:pt x="609" y="620"/>
                      <a:pt x="611" y="619"/>
                    </a:cubicBezTo>
                    <a:cubicBezTo>
                      <a:pt x="613" y="619"/>
                      <a:pt x="616" y="622"/>
                      <a:pt x="617" y="621"/>
                    </a:cubicBezTo>
                    <a:cubicBezTo>
                      <a:pt x="619" y="621"/>
                      <a:pt x="624" y="621"/>
                      <a:pt x="626" y="621"/>
                    </a:cubicBezTo>
                    <a:cubicBezTo>
                      <a:pt x="631" y="619"/>
                      <a:pt x="637" y="609"/>
                      <a:pt x="638" y="607"/>
                    </a:cubicBezTo>
                    <a:cubicBezTo>
                      <a:pt x="640" y="606"/>
                      <a:pt x="644" y="607"/>
                      <a:pt x="645" y="607"/>
                    </a:cubicBezTo>
                    <a:cubicBezTo>
                      <a:pt x="647" y="607"/>
                      <a:pt x="651" y="602"/>
                      <a:pt x="653" y="602"/>
                    </a:cubicBezTo>
                    <a:cubicBezTo>
                      <a:pt x="655" y="602"/>
                      <a:pt x="658" y="602"/>
                      <a:pt x="658" y="604"/>
                    </a:cubicBezTo>
                    <a:cubicBezTo>
                      <a:pt x="658" y="606"/>
                      <a:pt x="652" y="608"/>
                      <a:pt x="652" y="610"/>
                    </a:cubicBezTo>
                    <a:cubicBezTo>
                      <a:pt x="652" y="612"/>
                      <a:pt x="653" y="620"/>
                      <a:pt x="652" y="622"/>
                    </a:cubicBezTo>
                    <a:cubicBezTo>
                      <a:pt x="651" y="624"/>
                      <a:pt x="648" y="627"/>
                      <a:pt x="646" y="630"/>
                    </a:cubicBezTo>
                    <a:cubicBezTo>
                      <a:pt x="644" y="634"/>
                      <a:pt x="644" y="643"/>
                      <a:pt x="645" y="645"/>
                    </a:cubicBezTo>
                    <a:cubicBezTo>
                      <a:pt x="646" y="647"/>
                      <a:pt x="646" y="648"/>
                      <a:pt x="649" y="648"/>
                    </a:cubicBezTo>
                    <a:cubicBezTo>
                      <a:pt x="651" y="648"/>
                      <a:pt x="653" y="648"/>
                      <a:pt x="655" y="649"/>
                    </a:cubicBezTo>
                    <a:cubicBezTo>
                      <a:pt x="656" y="650"/>
                      <a:pt x="656" y="655"/>
                      <a:pt x="655" y="656"/>
                    </a:cubicBezTo>
                    <a:cubicBezTo>
                      <a:pt x="654" y="658"/>
                      <a:pt x="649" y="663"/>
                      <a:pt x="649" y="663"/>
                    </a:cubicBezTo>
                    <a:cubicBezTo>
                      <a:pt x="648" y="663"/>
                      <a:pt x="645" y="660"/>
                      <a:pt x="644" y="659"/>
                    </a:cubicBezTo>
                    <a:cubicBezTo>
                      <a:pt x="642" y="657"/>
                      <a:pt x="640" y="660"/>
                      <a:pt x="640" y="664"/>
                    </a:cubicBezTo>
                    <a:cubicBezTo>
                      <a:pt x="640" y="668"/>
                      <a:pt x="639" y="670"/>
                      <a:pt x="638" y="672"/>
                    </a:cubicBezTo>
                    <a:cubicBezTo>
                      <a:pt x="637" y="673"/>
                      <a:pt x="634" y="676"/>
                      <a:pt x="632" y="676"/>
                    </a:cubicBezTo>
                    <a:cubicBezTo>
                      <a:pt x="629" y="675"/>
                      <a:pt x="627" y="674"/>
                      <a:pt x="626" y="676"/>
                    </a:cubicBezTo>
                    <a:cubicBezTo>
                      <a:pt x="626" y="678"/>
                      <a:pt x="627" y="682"/>
                      <a:pt x="628" y="683"/>
                    </a:cubicBezTo>
                    <a:cubicBezTo>
                      <a:pt x="629" y="684"/>
                      <a:pt x="631" y="684"/>
                      <a:pt x="633" y="683"/>
                    </a:cubicBezTo>
                    <a:cubicBezTo>
                      <a:pt x="635" y="682"/>
                      <a:pt x="639" y="679"/>
                      <a:pt x="640" y="681"/>
                    </a:cubicBezTo>
                    <a:cubicBezTo>
                      <a:pt x="642" y="682"/>
                      <a:pt x="648" y="688"/>
                      <a:pt x="648" y="691"/>
                    </a:cubicBezTo>
                    <a:cubicBezTo>
                      <a:pt x="648" y="694"/>
                      <a:pt x="646" y="701"/>
                      <a:pt x="644" y="701"/>
                    </a:cubicBezTo>
                    <a:cubicBezTo>
                      <a:pt x="642" y="701"/>
                      <a:pt x="638" y="703"/>
                      <a:pt x="636" y="701"/>
                    </a:cubicBezTo>
                    <a:cubicBezTo>
                      <a:pt x="634" y="699"/>
                      <a:pt x="630" y="695"/>
                      <a:pt x="629" y="693"/>
                    </a:cubicBezTo>
                    <a:cubicBezTo>
                      <a:pt x="628" y="691"/>
                      <a:pt x="629" y="689"/>
                      <a:pt x="628" y="688"/>
                    </a:cubicBezTo>
                    <a:cubicBezTo>
                      <a:pt x="626" y="687"/>
                      <a:pt x="623" y="687"/>
                      <a:pt x="623" y="688"/>
                    </a:cubicBezTo>
                    <a:cubicBezTo>
                      <a:pt x="622" y="689"/>
                      <a:pt x="621" y="695"/>
                      <a:pt x="620" y="697"/>
                    </a:cubicBezTo>
                    <a:cubicBezTo>
                      <a:pt x="620" y="698"/>
                      <a:pt x="627" y="702"/>
                      <a:pt x="628" y="704"/>
                    </a:cubicBezTo>
                    <a:cubicBezTo>
                      <a:pt x="629" y="707"/>
                      <a:pt x="629" y="711"/>
                      <a:pt x="628" y="714"/>
                    </a:cubicBezTo>
                    <a:cubicBezTo>
                      <a:pt x="627" y="716"/>
                      <a:pt x="622" y="719"/>
                      <a:pt x="626" y="721"/>
                    </a:cubicBezTo>
                    <a:cubicBezTo>
                      <a:pt x="629" y="722"/>
                      <a:pt x="639" y="726"/>
                      <a:pt x="639" y="728"/>
                    </a:cubicBezTo>
                    <a:cubicBezTo>
                      <a:pt x="640" y="729"/>
                      <a:pt x="644" y="728"/>
                      <a:pt x="645" y="727"/>
                    </a:cubicBezTo>
                    <a:cubicBezTo>
                      <a:pt x="646" y="726"/>
                      <a:pt x="648" y="722"/>
                      <a:pt x="649" y="722"/>
                    </a:cubicBezTo>
                    <a:cubicBezTo>
                      <a:pt x="650" y="722"/>
                      <a:pt x="656" y="725"/>
                      <a:pt x="654" y="727"/>
                    </a:cubicBezTo>
                    <a:cubicBezTo>
                      <a:pt x="653" y="729"/>
                      <a:pt x="650" y="729"/>
                      <a:pt x="650" y="731"/>
                    </a:cubicBezTo>
                    <a:cubicBezTo>
                      <a:pt x="650" y="733"/>
                      <a:pt x="649" y="736"/>
                      <a:pt x="647" y="736"/>
                    </a:cubicBezTo>
                    <a:cubicBezTo>
                      <a:pt x="645" y="737"/>
                      <a:pt x="641" y="737"/>
                      <a:pt x="641" y="739"/>
                    </a:cubicBezTo>
                    <a:cubicBezTo>
                      <a:pt x="641" y="744"/>
                      <a:pt x="648" y="741"/>
                      <a:pt x="649" y="743"/>
                    </a:cubicBezTo>
                    <a:cubicBezTo>
                      <a:pt x="651" y="744"/>
                      <a:pt x="652" y="746"/>
                      <a:pt x="655" y="745"/>
                    </a:cubicBezTo>
                    <a:cubicBezTo>
                      <a:pt x="657" y="744"/>
                      <a:pt x="659" y="738"/>
                      <a:pt x="661" y="738"/>
                    </a:cubicBezTo>
                    <a:cubicBezTo>
                      <a:pt x="662" y="738"/>
                      <a:pt x="670" y="738"/>
                      <a:pt x="671" y="737"/>
                    </a:cubicBezTo>
                    <a:cubicBezTo>
                      <a:pt x="672" y="736"/>
                      <a:pt x="678" y="729"/>
                      <a:pt x="680" y="728"/>
                    </a:cubicBezTo>
                    <a:cubicBezTo>
                      <a:pt x="681" y="728"/>
                      <a:pt x="693" y="734"/>
                      <a:pt x="694" y="732"/>
                    </a:cubicBezTo>
                    <a:cubicBezTo>
                      <a:pt x="696" y="730"/>
                      <a:pt x="694" y="727"/>
                      <a:pt x="695" y="726"/>
                    </a:cubicBezTo>
                    <a:cubicBezTo>
                      <a:pt x="696" y="725"/>
                      <a:pt x="699" y="721"/>
                      <a:pt x="700" y="722"/>
                    </a:cubicBezTo>
                    <a:cubicBezTo>
                      <a:pt x="702" y="723"/>
                      <a:pt x="706" y="726"/>
                      <a:pt x="705" y="728"/>
                    </a:cubicBezTo>
                    <a:cubicBezTo>
                      <a:pt x="704" y="731"/>
                      <a:pt x="703" y="732"/>
                      <a:pt x="705" y="733"/>
                    </a:cubicBezTo>
                    <a:cubicBezTo>
                      <a:pt x="707" y="735"/>
                      <a:pt x="708" y="738"/>
                      <a:pt x="706" y="738"/>
                    </a:cubicBezTo>
                    <a:cubicBezTo>
                      <a:pt x="704" y="737"/>
                      <a:pt x="697" y="735"/>
                      <a:pt x="697" y="737"/>
                    </a:cubicBezTo>
                    <a:cubicBezTo>
                      <a:pt x="696" y="740"/>
                      <a:pt x="698" y="744"/>
                      <a:pt x="699" y="744"/>
                    </a:cubicBezTo>
                    <a:cubicBezTo>
                      <a:pt x="700" y="745"/>
                      <a:pt x="706" y="744"/>
                      <a:pt x="707" y="745"/>
                    </a:cubicBezTo>
                    <a:cubicBezTo>
                      <a:pt x="708" y="746"/>
                      <a:pt x="713" y="750"/>
                      <a:pt x="715" y="751"/>
                    </a:cubicBezTo>
                    <a:cubicBezTo>
                      <a:pt x="717" y="752"/>
                      <a:pt x="719" y="749"/>
                      <a:pt x="723" y="749"/>
                    </a:cubicBezTo>
                    <a:cubicBezTo>
                      <a:pt x="727" y="749"/>
                      <a:pt x="752" y="742"/>
                      <a:pt x="755" y="742"/>
                    </a:cubicBezTo>
                    <a:cubicBezTo>
                      <a:pt x="758" y="742"/>
                      <a:pt x="763" y="732"/>
                      <a:pt x="766" y="732"/>
                    </a:cubicBezTo>
                    <a:cubicBezTo>
                      <a:pt x="770" y="731"/>
                      <a:pt x="773" y="731"/>
                      <a:pt x="775" y="730"/>
                    </a:cubicBezTo>
                    <a:cubicBezTo>
                      <a:pt x="777" y="730"/>
                      <a:pt x="781" y="724"/>
                      <a:pt x="784" y="724"/>
                    </a:cubicBezTo>
                    <a:cubicBezTo>
                      <a:pt x="787" y="724"/>
                      <a:pt x="802" y="721"/>
                      <a:pt x="806" y="723"/>
                    </a:cubicBezTo>
                    <a:cubicBezTo>
                      <a:pt x="809" y="724"/>
                      <a:pt x="808" y="725"/>
                      <a:pt x="808" y="728"/>
                    </a:cubicBezTo>
                    <a:cubicBezTo>
                      <a:pt x="809" y="730"/>
                      <a:pt x="809" y="737"/>
                      <a:pt x="811" y="738"/>
                    </a:cubicBezTo>
                    <a:cubicBezTo>
                      <a:pt x="813" y="738"/>
                      <a:pt x="820" y="742"/>
                      <a:pt x="824" y="741"/>
                    </a:cubicBezTo>
                    <a:cubicBezTo>
                      <a:pt x="828" y="740"/>
                      <a:pt x="840" y="731"/>
                      <a:pt x="840" y="728"/>
                    </a:cubicBezTo>
                    <a:cubicBezTo>
                      <a:pt x="841" y="726"/>
                      <a:pt x="838" y="719"/>
                      <a:pt x="841" y="718"/>
                    </a:cubicBezTo>
                    <a:cubicBezTo>
                      <a:pt x="844" y="717"/>
                      <a:pt x="850" y="720"/>
                      <a:pt x="855" y="715"/>
                    </a:cubicBezTo>
                    <a:cubicBezTo>
                      <a:pt x="860" y="710"/>
                      <a:pt x="864" y="702"/>
                      <a:pt x="864" y="697"/>
                    </a:cubicBezTo>
                    <a:cubicBezTo>
                      <a:pt x="864" y="693"/>
                      <a:pt x="864" y="687"/>
                      <a:pt x="863" y="681"/>
                    </a:cubicBezTo>
                    <a:cubicBezTo>
                      <a:pt x="862" y="674"/>
                      <a:pt x="860" y="668"/>
                      <a:pt x="860" y="664"/>
                    </a:cubicBezTo>
                    <a:cubicBezTo>
                      <a:pt x="860" y="660"/>
                      <a:pt x="861" y="652"/>
                      <a:pt x="862" y="649"/>
                    </a:cubicBezTo>
                    <a:cubicBezTo>
                      <a:pt x="864" y="646"/>
                      <a:pt x="868" y="644"/>
                      <a:pt x="869" y="642"/>
                    </a:cubicBezTo>
                    <a:cubicBezTo>
                      <a:pt x="869" y="640"/>
                      <a:pt x="869" y="633"/>
                      <a:pt x="870" y="631"/>
                    </a:cubicBezTo>
                    <a:cubicBezTo>
                      <a:pt x="872" y="628"/>
                      <a:pt x="872" y="623"/>
                      <a:pt x="875" y="621"/>
                    </a:cubicBezTo>
                    <a:cubicBezTo>
                      <a:pt x="878" y="620"/>
                      <a:pt x="881" y="619"/>
                      <a:pt x="882" y="619"/>
                    </a:cubicBezTo>
                    <a:cubicBezTo>
                      <a:pt x="883" y="618"/>
                      <a:pt x="891" y="611"/>
                      <a:pt x="893" y="613"/>
                    </a:cubicBezTo>
                    <a:cubicBezTo>
                      <a:pt x="895" y="614"/>
                      <a:pt x="893" y="619"/>
                      <a:pt x="895" y="620"/>
                    </a:cubicBezTo>
                    <a:cubicBezTo>
                      <a:pt x="897" y="621"/>
                      <a:pt x="903" y="625"/>
                      <a:pt x="904" y="628"/>
                    </a:cubicBezTo>
                    <a:cubicBezTo>
                      <a:pt x="905" y="630"/>
                      <a:pt x="905" y="636"/>
                      <a:pt x="908" y="638"/>
                    </a:cubicBezTo>
                    <a:cubicBezTo>
                      <a:pt x="912" y="641"/>
                      <a:pt x="914" y="642"/>
                      <a:pt x="919" y="641"/>
                    </a:cubicBezTo>
                    <a:cubicBezTo>
                      <a:pt x="923" y="639"/>
                      <a:pt x="930" y="635"/>
                      <a:pt x="930" y="630"/>
                    </a:cubicBezTo>
                    <a:cubicBezTo>
                      <a:pt x="930" y="626"/>
                      <a:pt x="927" y="617"/>
                      <a:pt x="927" y="612"/>
                    </a:cubicBezTo>
                    <a:cubicBezTo>
                      <a:pt x="927" y="606"/>
                      <a:pt x="928" y="604"/>
                      <a:pt x="929" y="600"/>
                    </a:cubicBezTo>
                    <a:cubicBezTo>
                      <a:pt x="930" y="595"/>
                      <a:pt x="932" y="592"/>
                      <a:pt x="930" y="590"/>
                    </a:cubicBezTo>
                    <a:cubicBezTo>
                      <a:pt x="929" y="589"/>
                      <a:pt x="925" y="585"/>
                      <a:pt x="923" y="587"/>
                    </a:cubicBezTo>
                    <a:cubicBezTo>
                      <a:pt x="922" y="590"/>
                      <a:pt x="923" y="596"/>
                      <a:pt x="919" y="595"/>
                    </a:cubicBezTo>
                    <a:cubicBezTo>
                      <a:pt x="915" y="594"/>
                      <a:pt x="914" y="591"/>
                      <a:pt x="914" y="589"/>
                    </a:cubicBezTo>
                    <a:cubicBezTo>
                      <a:pt x="914" y="588"/>
                      <a:pt x="913" y="585"/>
                      <a:pt x="912" y="584"/>
                    </a:cubicBezTo>
                    <a:cubicBezTo>
                      <a:pt x="910" y="582"/>
                      <a:pt x="906" y="567"/>
                      <a:pt x="907" y="566"/>
                    </a:cubicBezTo>
                    <a:cubicBezTo>
                      <a:pt x="907" y="564"/>
                      <a:pt x="907" y="560"/>
                      <a:pt x="908" y="559"/>
                    </a:cubicBezTo>
                    <a:cubicBezTo>
                      <a:pt x="910" y="557"/>
                      <a:pt x="916" y="558"/>
                      <a:pt x="918" y="556"/>
                    </a:cubicBezTo>
                    <a:cubicBezTo>
                      <a:pt x="921" y="554"/>
                      <a:pt x="919" y="549"/>
                      <a:pt x="924" y="549"/>
                    </a:cubicBezTo>
                    <a:cubicBezTo>
                      <a:pt x="929" y="549"/>
                      <a:pt x="939" y="549"/>
                      <a:pt x="942" y="548"/>
                    </a:cubicBezTo>
                    <a:cubicBezTo>
                      <a:pt x="945" y="547"/>
                      <a:pt x="943" y="541"/>
                      <a:pt x="946" y="540"/>
                    </a:cubicBezTo>
                    <a:cubicBezTo>
                      <a:pt x="948" y="540"/>
                      <a:pt x="951" y="541"/>
                      <a:pt x="954" y="541"/>
                    </a:cubicBezTo>
                    <a:cubicBezTo>
                      <a:pt x="957" y="542"/>
                      <a:pt x="968" y="545"/>
                      <a:pt x="972" y="545"/>
                    </a:cubicBezTo>
                    <a:cubicBezTo>
                      <a:pt x="975" y="545"/>
                      <a:pt x="989" y="547"/>
                      <a:pt x="991" y="545"/>
                    </a:cubicBezTo>
                    <a:cubicBezTo>
                      <a:pt x="997" y="540"/>
                      <a:pt x="988" y="535"/>
                      <a:pt x="991" y="532"/>
                    </a:cubicBezTo>
                    <a:cubicBezTo>
                      <a:pt x="993" y="529"/>
                      <a:pt x="1000" y="528"/>
                      <a:pt x="1001" y="528"/>
                    </a:cubicBezTo>
                    <a:cubicBezTo>
                      <a:pt x="1002" y="528"/>
                      <a:pt x="1008" y="530"/>
                      <a:pt x="1009" y="527"/>
                    </a:cubicBezTo>
                    <a:cubicBezTo>
                      <a:pt x="1010" y="524"/>
                      <a:pt x="1009" y="522"/>
                      <a:pt x="1012" y="522"/>
                    </a:cubicBezTo>
                    <a:cubicBezTo>
                      <a:pt x="1014" y="523"/>
                      <a:pt x="1028" y="527"/>
                      <a:pt x="1030" y="526"/>
                    </a:cubicBezTo>
                    <a:cubicBezTo>
                      <a:pt x="1032" y="526"/>
                      <a:pt x="1033" y="519"/>
                      <a:pt x="1032" y="518"/>
                    </a:cubicBezTo>
                    <a:cubicBezTo>
                      <a:pt x="1031" y="517"/>
                      <a:pt x="1026" y="518"/>
                      <a:pt x="1026" y="517"/>
                    </a:cubicBezTo>
                    <a:cubicBezTo>
                      <a:pt x="1026" y="515"/>
                      <a:pt x="1026" y="511"/>
                      <a:pt x="1022" y="511"/>
                    </a:cubicBezTo>
                    <a:cubicBezTo>
                      <a:pt x="1019" y="511"/>
                      <a:pt x="1013" y="516"/>
                      <a:pt x="1009" y="514"/>
                    </a:cubicBezTo>
                    <a:cubicBezTo>
                      <a:pt x="1005" y="512"/>
                      <a:pt x="1001" y="510"/>
                      <a:pt x="999" y="508"/>
                    </a:cubicBezTo>
                    <a:cubicBezTo>
                      <a:pt x="998" y="505"/>
                      <a:pt x="1002" y="498"/>
                      <a:pt x="1000" y="496"/>
                    </a:cubicBezTo>
                    <a:cubicBezTo>
                      <a:pt x="999" y="493"/>
                      <a:pt x="995" y="496"/>
                      <a:pt x="993" y="498"/>
                    </a:cubicBezTo>
                    <a:cubicBezTo>
                      <a:pt x="991" y="500"/>
                      <a:pt x="991" y="504"/>
                      <a:pt x="987" y="505"/>
                    </a:cubicBezTo>
                    <a:cubicBezTo>
                      <a:pt x="983" y="506"/>
                      <a:pt x="981" y="506"/>
                      <a:pt x="978" y="506"/>
                    </a:cubicBezTo>
                    <a:cubicBezTo>
                      <a:pt x="974" y="505"/>
                      <a:pt x="972" y="501"/>
                      <a:pt x="968" y="504"/>
                    </a:cubicBezTo>
                    <a:cubicBezTo>
                      <a:pt x="966" y="505"/>
                      <a:pt x="963" y="511"/>
                      <a:pt x="961" y="512"/>
                    </a:cubicBezTo>
                    <a:cubicBezTo>
                      <a:pt x="959" y="514"/>
                      <a:pt x="954" y="519"/>
                      <a:pt x="951" y="519"/>
                    </a:cubicBezTo>
                    <a:cubicBezTo>
                      <a:pt x="948" y="518"/>
                      <a:pt x="944" y="518"/>
                      <a:pt x="943" y="518"/>
                    </a:cubicBezTo>
                    <a:cubicBezTo>
                      <a:pt x="941" y="518"/>
                      <a:pt x="933" y="522"/>
                      <a:pt x="932" y="524"/>
                    </a:cubicBezTo>
                    <a:cubicBezTo>
                      <a:pt x="931" y="526"/>
                      <a:pt x="926" y="532"/>
                      <a:pt x="923" y="531"/>
                    </a:cubicBezTo>
                    <a:cubicBezTo>
                      <a:pt x="921" y="531"/>
                      <a:pt x="921" y="527"/>
                      <a:pt x="919" y="527"/>
                    </a:cubicBezTo>
                    <a:cubicBezTo>
                      <a:pt x="917" y="528"/>
                      <a:pt x="910" y="532"/>
                      <a:pt x="907" y="534"/>
                    </a:cubicBezTo>
                    <a:cubicBezTo>
                      <a:pt x="904" y="536"/>
                      <a:pt x="897" y="539"/>
                      <a:pt x="896" y="537"/>
                    </a:cubicBezTo>
                    <a:cubicBezTo>
                      <a:pt x="895" y="536"/>
                      <a:pt x="899" y="527"/>
                      <a:pt x="896" y="529"/>
                    </a:cubicBezTo>
                    <a:cubicBezTo>
                      <a:pt x="894" y="530"/>
                      <a:pt x="886" y="534"/>
                      <a:pt x="885" y="532"/>
                    </a:cubicBezTo>
                    <a:cubicBezTo>
                      <a:pt x="883" y="530"/>
                      <a:pt x="887" y="527"/>
                      <a:pt x="883" y="527"/>
                    </a:cubicBezTo>
                    <a:cubicBezTo>
                      <a:pt x="880" y="527"/>
                      <a:pt x="872" y="530"/>
                      <a:pt x="869" y="528"/>
                    </a:cubicBezTo>
                    <a:cubicBezTo>
                      <a:pt x="865" y="526"/>
                      <a:pt x="874" y="525"/>
                      <a:pt x="873" y="521"/>
                    </a:cubicBezTo>
                    <a:cubicBezTo>
                      <a:pt x="872" y="517"/>
                      <a:pt x="870" y="516"/>
                      <a:pt x="866" y="513"/>
                    </a:cubicBezTo>
                    <a:cubicBezTo>
                      <a:pt x="863" y="510"/>
                      <a:pt x="864" y="509"/>
                      <a:pt x="864" y="506"/>
                    </a:cubicBezTo>
                    <a:cubicBezTo>
                      <a:pt x="863" y="502"/>
                      <a:pt x="861" y="499"/>
                      <a:pt x="863" y="496"/>
                    </a:cubicBezTo>
                    <a:cubicBezTo>
                      <a:pt x="866" y="492"/>
                      <a:pt x="868" y="482"/>
                      <a:pt x="868" y="479"/>
                    </a:cubicBezTo>
                    <a:cubicBezTo>
                      <a:pt x="868" y="476"/>
                      <a:pt x="867" y="465"/>
                      <a:pt x="865" y="462"/>
                    </a:cubicBezTo>
                    <a:cubicBezTo>
                      <a:pt x="863" y="459"/>
                      <a:pt x="861" y="458"/>
                      <a:pt x="862" y="455"/>
                    </a:cubicBezTo>
                    <a:cubicBezTo>
                      <a:pt x="864" y="451"/>
                      <a:pt x="866" y="450"/>
                      <a:pt x="864" y="447"/>
                    </a:cubicBezTo>
                    <a:cubicBezTo>
                      <a:pt x="863" y="444"/>
                      <a:pt x="858" y="431"/>
                      <a:pt x="860" y="428"/>
                    </a:cubicBezTo>
                    <a:cubicBezTo>
                      <a:pt x="863" y="424"/>
                      <a:pt x="866" y="422"/>
                      <a:pt x="866" y="419"/>
                    </a:cubicBezTo>
                    <a:cubicBezTo>
                      <a:pt x="866" y="417"/>
                      <a:pt x="858" y="414"/>
                      <a:pt x="861" y="409"/>
                    </a:cubicBezTo>
                    <a:cubicBezTo>
                      <a:pt x="864" y="404"/>
                      <a:pt x="878" y="414"/>
                      <a:pt x="879" y="411"/>
                    </a:cubicBezTo>
                    <a:cubicBezTo>
                      <a:pt x="883" y="405"/>
                      <a:pt x="877" y="404"/>
                      <a:pt x="878" y="400"/>
                    </a:cubicBezTo>
                    <a:cubicBezTo>
                      <a:pt x="880" y="396"/>
                      <a:pt x="884" y="388"/>
                      <a:pt x="887" y="386"/>
                    </a:cubicBezTo>
                    <a:cubicBezTo>
                      <a:pt x="891" y="385"/>
                      <a:pt x="900" y="379"/>
                      <a:pt x="902" y="376"/>
                    </a:cubicBezTo>
                    <a:cubicBezTo>
                      <a:pt x="903" y="373"/>
                      <a:pt x="912" y="353"/>
                      <a:pt x="914" y="351"/>
                    </a:cubicBezTo>
                    <a:cubicBezTo>
                      <a:pt x="916" y="349"/>
                      <a:pt x="923" y="349"/>
                      <a:pt x="925" y="350"/>
                    </a:cubicBezTo>
                    <a:cubicBezTo>
                      <a:pt x="926" y="351"/>
                      <a:pt x="927" y="348"/>
                      <a:pt x="927" y="344"/>
                    </a:cubicBezTo>
                    <a:cubicBezTo>
                      <a:pt x="926" y="340"/>
                      <a:pt x="921" y="340"/>
                      <a:pt x="922" y="338"/>
                    </a:cubicBezTo>
                    <a:cubicBezTo>
                      <a:pt x="924" y="335"/>
                      <a:pt x="925" y="328"/>
                      <a:pt x="921" y="325"/>
                    </a:cubicBezTo>
                    <a:cubicBezTo>
                      <a:pt x="917" y="321"/>
                      <a:pt x="908" y="316"/>
                      <a:pt x="904" y="316"/>
                    </a:cubicBezTo>
                    <a:cubicBezTo>
                      <a:pt x="898" y="317"/>
                      <a:pt x="892" y="317"/>
                      <a:pt x="890" y="319"/>
                    </a:cubicBezTo>
                    <a:cubicBezTo>
                      <a:pt x="887" y="321"/>
                      <a:pt x="888" y="322"/>
                      <a:pt x="885" y="320"/>
                    </a:cubicBezTo>
                    <a:cubicBezTo>
                      <a:pt x="883" y="318"/>
                      <a:pt x="879" y="314"/>
                      <a:pt x="878" y="316"/>
                    </a:cubicBezTo>
                    <a:cubicBezTo>
                      <a:pt x="876" y="318"/>
                      <a:pt x="879" y="328"/>
                      <a:pt x="877" y="330"/>
                    </a:cubicBezTo>
                    <a:cubicBezTo>
                      <a:pt x="876" y="331"/>
                      <a:pt x="868" y="332"/>
                      <a:pt x="867" y="333"/>
                    </a:cubicBezTo>
                    <a:cubicBezTo>
                      <a:pt x="865" y="334"/>
                      <a:pt x="861" y="335"/>
                      <a:pt x="863" y="338"/>
                    </a:cubicBezTo>
                    <a:cubicBezTo>
                      <a:pt x="865" y="342"/>
                      <a:pt x="868" y="342"/>
                      <a:pt x="866" y="344"/>
                    </a:cubicBezTo>
                    <a:cubicBezTo>
                      <a:pt x="864" y="347"/>
                      <a:pt x="858" y="352"/>
                      <a:pt x="860" y="354"/>
                    </a:cubicBezTo>
                    <a:cubicBezTo>
                      <a:pt x="862" y="357"/>
                      <a:pt x="867" y="365"/>
                      <a:pt x="866" y="368"/>
                    </a:cubicBezTo>
                    <a:cubicBezTo>
                      <a:pt x="866" y="371"/>
                      <a:pt x="860" y="374"/>
                      <a:pt x="858" y="379"/>
                    </a:cubicBezTo>
                    <a:cubicBezTo>
                      <a:pt x="856" y="383"/>
                      <a:pt x="852" y="393"/>
                      <a:pt x="850" y="395"/>
                    </a:cubicBezTo>
                    <a:cubicBezTo>
                      <a:pt x="847" y="397"/>
                      <a:pt x="838" y="403"/>
                      <a:pt x="835" y="404"/>
                    </a:cubicBezTo>
                    <a:cubicBezTo>
                      <a:pt x="832" y="405"/>
                      <a:pt x="828" y="410"/>
                      <a:pt x="825" y="411"/>
                    </a:cubicBezTo>
                    <a:cubicBezTo>
                      <a:pt x="823" y="413"/>
                      <a:pt x="820" y="417"/>
                      <a:pt x="817" y="420"/>
                    </a:cubicBezTo>
                    <a:cubicBezTo>
                      <a:pt x="815" y="424"/>
                      <a:pt x="805" y="437"/>
                      <a:pt x="805" y="438"/>
                    </a:cubicBezTo>
                    <a:cubicBezTo>
                      <a:pt x="804" y="440"/>
                      <a:pt x="797" y="435"/>
                      <a:pt x="797" y="442"/>
                    </a:cubicBezTo>
                    <a:cubicBezTo>
                      <a:pt x="796" y="444"/>
                      <a:pt x="801" y="448"/>
                      <a:pt x="799" y="450"/>
                    </a:cubicBezTo>
                    <a:cubicBezTo>
                      <a:pt x="798" y="453"/>
                      <a:pt x="796" y="466"/>
                      <a:pt x="794" y="470"/>
                    </a:cubicBezTo>
                    <a:cubicBezTo>
                      <a:pt x="793" y="475"/>
                      <a:pt x="790" y="488"/>
                      <a:pt x="790" y="493"/>
                    </a:cubicBezTo>
                    <a:cubicBezTo>
                      <a:pt x="790" y="498"/>
                      <a:pt x="791" y="503"/>
                      <a:pt x="793" y="504"/>
                    </a:cubicBezTo>
                    <a:cubicBezTo>
                      <a:pt x="794" y="506"/>
                      <a:pt x="796" y="509"/>
                      <a:pt x="799" y="509"/>
                    </a:cubicBezTo>
                    <a:cubicBezTo>
                      <a:pt x="801" y="509"/>
                      <a:pt x="804" y="507"/>
                      <a:pt x="806" y="508"/>
                    </a:cubicBezTo>
                    <a:cubicBezTo>
                      <a:pt x="806" y="509"/>
                      <a:pt x="807" y="514"/>
                      <a:pt x="809" y="516"/>
                    </a:cubicBezTo>
                    <a:cubicBezTo>
                      <a:pt x="812" y="517"/>
                      <a:pt x="814" y="518"/>
                      <a:pt x="818" y="522"/>
                    </a:cubicBezTo>
                    <a:cubicBezTo>
                      <a:pt x="820" y="525"/>
                      <a:pt x="821" y="532"/>
                      <a:pt x="822" y="533"/>
                    </a:cubicBezTo>
                    <a:cubicBezTo>
                      <a:pt x="824" y="535"/>
                      <a:pt x="826" y="539"/>
                      <a:pt x="826" y="540"/>
                    </a:cubicBezTo>
                    <a:cubicBezTo>
                      <a:pt x="825" y="542"/>
                      <a:pt x="816" y="547"/>
                      <a:pt x="814" y="549"/>
                    </a:cubicBezTo>
                    <a:cubicBezTo>
                      <a:pt x="812" y="552"/>
                      <a:pt x="800" y="552"/>
                      <a:pt x="810" y="558"/>
                    </a:cubicBezTo>
                    <a:cubicBezTo>
                      <a:pt x="813" y="559"/>
                      <a:pt x="814" y="562"/>
                      <a:pt x="812" y="565"/>
                    </a:cubicBezTo>
                    <a:cubicBezTo>
                      <a:pt x="809" y="567"/>
                      <a:pt x="803" y="573"/>
                      <a:pt x="801" y="574"/>
                    </a:cubicBezTo>
                    <a:cubicBezTo>
                      <a:pt x="799" y="575"/>
                      <a:pt x="801" y="562"/>
                      <a:pt x="798" y="562"/>
                    </a:cubicBezTo>
                    <a:cubicBezTo>
                      <a:pt x="790" y="561"/>
                      <a:pt x="796" y="576"/>
                      <a:pt x="790" y="577"/>
                    </a:cubicBezTo>
                    <a:cubicBezTo>
                      <a:pt x="784" y="577"/>
                      <a:pt x="783" y="583"/>
                      <a:pt x="778" y="581"/>
                    </a:cubicBezTo>
                    <a:cubicBezTo>
                      <a:pt x="767" y="576"/>
                      <a:pt x="765" y="586"/>
                      <a:pt x="778" y="587"/>
                    </a:cubicBezTo>
                    <a:cubicBezTo>
                      <a:pt x="786" y="588"/>
                      <a:pt x="782" y="590"/>
                      <a:pt x="781" y="593"/>
                    </a:cubicBezTo>
                    <a:cubicBezTo>
                      <a:pt x="780" y="596"/>
                      <a:pt x="778" y="602"/>
                      <a:pt x="776" y="609"/>
                    </a:cubicBezTo>
                    <a:cubicBezTo>
                      <a:pt x="776" y="615"/>
                      <a:pt x="775" y="623"/>
                      <a:pt x="773" y="625"/>
                    </a:cubicBezTo>
                    <a:cubicBezTo>
                      <a:pt x="772" y="628"/>
                      <a:pt x="767" y="632"/>
                      <a:pt x="768" y="633"/>
                    </a:cubicBezTo>
                    <a:cubicBezTo>
                      <a:pt x="769" y="635"/>
                      <a:pt x="774" y="637"/>
                      <a:pt x="772" y="640"/>
                    </a:cubicBezTo>
                    <a:cubicBezTo>
                      <a:pt x="770" y="643"/>
                      <a:pt x="760" y="667"/>
                      <a:pt x="758" y="670"/>
                    </a:cubicBezTo>
                    <a:cubicBezTo>
                      <a:pt x="756" y="672"/>
                      <a:pt x="756" y="674"/>
                      <a:pt x="754" y="674"/>
                    </a:cubicBezTo>
                    <a:cubicBezTo>
                      <a:pt x="753" y="674"/>
                      <a:pt x="734" y="668"/>
                      <a:pt x="733" y="669"/>
                    </a:cubicBezTo>
                    <a:cubicBezTo>
                      <a:pt x="731" y="670"/>
                      <a:pt x="734" y="677"/>
                      <a:pt x="732" y="677"/>
                    </a:cubicBezTo>
                    <a:cubicBezTo>
                      <a:pt x="730" y="677"/>
                      <a:pt x="724" y="676"/>
                      <a:pt x="722" y="678"/>
                    </a:cubicBezTo>
                    <a:cubicBezTo>
                      <a:pt x="721" y="681"/>
                      <a:pt x="720" y="684"/>
                      <a:pt x="720" y="686"/>
                    </a:cubicBezTo>
                    <a:cubicBezTo>
                      <a:pt x="720" y="688"/>
                      <a:pt x="725" y="691"/>
                      <a:pt x="723" y="693"/>
                    </a:cubicBezTo>
                    <a:cubicBezTo>
                      <a:pt x="721" y="695"/>
                      <a:pt x="719" y="698"/>
                      <a:pt x="717" y="698"/>
                    </a:cubicBezTo>
                    <a:cubicBezTo>
                      <a:pt x="715" y="697"/>
                      <a:pt x="712" y="695"/>
                      <a:pt x="709" y="696"/>
                    </a:cubicBezTo>
                    <a:cubicBezTo>
                      <a:pt x="705" y="697"/>
                      <a:pt x="701" y="699"/>
                      <a:pt x="697" y="697"/>
                    </a:cubicBezTo>
                    <a:cubicBezTo>
                      <a:pt x="692" y="695"/>
                      <a:pt x="692" y="691"/>
                      <a:pt x="692" y="690"/>
                    </a:cubicBezTo>
                    <a:cubicBezTo>
                      <a:pt x="692" y="688"/>
                      <a:pt x="696" y="686"/>
                      <a:pt x="696" y="684"/>
                    </a:cubicBezTo>
                    <a:cubicBezTo>
                      <a:pt x="695" y="681"/>
                      <a:pt x="688" y="665"/>
                      <a:pt x="689" y="662"/>
                    </a:cubicBezTo>
                    <a:cubicBezTo>
                      <a:pt x="690" y="660"/>
                      <a:pt x="693" y="658"/>
                      <a:pt x="695" y="656"/>
                    </a:cubicBezTo>
                    <a:cubicBezTo>
                      <a:pt x="696" y="654"/>
                      <a:pt x="699" y="651"/>
                      <a:pt x="695" y="649"/>
                    </a:cubicBezTo>
                    <a:cubicBezTo>
                      <a:pt x="692" y="647"/>
                      <a:pt x="692" y="647"/>
                      <a:pt x="691" y="645"/>
                    </a:cubicBezTo>
                    <a:cubicBezTo>
                      <a:pt x="690" y="643"/>
                      <a:pt x="687" y="634"/>
                      <a:pt x="687" y="630"/>
                    </a:cubicBezTo>
                    <a:cubicBezTo>
                      <a:pt x="686" y="626"/>
                      <a:pt x="687" y="620"/>
                      <a:pt x="686" y="618"/>
                    </a:cubicBezTo>
                    <a:cubicBezTo>
                      <a:pt x="685" y="617"/>
                      <a:pt x="679" y="622"/>
                      <a:pt x="679" y="617"/>
                    </a:cubicBezTo>
                    <a:cubicBezTo>
                      <a:pt x="679" y="612"/>
                      <a:pt x="681" y="609"/>
                      <a:pt x="678" y="601"/>
                    </a:cubicBezTo>
                    <a:cubicBezTo>
                      <a:pt x="677" y="599"/>
                      <a:pt x="676" y="592"/>
                      <a:pt x="675" y="590"/>
                    </a:cubicBezTo>
                    <a:cubicBezTo>
                      <a:pt x="673" y="584"/>
                      <a:pt x="671" y="585"/>
                      <a:pt x="672" y="579"/>
                    </a:cubicBezTo>
                    <a:cubicBezTo>
                      <a:pt x="673" y="575"/>
                      <a:pt x="673" y="561"/>
                      <a:pt x="672" y="558"/>
                    </a:cubicBezTo>
                    <a:cubicBezTo>
                      <a:pt x="670" y="555"/>
                      <a:pt x="665" y="551"/>
                      <a:pt x="665" y="547"/>
                    </a:cubicBezTo>
                    <a:cubicBezTo>
                      <a:pt x="665" y="544"/>
                      <a:pt x="669" y="527"/>
                      <a:pt x="667" y="527"/>
                    </a:cubicBezTo>
                    <a:cubicBezTo>
                      <a:pt x="662" y="527"/>
                      <a:pt x="664" y="532"/>
                      <a:pt x="656" y="536"/>
                    </a:cubicBezTo>
                    <a:cubicBezTo>
                      <a:pt x="651" y="538"/>
                      <a:pt x="659" y="542"/>
                      <a:pt x="659" y="545"/>
                    </a:cubicBezTo>
                    <a:cubicBezTo>
                      <a:pt x="659" y="548"/>
                      <a:pt x="657" y="553"/>
                      <a:pt x="655" y="554"/>
                    </a:cubicBezTo>
                    <a:cubicBezTo>
                      <a:pt x="653" y="555"/>
                      <a:pt x="647" y="556"/>
                      <a:pt x="646" y="555"/>
                    </a:cubicBezTo>
                    <a:cubicBezTo>
                      <a:pt x="644" y="555"/>
                      <a:pt x="641" y="560"/>
                      <a:pt x="638" y="561"/>
                    </a:cubicBezTo>
                    <a:cubicBezTo>
                      <a:pt x="635" y="563"/>
                      <a:pt x="613" y="583"/>
                      <a:pt x="610" y="583"/>
                    </a:cubicBezTo>
                    <a:cubicBezTo>
                      <a:pt x="607" y="583"/>
                      <a:pt x="586" y="584"/>
                      <a:pt x="581" y="579"/>
                    </a:cubicBezTo>
                    <a:cubicBezTo>
                      <a:pt x="576" y="575"/>
                      <a:pt x="588" y="572"/>
                      <a:pt x="581" y="570"/>
                    </a:cubicBezTo>
                    <a:cubicBezTo>
                      <a:pt x="572" y="566"/>
                      <a:pt x="563" y="555"/>
                      <a:pt x="564" y="551"/>
                    </a:cubicBezTo>
                    <a:cubicBezTo>
                      <a:pt x="565" y="548"/>
                      <a:pt x="566" y="541"/>
                      <a:pt x="568" y="540"/>
                    </a:cubicBezTo>
                    <a:cubicBezTo>
                      <a:pt x="569" y="539"/>
                      <a:pt x="573" y="546"/>
                      <a:pt x="575" y="545"/>
                    </a:cubicBezTo>
                    <a:cubicBezTo>
                      <a:pt x="578" y="543"/>
                      <a:pt x="576" y="534"/>
                      <a:pt x="580" y="534"/>
                    </a:cubicBezTo>
                    <a:cubicBezTo>
                      <a:pt x="583" y="534"/>
                      <a:pt x="581" y="529"/>
                      <a:pt x="582" y="527"/>
                    </a:cubicBezTo>
                    <a:cubicBezTo>
                      <a:pt x="582" y="525"/>
                      <a:pt x="581" y="525"/>
                      <a:pt x="578" y="525"/>
                    </a:cubicBezTo>
                    <a:cubicBezTo>
                      <a:pt x="575" y="526"/>
                      <a:pt x="577" y="526"/>
                      <a:pt x="574" y="529"/>
                    </a:cubicBezTo>
                    <a:cubicBezTo>
                      <a:pt x="572" y="531"/>
                      <a:pt x="565" y="536"/>
                      <a:pt x="562" y="535"/>
                    </a:cubicBezTo>
                    <a:cubicBezTo>
                      <a:pt x="559" y="535"/>
                      <a:pt x="560" y="530"/>
                      <a:pt x="562" y="528"/>
                    </a:cubicBezTo>
                    <a:cubicBezTo>
                      <a:pt x="563" y="525"/>
                      <a:pt x="564" y="520"/>
                      <a:pt x="567" y="518"/>
                    </a:cubicBezTo>
                    <a:cubicBezTo>
                      <a:pt x="570" y="517"/>
                      <a:pt x="575" y="513"/>
                      <a:pt x="576" y="512"/>
                    </a:cubicBezTo>
                    <a:cubicBezTo>
                      <a:pt x="578" y="510"/>
                      <a:pt x="585" y="505"/>
                      <a:pt x="586" y="503"/>
                    </a:cubicBezTo>
                    <a:cubicBezTo>
                      <a:pt x="586" y="502"/>
                      <a:pt x="588" y="498"/>
                      <a:pt x="590" y="496"/>
                    </a:cubicBezTo>
                    <a:cubicBezTo>
                      <a:pt x="592" y="495"/>
                      <a:pt x="597" y="495"/>
                      <a:pt x="597" y="493"/>
                    </a:cubicBezTo>
                    <a:cubicBezTo>
                      <a:pt x="597" y="492"/>
                      <a:pt x="594" y="490"/>
                      <a:pt x="589" y="491"/>
                    </a:cubicBezTo>
                    <a:cubicBezTo>
                      <a:pt x="585" y="493"/>
                      <a:pt x="581" y="496"/>
                      <a:pt x="580" y="499"/>
                    </a:cubicBezTo>
                    <a:cubicBezTo>
                      <a:pt x="579" y="502"/>
                      <a:pt x="575" y="504"/>
                      <a:pt x="573" y="506"/>
                    </a:cubicBezTo>
                    <a:cubicBezTo>
                      <a:pt x="571" y="507"/>
                      <a:pt x="567" y="513"/>
                      <a:pt x="565" y="509"/>
                    </a:cubicBezTo>
                    <a:cubicBezTo>
                      <a:pt x="564" y="504"/>
                      <a:pt x="569" y="492"/>
                      <a:pt x="569" y="488"/>
                    </a:cubicBezTo>
                    <a:cubicBezTo>
                      <a:pt x="569" y="484"/>
                      <a:pt x="568" y="476"/>
                      <a:pt x="569" y="473"/>
                    </a:cubicBezTo>
                    <a:cubicBezTo>
                      <a:pt x="570" y="469"/>
                      <a:pt x="571" y="468"/>
                      <a:pt x="572" y="467"/>
                    </a:cubicBezTo>
                    <a:cubicBezTo>
                      <a:pt x="573" y="466"/>
                      <a:pt x="576" y="466"/>
                      <a:pt x="577" y="467"/>
                    </a:cubicBezTo>
                    <a:cubicBezTo>
                      <a:pt x="578" y="468"/>
                      <a:pt x="579" y="470"/>
                      <a:pt x="581" y="470"/>
                    </a:cubicBezTo>
                    <a:cubicBezTo>
                      <a:pt x="583" y="470"/>
                      <a:pt x="585" y="468"/>
                      <a:pt x="587" y="468"/>
                    </a:cubicBezTo>
                    <a:cubicBezTo>
                      <a:pt x="589" y="468"/>
                      <a:pt x="594" y="470"/>
                      <a:pt x="596" y="471"/>
                    </a:cubicBezTo>
                    <a:cubicBezTo>
                      <a:pt x="597" y="472"/>
                      <a:pt x="598" y="472"/>
                      <a:pt x="600" y="472"/>
                    </a:cubicBezTo>
                    <a:cubicBezTo>
                      <a:pt x="602" y="471"/>
                      <a:pt x="602" y="469"/>
                      <a:pt x="604" y="469"/>
                    </a:cubicBezTo>
                    <a:cubicBezTo>
                      <a:pt x="606" y="470"/>
                      <a:pt x="606" y="473"/>
                      <a:pt x="608" y="473"/>
                    </a:cubicBezTo>
                    <a:cubicBezTo>
                      <a:pt x="611" y="473"/>
                      <a:pt x="614" y="472"/>
                      <a:pt x="615" y="472"/>
                    </a:cubicBezTo>
                    <a:cubicBezTo>
                      <a:pt x="617" y="472"/>
                      <a:pt x="620" y="469"/>
                      <a:pt x="620" y="468"/>
                    </a:cubicBezTo>
                    <a:cubicBezTo>
                      <a:pt x="620" y="467"/>
                      <a:pt x="617" y="466"/>
                      <a:pt x="616" y="466"/>
                    </a:cubicBezTo>
                    <a:cubicBezTo>
                      <a:pt x="615" y="466"/>
                      <a:pt x="611" y="467"/>
                      <a:pt x="610" y="466"/>
                    </a:cubicBezTo>
                    <a:cubicBezTo>
                      <a:pt x="610" y="465"/>
                      <a:pt x="602" y="459"/>
                      <a:pt x="600" y="462"/>
                    </a:cubicBezTo>
                    <a:cubicBezTo>
                      <a:pt x="599" y="463"/>
                      <a:pt x="601" y="466"/>
                      <a:pt x="598" y="465"/>
                    </a:cubicBezTo>
                    <a:cubicBezTo>
                      <a:pt x="596" y="464"/>
                      <a:pt x="595" y="463"/>
                      <a:pt x="592" y="462"/>
                    </a:cubicBezTo>
                    <a:cubicBezTo>
                      <a:pt x="588" y="461"/>
                      <a:pt x="587" y="461"/>
                      <a:pt x="584" y="461"/>
                    </a:cubicBezTo>
                    <a:cubicBezTo>
                      <a:pt x="581" y="462"/>
                      <a:pt x="582" y="464"/>
                      <a:pt x="580" y="461"/>
                    </a:cubicBezTo>
                    <a:cubicBezTo>
                      <a:pt x="578" y="458"/>
                      <a:pt x="574" y="459"/>
                      <a:pt x="571" y="460"/>
                    </a:cubicBezTo>
                    <a:cubicBezTo>
                      <a:pt x="569" y="461"/>
                      <a:pt x="566" y="465"/>
                      <a:pt x="566" y="461"/>
                    </a:cubicBezTo>
                    <a:cubicBezTo>
                      <a:pt x="566" y="457"/>
                      <a:pt x="571" y="453"/>
                      <a:pt x="576" y="452"/>
                    </a:cubicBezTo>
                    <a:cubicBezTo>
                      <a:pt x="580" y="451"/>
                      <a:pt x="581" y="451"/>
                      <a:pt x="581" y="449"/>
                    </a:cubicBezTo>
                    <a:cubicBezTo>
                      <a:pt x="580" y="446"/>
                      <a:pt x="576" y="447"/>
                      <a:pt x="577" y="442"/>
                    </a:cubicBezTo>
                    <a:cubicBezTo>
                      <a:pt x="579" y="438"/>
                      <a:pt x="579" y="433"/>
                      <a:pt x="581" y="432"/>
                    </a:cubicBezTo>
                    <a:cubicBezTo>
                      <a:pt x="584" y="430"/>
                      <a:pt x="586" y="433"/>
                      <a:pt x="588" y="431"/>
                    </a:cubicBezTo>
                    <a:cubicBezTo>
                      <a:pt x="590" y="430"/>
                      <a:pt x="584" y="426"/>
                      <a:pt x="587" y="424"/>
                    </a:cubicBezTo>
                    <a:cubicBezTo>
                      <a:pt x="589" y="423"/>
                      <a:pt x="593" y="419"/>
                      <a:pt x="596" y="419"/>
                    </a:cubicBezTo>
                    <a:cubicBezTo>
                      <a:pt x="599" y="419"/>
                      <a:pt x="600" y="419"/>
                      <a:pt x="600" y="420"/>
                    </a:cubicBezTo>
                    <a:cubicBezTo>
                      <a:pt x="600" y="422"/>
                      <a:pt x="602" y="425"/>
                      <a:pt x="606" y="425"/>
                    </a:cubicBezTo>
                    <a:cubicBezTo>
                      <a:pt x="610" y="425"/>
                      <a:pt x="613" y="423"/>
                      <a:pt x="614" y="424"/>
                    </a:cubicBezTo>
                    <a:cubicBezTo>
                      <a:pt x="619" y="426"/>
                      <a:pt x="618" y="422"/>
                      <a:pt x="618" y="421"/>
                    </a:cubicBezTo>
                    <a:cubicBezTo>
                      <a:pt x="618" y="419"/>
                      <a:pt x="615" y="419"/>
                      <a:pt x="612" y="418"/>
                    </a:cubicBezTo>
                    <a:cubicBezTo>
                      <a:pt x="609" y="418"/>
                      <a:pt x="608" y="420"/>
                      <a:pt x="607" y="418"/>
                    </a:cubicBezTo>
                    <a:cubicBezTo>
                      <a:pt x="606" y="417"/>
                      <a:pt x="606" y="415"/>
                      <a:pt x="605" y="415"/>
                    </a:cubicBezTo>
                    <a:cubicBezTo>
                      <a:pt x="603" y="414"/>
                      <a:pt x="604" y="413"/>
                      <a:pt x="607" y="411"/>
                    </a:cubicBezTo>
                    <a:cubicBezTo>
                      <a:pt x="610" y="409"/>
                      <a:pt x="610" y="411"/>
                      <a:pt x="613" y="411"/>
                    </a:cubicBezTo>
                    <a:cubicBezTo>
                      <a:pt x="616" y="411"/>
                      <a:pt x="622" y="415"/>
                      <a:pt x="625" y="415"/>
                    </a:cubicBezTo>
                    <a:cubicBezTo>
                      <a:pt x="627" y="416"/>
                      <a:pt x="633" y="413"/>
                      <a:pt x="633" y="412"/>
                    </a:cubicBezTo>
                    <a:cubicBezTo>
                      <a:pt x="632" y="410"/>
                      <a:pt x="620" y="409"/>
                      <a:pt x="620" y="406"/>
                    </a:cubicBezTo>
                    <a:cubicBezTo>
                      <a:pt x="620" y="403"/>
                      <a:pt x="620" y="402"/>
                      <a:pt x="625" y="401"/>
                    </a:cubicBezTo>
                    <a:cubicBezTo>
                      <a:pt x="629" y="401"/>
                      <a:pt x="646" y="395"/>
                      <a:pt x="649" y="394"/>
                    </a:cubicBezTo>
                    <a:cubicBezTo>
                      <a:pt x="651" y="393"/>
                      <a:pt x="667" y="386"/>
                      <a:pt x="668" y="386"/>
                    </a:cubicBezTo>
                    <a:cubicBezTo>
                      <a:pt x="670" y="386"/>
                      <a:pt x="671" y="388"/>
                      <a:pt x="671" y="391"/>
                    </a:cubicBezTo>
                    <a:cubicBezTo>
                      <a:pt x="671" y="393"/>
                      <a:pt x="671" y="396"/>
                      <a:pt x="671" y="397"/>
                    </a:cubicBezTo>
                    <a:cubicBezTo>
                      <a:pt x="672" y="397"/>
                      <a:pt x="675" y="399"/>
                      <a:pt x="677" y="399"/>
                    </a:cubicBezTo>
                    <a:cubicBezTo>
                      <a:pt x="678" y="399"/>
                      <a:pt x="678" y="395"/>
                      <a:pt x="680" y="394"/>
                    </a:cubicBezTo>
                    <a:cubicBezTo>
                      <a:pt x="681" y="394"/>
                      <a:pt x="687" y="396"/>
                      <a:pt x="689" y="395"/>
                    </a:cubicBezTo>
                    <a:cubicBezTo>
                      <a:pt x="691" y="394"/>
                      <a:pt x="688" y="389"/>
                      <a:pt x="689" y="388"/>
                    </a:cubicBezTo>
                    <a:cubicBezTo>
                      <a:pt x="690" y="388"/>
                      <a:pt x="699" y="386"/>
                      <a:pt x="700" y="384"/>
                    </a:cubicBezTo>
                    <a:cubicBezTo>
                      <a:pt x="701" y="382"/>
                      <a:pt x="698" y="380"/>
                      <a:pt x="699" y="378"/>
                    </a:cubicBezTo>
                    <a:cubicBezTo>
                      <a:pt x="700" y="377"/>
                      <a:pt x="704" y="376"/>
                      <a:pt x="703" y="374"/>
                    </a:cubicBezTo>
                    <a:cubicBezTo>
                      <a:pt x="701" y="372"/>
                      <a:pt x="698" y="373"/>
                      <a:pt x="697" y="373"/>
                    </a:cubicBezTo>
                    <a:cubicBezTo>
                      <a:pt x="696" y="373"/>
                      <a:pt x="691" y="376"/>
                      <a:pt x="690" y="376"/>
                    </a:cubicBezTo>
                    <a:cubicBezTo>
                      <a:pt x="689" y="377"/>
                      <a:pt x="693" y="379"/>
                      <a:pt x="691" y="381"/>
                    </a:cubicBezTo>
                    <a:cubicBezTo>
                      <a:pt x="688" y="383"/>
                      <a:pt x="678" y="390"/>
                      <a:pt x="677" y="389"/>
                    </a:cubicBezTo>
                    <a:cubicBezTo>
                      <a:pt x="676" y="388"/>
                      <a:pt x="677" y="383"/>
                      <a:pt x="675" y="382"/>
                    </a:cubicBezTo>
                    <a:cubicBezTo>
                      <a:pt x="673" y="380"/>
                      <a:pt x="670" y="381"/>
                      <a:pt x="670" y="380"/>
                    </a:cubicBezTo>
                    <a:cubicBezTo>
                      <a:pt x="670" y="375"/>
                      <a:pt x="678" y="376"/>
                      <a:pt x="679" y="374"/>
                    </a:cubicBezTo>
                    <a:cubicBezTo>
                      <a:pt x="680" y="373"/>
                      <a:pt x="681" y="368"/>
                      <a:pt x="682" y="367"/>
                    </a:cubicBezTo>
                    <a:cubicBezTo>
                      <a:pt x="683" y="365"/>
                      <a:pt x="697" y="353"/>
                      <a:pt x="699" y="352"/>
                    </a:cubicBezTo>
                    <a:cubicBezTo>
                      <a:pt x="702" y="352"/>
                      <a:pt x="709" y="351"/>
                      <a:pt x="710" y="350"/>
                    </a:cubicBezTo>
                    <a:cubicBezTo>
                      <a:pt x="712" y="349"/>
                      <a:pt x="711" y="346"/>
                      <a:pt x="710" y="345"/>
                    </a:cubicBezTo>
                    <a:cubicBezTo>
                      <a:pt x="709" y="344"/>
                      <a:pt x="702" y="346"/>
                      <a:pt x="701" y="346"/>
                    </a:cubicBezTo>
                    <a:cubicBezTo>
                      <a:pt x="701" y="346"/>
                      <a:pt x="693" y="345"/>
                      <a:pt x="694" y="343"/>
                    </a:cubicBezTo>
                    <a:cubicBezTo>
                      <a:pt x="695" y="340"/>
                      <a:pt x="698" y="337"/>
                      <a:pt x="700" y="337"/>
                    </a:cubicBezTo>
                    <a:cubicBezTo>
                      <a:pt x="701" y="337"/>
                      <a:pt x="706" y="340"/>
                      <a:pt x="708" y="339"/>
                    </a:cubicBezTo>
                    <a:cubicBezTo>
                      <a:pt x="710" y="338"/>
                      <a:pt x="718" y="332"/>
                      <a:pt x="719" y="330"/>
                    </a:cubicBezTo>
                    <a:cubicBezTo>
                      <a:pt x="719" y="328"/>
                      <a:pt x="719" y="322"/>
                      <a:pt x="720" y="321"/>
                    </a:cubicBezTo>
                    <a:cubicBezTo>
                      <a:pt x="721" y="320"/>
                      <a:pt x="723" y="320"/>
                      <a:pt x="723" y="322"/>
                    </a:cubicBezTo>
                    <a:cubicBezTo>
                      <a:pt x="723" y="323"/>
                      <a:pt x="726" y="326"/>
                      <a:pt x="727" y="325"/>
                    </a:cubicBezTo>
                    <a:cubicBezTo>
                      <a:pt x="729" y="325"/>
                      <a:pt x="729" y="325"/>
                      <a:pt x="730" y="323"/>
                    </a:cubicBezTo>
                    <a:cubicBezTo>
                      <a:pt x="730" y="322"/>
                      <a:pt x="728" y="315"/>
                      <a:pt x="727" y="314"/>
                    </a:cubicBezTo>
                    <a:cubicBezTo>
                      <a:pt x="726" y="313"/>
                      <a:pt x="723" y="310"/>
                      <a:pt x="724" y="308"/>
                    </a:cubicBezTo>
                    <a:cubicBezTo>
                      <a:pt x="724" y="306"/>
                      <a:pt x="727" y="304"/>
                      <a:pt x="729" y="303"/>
                    </a:cubicBezTo>
                    <a:cubicBezTo>
                      <a:pt x="731" y="303"/>
                      <a:pt x="740" y="300"/>
                      <a:pt x="742" y="300"/>
                    </a:cubicBezTo>
                    <a:cubicBezTo>
                      <a:pt x="743" y="300"/>
                      <a:pt x="742" y="304"/>
                      <a:pt x="746" y="303"/>
                    </a:cubicBezTo>
                    <a:cubicBezTo>
                      <a:pt x="749" y="302"/>
                      <a:pt x="755" y="296"/>
                      <a:pt x="754" y="294"/>
                    </a:cubicBezTo>
                    <a:cubicBezTo>
                      <a:pt x="752" y="292"/>
                      <a:pt x="738" y="295"/>
                      <a:pt x="736" y="295"/>
                    </a:cubicBezTo>
                    <a:cubicBezTo>
                      <a:pt x="735" y="295"/>
                      <a:pt x="730" y="297"/>
                      <a:pt x="730" y="296"/>
                    </a:cubicBezTo>
                    <a:cubicBezTo>
                      <a:pt x="730" y="294"/>
                      <a:pt x="735" y="288"/>
                      <a:pt x="737" y="288"/>
                    </a:cubicBezTo>
                    <a:cubicBezTo>
                      <a:pt x="738" y="287"/>
                      <a:pt x="740" y="285"/>
                      <a:pt x="740" y="283"/>
                    </a:cubicBezTo>
                    <a:cubicBezTo>
                      <a:pt x="740" y="281"/>
                      <a:pt x="740" y="279"/>
                      <a:pt x="741" y="278"/>
                    </a:cubicBezTo>
                    <a:cubicBezTo>
                      <a:pt x="742" y="277"/>
                      <a:pt x="748" y="280"/>
                      <a:pt x="750" y="280"/>
                    </a:cubicBezTo>
                    <a:cubicBezTo>
                      <a:pt x="753" y="280"/>
                      <a:pt x="754" y="278"/>
                      <a:pt x="754" y="277"/>
                    </a:cubicBezTo>
                    <a:cubicBezTo>
                      <a:pt x="754" y="276"/>
                      <a:pt x="748" y="274"/>
                      <a:pt x="748" y="272"/>
                    </a:cubicBezTo>
                    <a:cubicBezTo>
                      <a:pt x="748" y="271"/>
                      <a:pt x="751" y="271"/>
                      <a:pt x="751" y="271"/>
                    </a:cubicBezTo>
                    <a:cubicBezTo>
                      <a:pt x="752" y="271"/>
                      <a:pt x="753" y="270"/>
                      <a:pt x="753" y="269"/>
                    </a:cubicBezTo>
                    <a:cubicBezTo>
                      <a:pt x="755" y="266"/>
                      <a:pt x="755" y="265"/>
                      <a:pt x="756" y="265"/>
                    </a:cubicBezTo>
                    <a:cubicBezTo>
                      <a:pt x="756" y="265"/>
                      <a:pt x="768" y="264"/>
                      <a:pt x="770" y="265"/>
                    </a:cubicBezTo>
                    <a:cubicBezTo>
                      <a:pt x="772" y="266"/>
                      <a:pt x="776" y="267"/>
                      <a:pt x="776" y="266"/>
                    </a:cubicBezTo>
                    <a:cubicBezTo>
                      <a:pt x="777" y="265"/>
                      <a:pt x="776" y="263"/>
                      <a:pt x="774" y="261"/>
                    </a:cubicBezTo>
                    <a:cubicBezTo>
                      <a:pt x="772" y="259"/>
                      <a:pt x="770" y="258"/>
                      <a:pt x="767" y="258"/>
                    </a:cubicBezTo>
                    <a:cubicBezTo>
                      <a:pt x="765" y="258"/>
                      <a:pt x="760" y="258"/>
                      <a:pt x="760" y="256"/>
                    </a:cubicBezTo>
                    <a:cubicBezTo>
                      <a:pt x="760" y="254"/>
                      <a:pt x="768" y="250"/>
                      <a:pt x="770" y="250"/>
                    </a:cubicBezTo>
                    <a:cubicBezTo>
                      <a:pt x="771" y="250"/>
                      <a:pt x="778" y="246"/>
                      <a:pt x="779" y="245"/>
                    </a:cubicBezTo>
                    <a:cubicBezTo>
                      <a:pt x="781" y="245"/>
                      <a:pt x="780" y="243"/>
                      <a:pt x="778" y="242"/>
                    </a:cubicBezTo>
                    <a:cubicBezTo>
                      <a:pt x="775" y="242"/>
                      <a:pt x="767" y="246"/>
                      <a:pt x="766" y="244"/>
                    </a:cubicBezTo>
                    <a:cubicBezTo>
                      <a:pt x="765" y="243"/>
                      <a:pt x="769" y="238"/>
                      <a:pt x="772" y="236"/>
                    </a:cubicBezTo>
                    <a:cubicBezTo>
                      <a:pt x="774" y="234"/>
                      <a:pt x="778" y="230"/>
                      <a:pt x="780" y="230"/>
                    </a:cubicBezTo>
                    <a:cubicBezTo>
                      <a:pt x="781" y="230"/>
                      <a:pt x="786" y="227"/>
                      <a:pt x="786" y="229"/>
                    </a:cubicBezTo>
                    <a:cubicBezTo>
                      <a:pt x="787" y="231"/>
                      <a:pt x="786" y="237"/>
                      <a:pt x="789" y="237"/>
                    </a:cubicBezTo>
                    <a:cubicBezTo>
                      <a:pt x="795" y="237"/>
                      <a:pt x="792" y="229"/>
                      <a:pt x="792" y="227"/>
                    </a:cubicBezTo>
                    <a:cubicBezTo>
                      <a:pt x="791" y="224"/>
                      <a:pt x="792" y="223"/>
                      <a:pt x="794" y="223"/>
                    </a:cubicBezTo>
                    <a:cubicBezTo>
                      <a:pt x="796" y="222"/>
                      <a:pt x="799" y="224"/>
                      <a:pt x="801" y="223"/>
                    </a:cubicBezTo>
                    <a:cubicBezTo>
                      <a:pt x="803" y="222"/>
                      <a:pt x="810" y="219"/>
                      <a:pt x="809" y="216"/>
                    </a:cubicBezTo>
                    <a:cubicBezTo>
                      <a:pt x="808" y="214"/>
                      <a:pt x="804" y="217"/>
                      <a:pt x="801" y="217"/>
                    </a:cubicBezTo>
                    <a:cubicBezTo>
                      <a:pt x="798" y="217"/>
                      <a:pt x="794" y="216"/>
                      <a:pt x="792" y="217"/>
                    </a:cubicBezTo>
                    <a:cubicBezTo>
                      <a:pt x="789" y="218"/>
                      <a:pt x="781" y="222"/>
                      <a:pt x="779" y="223"/>
                    </a:cubicBezTo>
                    <a:cubicBezTo>
                      <a:pt x="778" y="224"/>
                      <a:pt x="770" y="226"/>
                      <a:pt x="768" y="227"/>
                    </a:cubicBezTo>
                    <a:cubicBezTo>
                      <a:pt x="766" y="229"/>
                      <a:pt x="758" y="228"/>
                      <a:pt x="756" y="229"/>
                    </a:cubicBezTo>
                    <a:cubicBezTo>
                      <a:pt x="754" y="230"/>
                      <a:pt x="746" y="235"/>
                      <a:pt x="744" y="238"/>
                    </a:cubicBezTo>
                    <a:cubicBezTo>
                      <a:pt x="743" y="240"/>
                      <a:pt x="740" y="241"/>
                      <a:pt x="738" y="239"/>
                    </a:cubicBezTo>
                    <a:cubicBezTo>
                      <a:pt x="736" y="238"/>
                      <a:pt x="738" y="237"/>
                      <a:pt x="741" y="233"/>
                    </a:cubicBezTo>
                    <a:cubicBezTo>
                      <a:pt x="743" y="229"/>
                      <a:pt x="751" y="221"/>
                      <a:pt x="754" y="221"/>
                    </a:cubicBezTo>
                    <a:cubicBezTo>
                      <a:pt x="757" y="220"/>
                      <a:pt x="768" y="218"/>
                      <a:pt x="770" y="217"/>
                    </a:cubicBezTo>
                    <a:cubicBezTo>
                      <a:pt x="772" y="217"/>
                      <a:pt x="780" y="214"/>
                      <a:pt x="778" y="212"/>
                    </a:cubicBezTo>
                    <a:cubicBezTo>
                      <a:pt x="776" y="210"/>
                      <a:pt x="763" y="213"/>
                      <a:pt x="764" y="211"/>
                    </a:cubicBezTo>
                    <a:cubicBezTo>
                      <a:pt x="764" y="209"/>
                      <a:pt x="771" y="196"/>
                      <a:pt x="773" y="196"/>
                    </a:cubicBezTo>
                    <a:cubicBezTo>
                      <a:pt x="774" y="196"/>
                      <a:pt x="777" y="202"/>
                      <a:pt x="778" y="202"/>
                    </a:cubicBezTo>
                    <a:cubicBezTo>
                      <a:pt x="779" y="201"/>
                      <a:pt x="786" y="189"/>
                      <a:pt x="787" y="188"/>
                    </a:cubicBezTo>
                    <a:cubicBezTo>
                      <a:pt x="788" y="187"/>
                      <a:pt x="790" y="186"/>
                      <a:pt x="790" y="186"/>
                    </a:cubicBezTo>
                    <a:cubicBezTo>
                      <a:pt x="791" y="186"/>
                      <a:pt x="791" y="190"/>
                      <a:pt x="790" y="193"/>
                    </a:cubicBezTo>
                    <a:cubicBezTo>
                      <a:pt x="789" y="195"/>
                      <a:pt x="786" y="204"/>
                      <a:pt x="787" y="205"/>
                    </a:cubicBezTo>
                    <a:cubicBezTo>
                      <a:pt x="789" y="205"/>
                      <a:pt x="794" y="197"/>
                      <a:pt x="795" y="198"/>
                    </a:cubicBezTo>
                    <a:cubicBezTo>
                      <a:pt x="796" y="199"/>
                      <a:pt x="794" y="210"/>
                      <a:pt x="796" y="210"/>
                    </a:cubicBezTo>
                    <a:cubicBezTo>
                      <a:pt x="798" y="210"/>
                      <a:pt x="802" y="209"/>
                      <a:pt x="804" y="207"/>
                    </a:cubicBezTo>
                    <a:cubicBezTo>
                      <a:pt x="807" y="205"/>
                      <a:pt x="807" y="202"/>
                      <a:pt x="807" y="199"/>
                    </a:cubicBezTo>
                    <a:cubicBezTo>
                      <a:pt x="808" y="197"/>
                      <a:pt x="801" y="197"/>
                      <a:pt x="801" y="194"/>
                    </a:cubicBezTo>
                    <a:cubicBezTo>
                      <a:pt x="800" y="191"/>
                      <a:pt x="799" y="188"/>
                      <a:pt x="801" y="186"/>
                    </a:cubicBezTo>
                    <a:cubicBezTo>
                      <a:pt x="804" y="183"/>
                      <a:pt x="808" y="179"/>
                      <a:pt x="811" y="179"/>
                    </a:cubicBezTo>
                    <a:cubicBezTo>
                      <a:pt x="814" y="179"/>
                      <a:pt x="816" y="177"/>
                      <a:pt x="818" y="175"/>
                    </a:cubicBezTo>
                    <a:cubicBezTo>
                      <a:pt x="820" y="173"/>
                      <a:pt x="825" y="169"/>
                      <a:pt x="825" y="167"/>
                    </a:cubicBezTo>
                    <a:cubicBezTo>
                      <a:pt x="825" y="164"/>
                      <a:pt x="822" y="164"/>
                      <a:pt x="824" y="161"/>
                    </a:cubicBezTo>
                    <a:cubicBezTo>
                      <a:pt x="826" y="158"/>
                      <a:pt x="830" y="154"/>
                      <a:pt x="831" y="155"/>
                    </a:cubicBezTo>
                    <a:cubicBezTo>
                      <a:pt x="832" y="155"/>
                      <a:pt x="840" y="160"/>
                      <a:pt x="837" y="165"/>
                    </a:cubicBezTo>
                    <a:cubicBezTo>
                      <a:pt x="835" y="167"/>
                      <a:pt x="836" y="177"/>
                      <a:pt x="838" y="178"/>
                    </a:cubicBezTo>
                    <a:cubicBezTo>
                      <a:pt x="840" y="178"/>
                      <a:pt x="845" y="167"/>
                      <a:pt x="846" y="166"/>
                    </a:cubicBezTo>
                    <a:cubicBezTo>
                      <a:pt x="848" y="157"/>
                      <a:pt x="860" y="168"/>
                      <a:pt x="864" y="167"/>
                    </a:cubicBezTo>
                    <a:cubicBezTo>
                      <a:pt x="865" y="167"/>
                      <a:pt x="865" y="164"/>
                      <a:pt x="866" y="163"/>
                    </a:cubicBezTo>
                    <a:cubicBezTo>
                      <a:pt x="866" y="163"/>
                      <a:pt x="865" y="160"/>
                      <a:pt x="862" y="159"/>
                    </a:cubicBezTo>
                    <a:cubicBezTo>
                      <a:pt x="860" y="158"/>
                      <a:pt x="857" y="157"/>
                      <a:pt x="856" y="155"/>
                    </a:cubicBezTo>
                    <a:cubicBezTo>
                      <a:pt x="855" y="154"/>
                      <a:pt x="858" y="152"/>
                      <a:pt x="859" y="151"/>
                    </a:cubicBezTo>
                    <a:cubicBezTo>
                      <a:pt x="860" y="150"/>
                      <a:pt x="860" y="149"/>
                      <a:pt x="862" y="149"/>
                    </a:cubicBezTo>
                    <a:cubicBezTo>
                      <a:pt x="863" y="150"/>
                      <a:pt x="870" y="154"/>
                      <a:pt x="872" y="154"/>
                    </a:cubicBezTo>
                    <a:cubicBezTo>
                      <a:pt x="874" y="154"/>
                      <a:pt x="878" y="157"/>
                      <a:pt x="878" y="159"/>
                    </a:cubicBezTo>
                    <a:cubicBezTo>
                      <a:pt x="878" y="160"/>
                      <a:pt x="879" y="166"/>
                      <a:pt x="884" y="164"/>
                    </a:cubicBezTo>
                    <a:cubicBezTo>
                      <a:pt x="885" y="163"/>
                      <a:pt x="888" y="163"/>
                      <a:pt x="888" y="162"/>
                    </a:cubicBezTo>
                    <a:cubicBezTo>
                      <a:pt x="887" y="160"/>
                      <a:pt x="884" y="159"/>
                      <a:pt x="884" y="157"/>
                    </a:cubicBezTo>
                    <a:cubicBezTo>
                      <a:pt x="884" y="156"/>
                      <a:pt x="884" y="154"/>
                      <a:pt x="882" y="152"/>
                    </a:cubicBezTo>
                    <a:cubicBezTo>
                      <a:pt x="880" y="151"/>
                      <a:pt x="877" y="150"/>
                      <a:pt x="877" y="148"/>
                    </a:cubicBezTo>
                    <a:cubicBezTo>
                      <a:pt x="878" y="146"/>
                      <a:pt x="882" y="144"/>
                      <a:pt x="884" y="142"/>
                    </a:cubicBezTo>
                    <a:cubicBezTo>
                      <a:pt x="885" y="140"/>
                      <a:pt x="886" y="135"/>
                      <a:pt x="888" y="136"/>
                    </a:cubicBezTo>
                    <a:cubicBezTo>
                      <a:pt x="889" y="137"/>
                      <a:pt x="892" y="141"/>
                      <a:pt x="894" y="139"/>
                    </a:cubicBezTo>
                    <a:cubicBezTo>
                      <a:pt x="895" y="138"/>
                      <a:pt x="896" y="135"/>
                      <a:pt x="896" y="134"/>
                    </a:cubicBezTo>
                    <a:cubicBezTo>
                      <a:pt x="895" y="133"/>
                      <a:pt x="892" y="132"/>
                      <a:pt x="893" y="131"/>
                    </a:cubicBezTo>
                    <a:cubicBezTo>
                      <a:pt x="894" y="130"/>
                      <a:pt x="895" y="125"/>
                      <a:pt x="897" y="126"/>
                    </a:cubicBezTo>
                    <a:cubicBezTo>
                      <a:pt x="900" y="127"/>
                      <a:pt x="901" y="132"/>
                      <a:pt x="905" y="128"/>
                    </a:cubicBezTo>
                    <a:cubicBezTo>
                      <a:pt x="906" y="127"/>
                      <a:pt x="904" y="122"/>
                      <a:pt x="906" y="121"/>
                    </a:cubicBezTo>
                    <a:cubicBezTo>
                      <a:pt x="907" y="119"/>
                      <a:pt x="910" y="117"/>
                      <a:pt x="912" y="118"/>
                    </a:cubicBezTo>
                    <a:cubicBezTo>
                      <a:pt x="913" y="119"/>
                      <a:pt x="916" y="123"/>
                      <a:pt x="916" y="123"/>
                    </a:cubicBezTo>
                    <a:cubicBezTo>
                      <a:pt x="916" y="124"/>
                      <a:pt x="914" y="128"/>
                      <a:pt x="913" y="129"/>
                    </a:cubicBezTo>
                    <a:cubicBezTo>
                      <a:pt x="912" y="130"/>
                      <a:pt x="905" y="139"/>
                      <a:pt x="905" y="141"/>
                    </a:cubicBezTo>
                    <a:cubicBezTo>
                      <a:pt x="904" y="143"/>
                      <a:pt x="903" y="145"/>
                      <a:pt x="904" y="146"/>
                    </a:cubicBezTo>
                    <a:cubicBezTo>
                      <a:pt x="905" y="146"/>
                      <a:pt x="906" y="148"/>
                      <a:pt x="905" y="150"/>
                    </a:cubicBezTo>
                    <a:cubicBezTo>
                      <a:pt x="904" y="152"/>
                      <a:pt x="902" y="160"/>
                      <a:pt x="905" y="159"/>
                    </a:cubicBezTo>
                    <a:cubicBezTo>
                      <a:pt x="908" y="159"/>
                      <a:pt x="911" y="153"/>
                      <a:pt x="912" y="151"/>
                    </a:cubicBezTo>
                    <a:cubicBezTo>
                      <a:pt x="912" y="150"/>
                      <a:pt x="914" y="142"/>
                      <a:pt x="915" y="140"/>
                    </a:cubicBezTo>
                    <a:cubicBezTo>
                      <a:pt x="916" y="138"/>
                      <a:pt x="921" y="126"/>
                      <a:pt x="922" y="126"/>
                    </a:cubicBezTo>
                    <a:cubicBezTo>
                      <a:pt x="923" y="126"/>
                      <a:pt x="924" y="128"/>
                      <a:pt x="924" y="131"/>
                    </a:cubicBezTo>
                    <a:cubicBezTo>
                      <a:pt x="924" y="133"/>
                      <a:pt x="923" y="147"/>
                      <a:pt x="924" y="147"/>
                    </a:cubicBezTo>
                    <a:cubicBezTo>
                      <a:pt x="926" y="146"/>
                      <a:pt x="928" y="140"/>
                      <a:pt x="930" y="138"/>
                    </a:cubicBezTo>
                    <a:cubicBezTo>
                      <a:pt x="932" y="136"/>
                      <a:pt x="933" y="130"/>
                      <a:pt x="933" y="129"/>
                    </a:cubicBezTo>
                    <a:cubicBezTo>
                      <a:pt x="933" y="128"/>
                      <a:pt x="928" y="128"/>
                      <a:pt x="929" y="124"/>
                    </a:cubicBezTo>
                    <a:cubicBezTo>
                      <a:pt x="930" y="121"/>
                      <a:pt x="933" y="119"/>
                      <a:pt x="935" y="119"/>
                    </a:cubicBezTo>
                    <a:cubicBezTo>
                      <a:pt x="937" y="119"/>
                      <a:pt x="944" y="119"/>
                      <a:pt x="944" y="121"/>
                    </a:cubicBezTo>
                    <a:cubicBezTo>
                      <a:pt x="945" y="123"/>
                      <a:pt x="944" y="127"/>
                      <a:pt x="943" y="128"/>
                    </a:cubicBezTo>
                    <a:cubicBezTo>
                      <a:pt x="942" y="129"/>
                      <a:pt x="942" y="132"/>
                      <a:pt x="942" y="133"/>
                    </a:cubicBezTo>
                    <a:cubicBezTo>
                      <a:pt x="941" y="135"/>
                      <a:pt x="937" y="139"/>
                      <a:pt x="939" y="141"/>
                    </a:cubicBezTo>
                    <a:cubicBezTo>
                      <a:pt x="940" y="144"/>
                      <a:pt x="947" y="142"/>
                      <a:pt x="948" y="141"/>
                    </a:cubicBezTo>
                    <a:cubicBezTo>
                      <a:pt x="950" y="140"/>
                      <a:pt x="948" y="137"/>
                      <a:pt x="948" y="135"/>
                    </a:cubicBezTo>
                    <a:cubicBezTo>
                      <a:pt x="948" y="133"/>
                      <a:pt x="948" y="126"/>
                      <a:pt x="951" y="125"/>
                    </a:cubicBezTo>
                    <a:cubicBezTo>
                      <a:pt x="953" y="125"/>
                      <a:pt x="955" y="125"/>
                      <a:pt x="955" y="127"/>
                    </a:cubicBezTo>
                    <a:cubicBezTo>
                      <a:pt x="955" y="129"/>
                      <a:pt x="956" y="134"/>
                      <a:pt x="958" y="133"/>
                    </a:cubicBezTo>
                    <a:cubicBezTo>
                      <a:pt x="960" y="133"/>
                      <a:pt x="961" y="129"/>
                      <a:pt x="962" y="129"/>
                    </a:cubicBezTo>
                    <a:cubicBezTo>
                      <a:pt x="964" y="129"/>
                      <a:pt x="967" y="131"/>
                      <a:pt x="968" y="132"/>
                    </a:cubicBezTo>
                    <a:cubicBezTo>
                      <a:pt x="970" y="133"/>
                      <a:pt x="974" y="136"/>
                      <a:pt x="975" y="137"/>
                    </a:cubicBezTo>
                    <a:cubicBezTo>
                      <a:pt x="976" y="139"/>
                      <a:pt x="980" y="135"/>
                      <a:pt x="981" y="137"/>
                    </a:cubicBezTo>
                    <a:cubicBezTo>
                      <a:pt x="982" y="139"/>
                      <a:pt x="984" y="142"/>
                      <a:pt x="982" y="142"/>
                    </a:cubicBezTo>
                    <a:cubicBezTo>
                      <a:pt x="981" y="143"/>
                      <a:pt x="972" y="151"/>
                      <a:pt x="970" y="151"/>
                    </a:cubicBezTo>
                    <a:cubicBezTo>
                      <a:pt x="968" y="151"/>
                      <a:pt x="955" y="149"/>
                      <a:pt x="953" y="149"/>
                    </a:cubicBezTo>
                    <a:cubicBezTo>
                      <a:pt x="950" y="150"/>
                      <a:pt x="950" y="152"/>
                      <a:pt x="950" y="153"/>
                    </a:cubicBezTo>
                    <a:cubicBezTo>
                      <a:pt x="950" y="155"/>
                      <a:pt x="953" y="156"/>
                      <a:pt x="956" y="156"/>
                    </a:cubicBezTo>
                    <a:cubicBezTo>
                      <a:pt x="958" y="157"/>
                      <a:pt x="966" y="157"/>
                      <a:pt x="968" y="158"/>
                    </a:cubicBezTo>
                    <a:cubicBezTo>
                      <a:pt x="970" y="158"/>
                      <a:pt x="987" y="162"/>
                      <a:pt x="989" y="162"/>
                    </a:cubicBezTo>
                    <a:cubicBezTo>
                      <a:pt x="991" y="162"/>
                      <a:pt x="993" y="163"/>
                      <a:pt x="993" y="162"/>
                    </a:cubicBezTo>
                    <a:cubicBezTo>
                      <a:pt x="993" y="160"/>
                      <a:pt x="991" y="153"/>
                      <a:pt x="993" y="152"/>
                    </a:cubicBezTo>
                    <a:cubicBezTo>
                      <a:pt x="994" y="151"/>
                      <a:pt x="997" y="152"/>
                      <a:pt x="998" y="153"/>
                    </a:cubicBezTo>
                    <a:cubicBezTo>
                      <a:pt x="1000" y="154"/>
                      <a:pt x="1003" y="157"/>
                      <a:pt x="1005" y="157"/>
                    </a:cubicBezTo>
                    <a:cubicBezTo>
                      <a:pt x="1007" y="157"/>
                      <a:pt x="1011" y="156"/>
                      <a:pt x="1011" y="158"/>
                    </a:cubicBezTo>
                    <a:cubicBezTo>
                      <a:pt x="1012" y="165"/>
                      <a:pt x="1006" y="164"/>
                      <a:pt x="1003" y="163"/>
                    </a:cubicBezTo>
                    <a:cubicBezTo>
                      <a:pt x="1000" y="163"/>
                      <a:pt x="998" y="164"/>
                      <a:pt x="998" y="165"/>
                    </a:cubicBezTo>
                    <a:cubicBezTo>
                      <a:pt x="998" y="166"/>
                      <a:pt x="1002" y="170"/>
                      <a:pt x="1004" y="171"/>
                    </a:cubicBezTo>
                    <a:cubicBezTo>
                      <a:pt x="1007" y="171"/>
                      <a:pt x="1014" y="169"/>
                      <a:pt x="1016" y="169"/>
                    </a:cubicBezTo>
                    <a:cubicBezTo>
                      <a:pt x="1018" y="169"/>
                      <a:pt x="1018" y="177"/>
                      <a:pt x="1021" y="177"/>
                    </a:cubicBezTo>
                    <a:cubicBezTo>
                      <a:pt x="1024" y="177"/>
                      <a:pt x="1027" y="171"/>
                      <a:pt x="1030" y="171"/>
                    </a:cubicBezTo>
                    <a:cubicBezTo>
                      <a:pt x="1033" y="171"/>
                      <a:pt x="1044" y="169"/>
                      <a:pt x="1052" y="171"/>
                    </a:cubicBezTo>
                    <a:cubicBezTo>
                      <a:pt x="1060" y="173"/>
                      <a:pt x="1078" y="181"/>
                      <a:pt x="1083" y="184"/>
                    </a:cubicBezTo>
                    <a:cubicBezTo>
                      <a:pt x="1088" y="188"/>
                      <a:pt x="1106" y="196"/>
                      <a:pt x="1110" y="197"/>
                    </a:cubicBezTo>
                    <a:cubicBezTo>
                      <a:pt x="1113" y="198"/>
                      <a:pt x="1113" y="195"/>
                      <a:pt x="1118" y="197"/>
                    </a:cubicBezTo>
                    <a:cubicBezTo>
                      <a:pt x="1123" y="199"/>
                      <a:pt x="1136" y="203"/>
                      <a:pt x="1136" y="206"/>
                    </a:cubicBezTo>
                    <a:cubicBezTo>
                      <a:pt x="1137" y="209"/>
                      <a:pt x="1139" y="218"/>
                      <a:pt x="1140" y="218"/>
                    </a:cubicBezTo>
                    <a:cubicBezTo>
                      <a:pt x="1142" y="219"/>
                      <a:pt x="1147" y="220"/>
                      <a:pt x="1148" y="223"/>
                    </a:cubicBezTo>
                    <a:cubicBezTo>
                      <a:pt x="1148" y="226"/>
                      <a:pt x="1149" y="243"/>
                      <a:pt x="1143" y="251"/>
                    </a:cubicBezTo>
                    <a:cubicBezTo>
                      <a:pt x="1137" y="258"/>
                      <a:pt x="1133" y="264"/>
                      <a:pt x="1125" y="268"/>
                    </a:cubicBezTo>
                    <a:cubicBezTo>
                      <a:pt x="1117" y="272"/>
                      <a:pt x="1114" y="273"/>
                      <a:pt x="1108" y="273"/>
                    </a:cubicBezTo>
                    <a:cubicBezTo>
                      <a:pt x="1103" y="273"/>
                      <a:pt x="1099" y="271"/>
                      <a:pt x="1094" y="271"/>
                    </a:cubicBezTo>
                    <a:cubicBezTo>
                      <a:pt x="1089" y="271"/>
                      <a:pt x="1076" y="271"/>
                      <a:pt x="1072" y="271"/>
                    </a:cubicBezTo>
                    <a:cubicBezTo>
                      <a:pt x="1067" y="270"/>
                      <a:pt x="1064" y="266"/>
                      <a:pt x="1062" y="265"/>
                    </a:cubicBezTo>
                    <a:cubicBezTo>
                      <a:pt x="1059" y="265"/>
                      <a:pt x="1057" y="270"/>
                      <a:pt x="1054" y="268"/>
                    </a:cubicBezTo>
                    <a:cubicBezTo>
                      <a:pt x="1051" y="266"/>
                      <a:pt x="1046" y="264"/>
                      <a:pt x="1045" y="264"/>
                    </a:cubicBezTo>
                    <a:cubicBezTo>
                      <a:pt x="1044" y="264"/>
                      <a:pt x="1038" y="264"/>
                      <a:pt x="1035" y="261"/>
                    </a:cubicBezTo>
                    <a:cubicBezTo>
                      <a:pt x="1032" y="258"/>
                      <a:pt x="1028" y="253"/>
                      <a:pt x="1025" y="252"/>
                    </a:cubicBezTo>
                    <a:cubicBezTo>
                      <a:pt x="1022" y="251"/>
                      <a:pt x="1017" y="252"/>
                      <a:pt x="1016" y="254"/>
                    </a:cubicBezTo>
                    <a:cubicBezTo>
                      <a:pt x="1015" y="256"/>
                      <a:pt x="1014" y="257"/>
                      <a:pt x="1016" y="257"/>
                    </a:cubicBezTo>
                    <a:cubicBezTo>
                      <a:pt x="1018" y="257"/>
                      <a:pt x="1022" y="256"/>
                      <a:pt x="1022" y="259"/>
                    </a:cubicBezTo>
                    <a:cubicBezTo>
                      <a:pt x="1023" y="261"/>
                      <a:pt x="1022" y="262"/>
                      <a:pt x="1025" y="264"/>
                    </a:cubicBezTo>
                    <a:cubicBezTo>
                      <a:pt x="1028" y="266"/>
                      <a:pt x="1038" y="271"/>
                      <a:pt x="1041" y="274"/>
                    </a:cubicBezTo>
                    <a:cubicBezTo>
                      <a:pt x="1044" y="276"/>
                      <a:pt x="1066" y="289"/>
                      <a:pt x="1067" y="293"/>
                    </a:cubicBezTo>
                    <a:cubicBezTo>
                      <a:pt x="1068" y="297"/>
                      <a:pt x="1068" y="299"/>
                      <a:pt x="1067" y="301"/>
                    </a:cubicBezTo>
                    <a:cubicBezTo>
                      <a:pt x="1067" y="304"/>
                      <a:pt x="1063" y="308"/>
                      <a:pt x="1063" y="310"/>
                    </a:cubicBezTo>
                    <a:cubicBezTo>
                      <a:pt x="1063" y="312"/>
                      <a:pt x="1062" y="311"/>
                      <a:pt x="1066" y="316"/>
                    </a:cubicBezTo>
                    <a:cubicBezTo>
                      <a:pt x="1070" y="320"/>
                      <a:pt x="1076" y="327"/>
                      <a:pt x="1076" y="329"/>
                    </a:cubicBezTo>
                    <a:cubicBezTo>
                      <a:pt x="1076" y="331"/>
                      <a:pt x="1075" y="335"/>
                      <a:pt x="1075" y="335"/>
                    </a:cubicBezTo>
                    <a:cubicBezTo>
                      <a:pt x="1075" y="335"/>
                      <a:pt x="1075" y="339"/>
                      <a:pt x="1077" y="341"/>
                    </a:cubicBezTo>
                    <a:cubicBezTo>
                      <a:pt x="1079" y="343"/>
                      <a:pt x="1082" y="345"/>
                      <a:pt x="1085" y="345"/>
                    </a:cubicBezTo>
                    <a:cubicBezTo>
                      <a:pt x="1089" y="346"/>
                      <a:pt x="1090" y="343"/>
                      <a:pt x="1092" y="343"/>
                    </a:cubicBezTo>
                    <a:cubicBezTo>
                      <a:pt x="1094" y="344"/>
                      <a:pt x="1101" y="348"/>
                      <a:pt x="1102" y="350"/>
                    </a:cubicBezTo>
                    <a:cubicBezTo>
                      <a:pt x="1103" y="352"/>
                      <a:pt x="1102" y="355"/>
                      <a:pt x="1107" y="355"/>
                    </a:cubicBezTo>
                    <a:cubicBezTo>
                      <a:pt x="1111" y="355"/>
                      <a:pt x="1119" y="355"/>
                      <a:pt x="1123" y="358"/>
                    </a:cubicBezTo>
                    <a:cubicBezTo>
                      <a:pt x="1125" y="359"/>
                      <a:pt x="1135" y="350"/>
                      <a:pt x="1134" y="347"/>
                    </a:cubicBezTo>
                    <a:cubicBezTo>
                      <a:pt x="1133" y="344"/>
                      <a:pt x="1128" y="341"/>
                      <a:pt x="1129" y="339"/>
                    </a:cubicBezTo>
                    <a:cubicBezTo>
                      <a:pt x="1130" y="337"/>
                      <a:pt x="1130" y="335"/>
                      <a:pt x="1130" y="334"/>
                    </a:cubicBezTo>
                    <a:cubicBezTo>
                      <a:pt x="1129" y="334"/>
                      <a:pt x="1123" y="333"/>
                      <a:pt x="1120" y="334"/>
                    </a:cubicBezTo>
                    <a:cubicBezTo>
                      <a:pt x="1118" y="335"/>
                      <a:pt x="1121" y="338"/>
                      <a:pt x="1117" y="337"/>
                    </a:cubicBezTo>
                    <a:cubicBezTo>
                      <a:pt x="1113" y="337"/>
                      <a:pt x="1100" y="325"/>
                      <a:pt x="1100" y="323"/>
                    </a:cubicBezTo>
                    <a:cubicBezTo>
                      <a:pt x="1099" y="320"/>
                      <a:pt x="1104" y="319"/>
                      <a:pt x="1104" y="318"/>
                    </a:cubicBezTo>
                    <a:cubicBezTo>
                      <a:pt x="1104" y="318"/>
                      <a:pt x="1101" y="312"/>
                      <a:pt x="1103" y="310"/>
                    </a:cubicBezTo>
                    <a:cubicBezTo>
                      <a:pt x="1105" y="308"/>
                      <a:pt x="1105" y="308"/>
                      <a:pt x="1107" y="309"/>
                    </a:cubicBezTo>
                    <a:cubicBezTo>
                      <a:pt x="1109" y="309"/>
                      <a:pt x="1114" y="311"/>
                      <a:pt x="1116" y="311"/>
                    </a:cubicBezTo>
                    <a:cubicBezTo>
                      <a:pt x="1118" y="311"/>
                      <a:pt x="1118" y="315"/>
                      <a:pt x="1121" y="315"/>
                    </a:cubicBezTo>
                    <a:cubicBezTo>
                      <a:pt x="1123" y="316"/>
                      <a:pt x="1136" y="316"/>
                      <a:pt x="1138" y="317"/>
                    </a:cubicBezTo>
                    <a:cubicBezTo>
                      <a:pt x="1141" y="317"/>
                      <a:pt x="1147" y="322"/>
                      <a:pt x="1150" y="321"/>
                    </a:cubicBezTo>
                    <a:cubicBezTo>
                      <a:pt x="1154" y="320"/>
                      <a:pt x="1153" y="314"/>
                      <a:pt x="1156" y="312"/>
                    </a:cubicBezTo>
                    <a:cubicBezTo>
                      <a:pt x="1158" y="310"/>
                      <a:pt x="1163" y="311"/>
                      <a:pt x="1161" y="308"/>
                    </a:cubicBezTo>
                    <a:cubicBezTo>
                      <a:pt x="1159" y="304"/>
                      <a:pt x="1146" y="297"/>
                      <a:pt x="1144" y="292"/>
                    </a:cubicBezTo>
                    <a:cubicBezTo>
                      <a:pt x="1143" y="287"/>
                      <a:pt x="1142" y="283"/>
                      <a:pt x="1146" y="280"/>
                    </a:cubicBezTo>
                    <a:cubicBezTo>
                      <a:pt x="1149" y="277"/>
                      <a:pt x="1151" y="266"/>
                      <a:pt x="1153" y="265"/>
                    </a:cubicBezTo>
                    <a:cubicBezTo>
                      <a:pt x="1155" y="264"/>
                      <a:pt x="1162" y="259"/>
                      <a:pt x="1163" y="255"/>
                    </a:cubicBezTo>
                    <a:cubicBezTo>
                      <a:pt x="1164" y="251"/>
                      <a:pt x="1164" y="241"/>
                      <a:pt x="1167" y="240"/>
                    </a:cubicBezTo>
                    <a:cubicBezTo>
                      <a:pt x="1170" y="240"/>
                      <a:pt x="1171" y="244"/>
                      <a:pt x="1175" y="242"/>
                    </a:cubicBezTo>
                    <a:cubicBezTo>
                      <a:pt x="1180" y="240"/>
                      <a:pt x="1181" y="238"/>
                      <a:pt x="1184" y="239"/>
                    </a:cubicBezTo>
                    <a:cubicBezTo>
                      <a:pt x="1186" y="241"/>
                      <a:pt x="1196" y="247"/>
                      <a:pt x="1198" y="246"/>
                    </a:cubicBezTo>
                    <a:cubicBezTo>
                      <a:pt x="1200" y="245"/>
                      <a:pt x="1199" y="243"/>
                      <a:pt x="1198" y="240"/>
                    </a:cubicBezTo>
                    <a:cubicBezTo>
                      <a:pt x="1196" y="236"/>
                      <a:pt x="1196" y="233"/>
                      <a:pt x="1196" y="230"/>
                    </a:cubicBezTo>
                    <a:cubicBezTo>
                      <a:pt x="1197" y="226"/>
                      <a:pt x="1197" y="221"/>
                      <a:pt x="1193" y="217"/>
                    </a:cubicBezTo>
                    <a:cubicBezTo>
                      <a:pt x="1189" y="213"/>
                      <a:pt x="1188" y="209"/>
                      <a:pt x="1184" y="210"/>
                    </a:cubicBezTo>
                    <a:cubicBezTo>
                      <a:pt x="1181" y="211"/>
                      <a:pt x="1178" y="211"/>
                      <a:pt x="1177" y="208"/>
                    </a:cubicBezTo>
                    <a:cubicBezTo>
                      <a:pt x="1177" y="205"/>
                      <a:pt x="1178" y="188"/>
                      <a:pt x="1175" y="182"/>
                    </a:cubicBezTo>
                    <a:cubicBezTo>
                      <a:pt x="1172" y="177"/>
                      <a:pt x="1170" y="170"/>
                      <a:pt x="1166" y="168"/>
                    </a:cubicBezTo>
                    <a:cubicBezTo>
                      <a:pt x="1163" y="167"/>
                      <a:pt x="1151" y="166"/>
                      <a:pt x="1151" y="161"/>
                    </a:cubicBezTo>
                    <a:cubicBezTo>
                      <a:pt x="1151" y="158"/>
                      <a:pt x="1151" y="158"/>
                      <a:pt x="1154" y="158"/>
                    </a:cubicBezTo>
                    <a:cubicBezTo>
                      <a:pt x="1156" y="158"/>
                      <a:pt x="1163" y="161"/>
                      <a:pt x="1164" y="160"/>
                    </a:cubicBezTo>
                    <a:cubicBezTo>
                      <a:pt x="1166" y="159"/>
                      <a:pt x="1178" y="154"/>
                      <a:pt x="1182" y="154"/>
                    </a:cubicBezTo>
                    <a:cubicBezTo>
                      <a:pt x="1185" y="154"/>
                      <a:pt x="1190" y="155"/>
                      <a:pt x="1192" y="156"/>
                    </a:cubicBezTo>
                    <a:cubicBezTo>
                      <a:pt x="1194" y="158"/>
                      <a:pt x="1203" y="165"/>
                      <a:pt x="1205" y="167"/>
                    </a:cubicBezTo>
                    <a:cubicBezTo>
                      <a:pt x="1207" y="169"/>
                      <a:pt x="1211" y="173"/>
                      <a:pt x="1208" y="174"/>
                    </a:cubicBezTo>
                    <a:cubicBezTo>
                      <a:pt x="1206" y="175"/>
                      <a:pt x="1194" y="181"/>
                      <a:pt x="1194" y="183"/>
                    </a:cubicBezTo>
                    <a:cubicBezTo>
                      <a:pt x="1193" y="185"/>
                      <a:pt x="1191" y="196"/>
                      <a:pt x="1192" y="198"/>
                    </a:cubicBezTo>
                    <a:cubicBezTo>
                      <a:pt x="1194" y="199"/>
                      <a:pt x="1203" y="199"/>
                      <a:pt x="1204" y="201"/>
                    </a:cubicBezTo>
                    <a:cubicBezTo>
                      <a:pt x="1206" y="202"/>
                      <a:pt x="1211" y="209"/>
                      <a:pt x="1214" y="209"/>
                    </a:cubicBezTo>
                    <a:cubicBezTo>
                      <a:pt x="1218" y="208"/>
                      <a:pt x="1231" y="201"/>
                      <a:pt x="1234" y="199"/>
                    </a:cubicBezTo>
                    <a:cubicBezTo>
                      <a:pt x="1235" y="197"/>
                      <a:pt x="1236" y="194"/>
                      <a:pt x="1232" y="191"/>
                    </a:cubicBezTo>
                    <a:cubicBezTo>
                      <a:pt x="1228" y="189"/>
                      <a:pt x="1228" y="179"/>
                      <a:pt x="1228" y="175"/>
                    </a:cubicBezTo>
                    <a:cubicBezTo>
                      <a:pt x="1227" y="172"/>
                      <a:pt x="1236" y="168"/>
                      <a:pt x="1235" y="166"/>
                    </a:cubicBezTo>
                    <a:cubicBezTo>
                      <a:pt x="1235" y="163"/>
                      <a:pt x="1232" y="161"/>
                      <a:pt x="1233" y="159"/>
                    </a:cubicBezTo>
                    <a:cubicBezTo>
                      <a:pt x="1235" y="157"/>
                      <a:pt x="1238" y="159"/>
                      <a:pt x="1239" y="157"/>
                    </a:cubicBezTo>
                    <a:cubicBezTo>
                      <a:pt x="1241" y="156"/>
                      <a:pt x="1249" y="130"/>
                      <a:pt x="1252" y="127"/>
                    </a:cubicBezTo>
                    <a:cubicBezTo>
                      <a:pt x="1255" y="123"/>
                      <a:pt x="1261" y="121"/>
                      <a:pt x="1264" y="116"/>
                    </a:cubicBezTo>
                    <a:cubicBezTo>
                      <a:pt x="1266" y="111"/>
                      <a:pt x="1277" y="90"/>
                      <a:pt x="1283" y="87"/>
                    </a:cubicBezTo>
                    <a:cubicBezTo>
                      <a:pt x="1290" y="84"/>
                      <a:pt x="1294" y="85"/>
                      <a:pt x="1290" y="88"/>
                    </a:cubicBezTo>
                    <a:cubicBezTo>
                      <a:pt x="1286" y="91"/>
                      <a:pt x="1282" y="93"/>
                      <a:pt x="1282" y="96"/>
                    </a:cubicBezTo>
                    <a:cubicBezTo>
                      <a:pt x="1282" y="100"/>
                      <a:pt x="1281" y="103"/>
                      <a:pt x="1284" y="105"/>
                    </a:cubicBezTo>
                    <a:cubicBezTo>
                      <a:pt x="1286" y="107"/>
                      <a:pt x="1290" y="113"/>
                      <a:pt x="1287" y="114"/>
                    </a:cubicBezTo>
                    <a:cubicBezTo>
                      <a:pt x="1284" y="115"/>
                      <a:pt x="1281" y="118"/>
                      <a:pt x="1282" y="120"/>
                    </a:cubicBezTo>
                    <a:cubicBezTo>
                      <a:pt x="1284" y="121"/>
                      <a:pt x="1289" y="120"/>
                      <a:pt x="1291" y="118"/>
                    </a:cubicBezTo>
                    <a:cubicBezTo>
                      <a:pt x="1293" y="117"/>
                      <a:pt x="1294" y="111"/>
                      <a:pt x="1297" y="112"/>
                    </a:cubicBezTo>
                    <a:cubicBezTo>
                      <a:pt x="1299" y="113"/>
                      <a:pt x="1304" y="114"/>
                      <a:pt x="1304" y="113"/>
                    </a:cubicBezTo>
                    <a:cubicBezTo>
                      <a:pt x="1305" y="112"/>
                      <a:pt x="1299" y="107"/>
                      <a:pt x="1301" y="102"/>
                    </a:cubicBezTo>
                    <a:cubicBezTo>
                      <a:pt x="1302" y="97"/>
                      <a:pt x="1305" y="91"/>
                      <a:pt x="1308" y="89"/>
                    </a:cubicBezTo>
                    <a:cubicBezTo>
                      <a:pt x="1310" y="88"/>
                      <a:pt x="1313" y="89"/>
                      <a:pt x="1315" y="88"/>
                    </a:cubicBezTo>
                    <a:cubicBezTo>
                      <a:pt x="1316" y="88"/>
                      <a:pt x="1319" y="87"/>
                      <a:pt x="1321" y="87"/>
                    </a:cubicBezTo>
                    <a:cubicBezTo>
                      <a:pt x="1322" y="86"/>
                      <a:pt x="1324" y="86"/>
                      <a:pt x="1324" y="86"/>
                    </a:cubicBezTo>
                    <a:cubicBezTo>
                      <a:pt x="1326" y="85"/>
                      <a:pt x="1326" y="77"/>
                      <a:pt x="1326" y="75"/>
                    </a:cubicBezTo>
                    <a:cubicBezTo>
                      <a:pt x="1326" y="72"/>
                      <a:pt x="1328" y="66"/>
                      <a:pt x="1330" y="64"/>
                    </a:cubicBezTo>
                    <a:cubicBezTo>
                      <a:pt x="1332" y="62"/>
                      <a:pt x="1340" y="61"/>
                      <a:pt x="1341" y="62"/>
                    </a:cubicBezTo>
                    <a:cubicBezTo>
                      <a:pt x="1342" y="64"/>
                      <a:pt x="1345" y="76"/>
                      <a:pt x="1348" y="76"/>
                    </a:cubicBezTo>
                    <a:cubicBezTo>
                      <a:pt x="1350" y="76"/>
                      <a:pt x="1357" y="74"/>
                      <a:pt x="1357" y="70"/>
                    </a:cubicBezTo>
                    <a:cubicBezTo>
                      <a:pt x="1356" y="66"/>
                      <a:pt x="1354" y="61"/>
                      <a:pt x="1355" y="59"/>
                    </a:cubicBezTo>
                    <a:cubicBezTo>
                      <a:pt x="1356" y="55"/>
                      <a:pt x="1363" y="52"/>
                      <a:pt x="1357" y="46"/>
                    </a:cubicBezTo>
                    <a:cubicBezTo>
                      <a:pt x="1353" y="41"/>
                      <a:pt x="1348" y="35"/>
                      <a:pt x="1340" y="32"/>
                    </a:cubicBezTo>
                    <a:cubicBezTo>
                      <a:pt x="1338" y="31"/>
                      <a:pt x="1339" y="14"/>
                      <a:pt x="1340" y="14"/>
                    </a:cubicBezTo>
                    <a:cubicBezTo>
                      <a:pt x="1346" y="14"/>
                      <a:pt x="1358" y="8"/>
                      <a:pt x="1365" y="6"/>
                    </a:cubicBezTo>
                    <a:cubicBezTo>
                      <a:pt x="1373" y="4"/>
                      <a:pt x="1383" y="3"/>
                      <a:pt x="1397" y="3"/>
                    </a:cubicBezTo>
                    <a:cubicBezTo>
                      <a:pt x="1410" y="3"/>
                      <a:pt x="1426" y="1"/>
                      <a:pt x="1430" y="0"/>
                    </a:cubicBezTo>
                    <a:cubicBezTo>
                      <a:pt x="1433" y="0"/>
                      <a:pt x="1430" y="6"/>
                      <a:pt x="1435" y="6"/>
                    </a:cubicBezTo>
                    <a:cubicBezTo>
                      <a:pt x="1441" y="6"/>
                      <a:pt x="1446" y="6"/>
                      <a:pt x="1446" y="6"/>
                    </a:cubicBezTo>
                    <a:cubicBezTo>
                      <a:pt x="1446" y="6"/>
                      <a:pt x="1455" y="14"/>
                      <a:pt x="1457" y="11"/>
                    </a:cubicBezTo>
                    <a:cubicBezTo>
                      <a:pt x="1461" y="17"/>
                      <a:pt x="1464" y="23"/>
                      <a:pt x="1465" y="27"/>
                    </a:cubicBezTo>
                    <a:cubicBezTo>
                      <a:pt x="1468" y="43"/>
                      <a:pt x="1472" y="69"/>
                      <a:pt x="1470" y="82"/>
                    </a:cubicBezTo>
                    <a:cubicBezTo>
                      <a:pt x="1468" y="95"/>
                      <a:pt x="1447" y="159"/>
                      <a:pt x="1446" y="175"/>
                    </a:cubicBezTo>
                    <a:cubicBezTo>
                      <a:pt x="1445" y="191"/>
                      <a:pt x="1457" y="224"/>
                      <a:pt x="1475" y="252"/>
                    </a:cubicBezTo>
                    <a:cubicBezTo>
                      <a:pt x="1493" y="280"/>
                      <a:pt x="1507" y="350"/>
                      <a:pt x="1510" y="360"/>
                    </a:cubicBezTo>
                    <a:cubicBezTo>
                      <a:pt x="1513" y="370"/>
                      <a:pt x="1535" y="404"/>
                      <a:pt x="1552" y="414"/>
                    </a:cubicBezTo>
                    <a:cubicBezTo>
                      <a:pt x="1569" y="424"/>
                      <a:pt x="1590" y="435"/>
                      <a:pt x="1602" y="453"/>
                    </a:cubicBezTo>
                    <a:cubicBezTo>
                      <a:pt x="1614" y="471"/>
                      <a:pt x="1619" y="521"/>
                      <a:pt x="1625" y="528"/>
                    </a:cubicBezTo>
                    <a:cubicBezTo>
                      <a:pt x="1631" y="535"/>
                      <a:pt x="1634" y="560"/>
                      <a:pt x="1634" y="570"/>
                    </a:cubicBezTo>
                    <a:cubicBezTo>
                      <a:pt x="1634" y="580"/>
                      <a:pt x="1646" y="588"/>
                      <a:pt x="1652" y="591"/>
                    </a:cubicBezTo>
                    <a:cubicBezTo>
                      <a:pt x="1658" y="594"/>
                      <a:pt x="1659" y="602"/>
                      <a:pt x="1654" y="608"/>
                    </a:cubicBezTo>
                    <a:cubicBezTo>
                      <a:pt x="1649" y="614"/>
                      <a:pt x="1653" y="616"/>
                      <a:pt x="1659" y="631"/>
                    </a:cubicBezTo>
                    <a:cubicBezTo>
                      <a:pt x="1665" y="646"/>
                      <a:pt x="1657" y="645"/>
                      <a:pt x="1649" y="649"/>
                    </a:cubicBezTo>
                    <a:cubicBezTo>
                      <a:pt x="1641" y="653"/>
                      <a:pt x="1624" y="655"/>
                      <a:pt x="1614" y="655"/>
                    </a:cubicBezTo>
                    <a:cubicBezTo>
                      <a:pt x="1604" y="655"/>
                      <a:pt x="1592" y="668"/>
                      <a:pt x="1581" y="675"/>
                    </a:cubicBezTo>
                    <a:cubicBezTo>
                      <a:pt x="1570" y="682"/>
                      <a:pt x="1563" y="696"/>
                      <a:pt x="1555" y="700"/>
                    </a:cubicBezTo>
                    <a:cubicBezTo>
                      <a:pt x="1547" y="704"/>
                      <a:pt x="1533" y="707"/>
                      <a:pt x="1527" y="716"/>
                    </a:cubicBezTo>
                    <a:cubicBezTo>
                      <a:pt x="1521" y="725"/>
                      <a:pt x="1529" y="741"/>
                      <a:pt x="1531" y="749"/>
                    </a:cubicBezTo>
                    <a:cubicBezTo>
                      <a:pt x="1533" y="757"/>
                      <a:pt x="1557" y="770"/>
                      <a:pt x="1568" y="777"/>
                    </a:cubicBezTo>
                    <a:cubicBezTo>
                      <a:pt x="1579" y="784"/>
                      <a:pt x="1577" y="791"/>
                      <a:pt x="1579" y="805"/>
                    </a:cubicBezTo>
                    <a:cubicBezTo>
                      <a:pt x="1580" y="817"/>
                      <a:pt x="1595" y="835"/>
                      <a:pt x="1609" y="850"/>
                    </a:cubicBezTo>
                    <a:cubicBezTo>
                      <a:pt x="1608" y="851"/>
                      <a:pt x="1607" y="851"/>
                      <a:pt x="1606" y="852"/>
                    </a:cubicBezTo>
                    <a:cubicBezTo>
                      <a:pt x="1600" y="857"/>
                      <a:pt x="1591" y="865"/>
                      <a:pt x="1588" y="871"/>
                    </a:cubicBezTo>
                    <a:cubicBezTo>
                      <a:pt x="1584" y="879"/>
                      <a:pt x="1582" y="888"/>
                      <a:pt x="1578" y="891"/>
                    </a:cubicBezTo>
                    <a:cubicBezTo>
                      <a:pt x="1572" y="893"/>
                      <a:pt x="1568" y="886"/>
                      <a:pt x="1566" y="893"/>
                    </a:cubicBezTo>
                    <a:cubicBezTo>
                      <a:pt x="1564" y="899"/>
                      <a:pt x="1566" y="906"/>
                      <a:pt x="1565" y="912"/>
                    </a:cubicBezTo>
                    <a:cubicBezTo>
                      <a:pt x="1564" y="918"/>
                      <a:pt x="1558" y="927"/>
                      <a:pt x="1552" y="929"/>
                    </a:cubicBezTo>
                    <a:cubicBezTo>
                      <a:pt x="1546" y="931"/>
                      <a:pt x="1543" y="932"/>
                      <a:pt x="1541" y="940"/>
                    </a:cubicBezTo>
                    <a:cubicBezTo>
                      <a:pt x="1539" y="947"/>
                      <a:pt x="1541" y="961"/>
                      <a:pt x="1540" y="965"/>
                    </a:cubicBezTo>
                    <a:cubicBezTo>
                      <a:pt x="1538" y="968"/>
                      <a:pt x="1532" y="971"/>
                      <a:pt x="1532" y="976"/>
                    </a:cubicBezTo>
                    <a:cubicBezTo>
                      <a:pt x="1532" y="981"/>
                      <a:pt x="1531" y="987"/>
                      <a:pt x="1536" y="986"/>
                    </a:cubicBezTo>
                    <a:cubicBezTo>
                      <a:pt x="1542" y="985"/>
                      <a:pt x="1544" y="984"/>
                      <a:pt x="1548" y="988"/>
                    </a:cubicBezTo>
                    <a:cubicBezTo>
                      <a:pt x="1552" y="992"/>
                      <a:pt x="1553" y="992"/>
                      <a:pt x="1555" y="994"/>
                    </a:cubicBezTo>
                    <a:cubicBezTo>
                      <a:pt x="1557" y="996"/>
                      <a:pt x="1560" y="988"/>
                      <a:pt x="1563" y="987"/>
                    </a:cubicBezTo>
                    <a:cubicBezTo>
                      <a:pt x="1566" y="986"/>
                      <a:pt x="1566" y="989"/>
                      <a:pt x="1566" y="996"/>
                    </a:cubicBezTo>
                    <a:cubicBezTo>
                      <a:pt x="1566" y="1002"/>
                      <a:pt x="1567" y="1023"/>
                      <a:pt x="1568" y="1026"/>
                    </a:cubicBezTo>
                    <a:cubicBezTo>
                      <a:pt x="1570" y="1028"/>
                      <a:pt x="1583" y="1038"/>
                      <a:pt x="1587" y="1041"/>
                    </a:cubicBezTo>
                    <a:cubicBezTo>
                      <a:pt x="1592" y="1045"/>
                      <a:pt x="1608" y="1056"/>
                      <a:pt x="1613" y="1059"/>
                    </a:cubicBezTo>
                    <a:cubicBezTo>
                      <a:pt x="1618" y="1061"/>
                      <a:pt x="1629" y="1066"/>
                      <a:pt x="1632" y="1070"/>
                    </a:cubicBezTo>
                    <a:cubicBezTo>
                      <a:pt x="1635" y="1074"/>
                      <a:pt x="1645" y="1084"/>
                      <a:pt x="1648" y="1086"/>
                    </a:cubicBezTo>
                    <a:cubicBezTo>
                      <a:pt x="1651" y="1088"/>
                      <a:pt x="1656" y="1090"/>
                      <a:pt x="1659" y="1089"/>
                    </a:cubicBezTo>
                    <a:cubicBezTo>
                      <a:pt x="1661" y="1089"/>
                      <a:pt x="1665" y="1086"/>
                      <a:pt x="1669" y="1086"/>
                    </a:cubicBezTo>
                    <a:cubicBezTo>
                      <a:pt x="1672" y="1086"/>
                      <a:pt x="1677" y="1089"/>
                      <a:pt x="1678" y="1092"/>
                    </a:cubicBezTo>
                    <a:cubicBezTo>
                      <a:pt x="1680" y="1095"/>
                      <a:pt x="1682" y="1098"/>
                      <a:pt x="1680" y="1099"/>
                    </a:cubicBezTo>
                    <a:cubicBezTo>
                      <a:pt x="1678" y="1101"/>
                      <a:pt x="1673" y="1095"/>
                      <a:pt x="1669" y="1097"/>
                    </a:cubicBezTo>
                    <a:cubicBezTo>
                      <a:pt x="1665" y="1100"/>
                      <a:pt x="1660" y="1103"/>
                      <a:pt x="1659" y="1107"/>
                    </a:cubicBezTo>
                    <a:cubicBezTo>
                      <a:pt x="1659" y="1111"/>
                      <a:pt x="1660" y="1125"/>
                      <a:pt x="1660" y="1129"/>
                    </a:cubicBezTo>
                    <a:cubicBezTo>
                      <a:pt x="1661" y="1132"/>
                      <a:pt x="1665" y="1146"/>
                      <a:pt x="1665" y="1149"/>
                    </a:cubicBezTo>
                    <a:cubicBezTo>
                      <a:pt x="1665" y="1152"/>
                      <a:pt x="1657" y="1146"/>
                      <a:pt x="1656" y="1149"/>
                    </a:cubicBezTo>
                    <a:cubicBezTo>
                      <a:pt x="1655" y="1153"/>
                      <a:pt x="1661" y="1173"/>
                      <a:pt x="1661" y="1176"/>
                    </a:cubicBezTo>
                    <a:cubicBezTo>
                      <a:pt x="1662" y="1178"/>
                      <a:pt x="1658" y="1179"/>
                      <a:pt x="1655" y="1179"/>
                    </a:cubicBezTo>
                    <a:cubicBezTo>
                      <a:pt x="1652" y="1179"/>
                      <a:pt x="1633" y="1174"/>
                      <a:pt x="1633" y="1169"/>
                    </a:cubicBezTo>
                    <a:cubicBezTo>
                      <a:pt x="1633" y="1164"/>
                      <a:pt x="1639" y="1167"/>
                      <a:pt x="1640" y="1162"/>
                    </a:cubicBezTo>
                    <a:cubicBezTo>
                      <a:pt x="1641" y="1157"/>
                      <a:pt x="1632" y="1152"/>
                      <a:pt x="1632" y="1152"/>
                    </a:cubicBezTo>
                    <a:cubicBezTo>
                      <a:pt x="1637" y="1146"/>
                      <a:pt x="1637" y="1146"/>
                      <a:pt x="1637" y="1146"/>
                    </a:cubicBezTo>
                    <a:cubicBezTo>
                      <a:pt x="1623" y="1140"/>
                      <a:pt x="1623" y="1140"/>
                      <a:pt x="1623" y="1140"/>
                    </a:cubicBezTo>
                    <a:cubicBezTo>
                      <a:pt x="1623" y="1140"/>
                      <a:pt x="1596" y="1182"/>
                      <a:pt x="1593" y="1183"/>
                    </a:cubicBezTo>
                    <a:cubicBezTo>
                      <a:pt x="1591" y="1185"/>
                      <a:pt x="1570" y="1193"/>
                      <a:pt x="1564" y="1190"/>
                    </a:cubicBezTo>
                    <a:cubicBezTo>
                      <a:pt x="1559" y="1188"/>
                      <a:pt x="1538" y="1168"/>
                      <a:pt x="1533" y="1170"/>
                    </a:cubicBezTo>
                    <a:cubicBezTo>
                      <a:pt x="1529" y="1173"/>
                      <a:pt x="1529" y="1185"/>
                      <a:pt x="1529" y="1185"/>
                    </a:cubicBezTo>
                    <a:cubicBezTo>
                      <a:pt x="1522" y="1189"/>
                      <a:pt x="1522" y="1189"/>
                      <a:pt x="1522" y="1189"/>
                    </a:cubicBezTo>
                    <a:cubicBezTo>
                      <a:pt x="1522" y="1189"/>
                      <a:pt x="1540" y="1214"/>
                      <a:pt x="1542" y="1219"/>
                    </a:cubicBezTo>
                    <a:cubicBezTo>
                      <a:pt x="1544" y="1224"/>
                      <a:pt x="1535" y="1236"/>
                      <a:pt x="1541" y="1238"/>
                    </a:cubicBezTo>
                    <a:cubicBezTo>
                      <a:pt x="1547" y="1240"/>
                      <a:pt x="1549" y="1241"/>
                      <a:pt x="1554" y="1246"/>
                    </a:cubicBezTo>
                    <a:cubicBezTo>
                      <a:pt x="1559" y="1250"/>
                      <a:pt x="1564" y="1261"/>
                      <a:pt x="1564" y="1261"/>
                    </a:cubicBezTo>
                    <a:cubicBezTo>
                      <a:pt x="1564" y="1261"/>
                      <a:pt x="1556" y="1273"/>
                      <a:pt x="1551" y="1271"/>
                    </a:cubicBezTo>
                    <a:cubicBezTo>
                      <a:pt x="1547" y="1270"/>
                      <a:pt x="1531" y="1267"/>
                      <a:pt x="1521" y="1268"/>
                    </a:cubicBezTo>
                    <a:cubicBezTo>
                      <a:pt x="1511" y="1269"/>
                      <a:pt x="1505" y="1273"/>
                      <a:pt x="1503" y="1279"/>
                    </a:cubicBezTo>
                    <a:cubicBezTo>
                      <a:pt x="1500" y="1284"/>
                      <a:pt x="1493" y="1278"/>
                      <a:pt x="1491" y="1281"/>
                    </a:cubicBezTo>
                    <a:cubicBezTo>
                      <a:pt x="1488" y="1284"/>
                      <a:pt x="1472" y="1294"/>
                      <a:pt x="1466" y="1294"/>
                    </a:cubicBezTo>
                    <a:cubicBezTo>
                      <a:pt x="1460" y="1294"/>
                      <a:pt x="1452" y="1294"/>
                      <a:pt x="1441" y="1308"/>
                    </a:cubicBezTo>
                    <a:cubicBezTo>
                      <a:pt x="1429" y="1321"/>
                      <a:pt x="1416" y="1323"/>
                      <a:pt x="1410" y="1325"/>
                    </a:cubicBezTo>
                    <a:cubicBezTo>
                      <a:pt x="1403" y="1327"/>
                      <a:pt x="1388" y="1319"/>
                      <a:pt x="1382" y="1323"/>
                    </a:cubicBezTo>
                    <a:cubicBezTo>
                      <a:pt x="1376" y="1326"/>
                      <a:pt x="1364" y="1338"/>
                      <a:pt x="1359" y="1338"/>
                    </a:cubicBezTo>
                    <a:cubicBezTo>
                      <a:pt x="1353" y="1338"/>
                      <a:pt x="1341" y="1335"/>
                      <a:pt x="1338" y="1337"/>
                    </a:cubicBezTo>
                    <a:cubicBezTo>
                      <a:pt x="1335" y="1339"/>
                      <a:pt x="1334" y="1345"/>
                      <a:pt x="1335" y="1347"/>
                    </a:cubicBezTo>
                    <a:cubicBezTo>
                      <a:pt x="1335" y="1348"/>
                      <a:pt x="1342" y="1356"/>
                      <a:pt x="1340" y="1359"/>
                    </a:cubicBezTo>
                    <a:cubicBezTo>
                      <a:pt x="1337" y="1362"/>
                      <a:pt x="1333" y="1365"/>
                      <a:pt x="1331" y="1371"/>
                    </a:cubicBezTo>
                    <a:cubicBezTo>
                      <a:pt x="1329" y="1378"/>
                      <a:pt x="1327" y="1374"/>
                      <a:pt x="1327" y="1377"/>
                    </a:cubicBezTo>
                    <a:cubicBezTo>
                      <a:pt x="1327" y="1380"/>
                      <a:pt x="1320" y="1380"/>
                      <a:pt x="1317" y="1378"/>
                    </a:cubicBezTo>
                    <a:cubicBezTo>
                      <a:pt x="1314" y="1376"/>
                      <a:pt x="1320" y="1371"/>
                      <a:pt x="1318" y="1369"/>
                    </a:cubicBezTo>
                    <a:cubicBezTo>
                      <a:pt x="1315" y="1366"/>
                      <a:pt x="1311" y="1362"/>
                      <a:pt x="1313" y="1360"/>
                    </a:cubicBezTo>
                    <a:cubicBezTo>
                      <a:pt x="1316" y="1358"/>
                      <a:pt x="1320" y="1351"/>
                      <a:pt x="1321" y="1347"/>
                    </a:cubicBezTo>
                    <a:cubicBezTo>
                      <a:pt x="1322" y="1342"/>
                      <a:pt x="1322" y="1337"/>
                      <a:pt x="1318" y="1336"/>
                    </a:cubicBezTo>
                    <a:cubicBezTo>
                      <a:pt x="1314" y="1334"/>
                      <a:pt x="1307" y="1350"/>
                      <a:pt x="1302" y="1351"/>
                    </a:cubicBezTo>
                    <a:cubicBezTo>
                      <a:pt x="1298" y="1352"/>
                      <a:pt x="1281" y="1345"/>
                      <a:pt x="1277" y="1348"/>
                    </a:cubicBezTo>
                    <a:cubicBezTo>
                      <a:pt x="1272" y="1351"/>
                      <a:pt x="1261" y="1364"/>
                      <a:pt x="1259" y="1367"/>
                    </a:cubicBezTo>
                    <a:cubicBezTo>
                      <a:pt x="1258" y="1370"/>
                      <a:pt x="1254" y="1372"/>
                      <a:pt x="1249" y="1376"/>
                    </a:cubicBezTo>
                    <a:cubicBezTo>
                      <a:pt x="1244" y="1380"/>
                      <a:pt x="1229" y="1388"/>
                      <a:pt x="1223" y="1386"/>
                    </a:cubicBezTo>
                    <a:cubicBezTo>
                      <a:pt x="1216" y="1384"/>
                      <a:pt x="1205" y="1372"/>
                      <a:pt x="1201" y="1370"/>
                    </a:cubicBezTo>
                    <a:cubicBezTo>
                      <a:pt x="1197" y="1369"/>
                      <a:pt x="1167" y="1361"/>
                      <a:pt x="1160" y="1364"/>
                    </a:cubicBezTo>
                    <a:cubicBezTo>
                      <a:pt x="1154" y="1367"/>
                      <a:pt x="1158" y="1386"/>
                      <a:pt x="1155" y="1390"/>
                    </a:cubicBezTo>
                    <a:cubicBezTo>
                      <a:pt x="1152" y="1394"/>
                      <a:pt x="1145" y="1392"/>
                      <a:pt x="1137" y="1394"/>
                    </a:cubicBezTo>
                    <a:cubicBezTo>
                      <a:pt x="1129" y="1397"/>
                      <a:pt x="1115" y="1392"/>
                      <a:pt x="1114" y="1386"/>
                    </a:cubicBezTo>
                    <a:cubicBezTo>
                      <a:pt x="1113" y="1380"/>
                      <a:pt x="1109" y="1380"/>
                      <a:pt x="1105" y="1378"/>
                    </a:cubicBezTo>
                    <a:cubicBezTo>
                      <a:pt x="1101" y="1377"/>
                      <a:pt x="1094" y="1374"/>
                      <a:pt x="1091" y="1378"/>
                    </a:cubicBezTo>
                    <a:cubicBezTo>
                      <a:pt x="1089" y="1381"/>
                      <a:pt x="1084" y="1390"/>
                      <a:pt x="1080" y="1385"/>
                    </a:cubicBezTo>
                    <a:cubicBezTo>
                      <a:pt x="1076" y="1380"/>
                      <a:pt x="1078" y="1371"/>
                      <a:pt x="1074" y="1371"/>
                    </a:cubicBezTo>
                    <a:cubicBezTo>
                      <a:pt x="1070" y="1371"/>
                      <a:pt x="1061" y="1376"/>
                      <a:pt x="1056" y="1371"/>
                    </a:cubicBezTo>
                    <a:cubicBezTo>
                      <a:pt x="1052" y="1367"/>
                      <a:pt x="1057" y="1342"/>
                      <a:pt x="1051" y="1339"/>
                    </a:cubicBezTo>
                    <a:cubicBezTo>
                      <a:pt x="1045" y="1336"/>
                      <a:pt x="1027" y="1328"/>
                      <a:pt x="1023" y="1329"/>
                    </a:cubicBezTo>
                    <a:cubicBezTo>
                      <a:pt x="1019" y="1330"/>
                      <a:pt x="1017" y="1340"/>
                      <a:pt x="1013" y="1334"/>
                    </a:cubicBezTo>
                    <a:cubicBezTo>
                      <a:pt x="1008" y="1328"/>
                      <a:pt x="1008" y="1319"/>
                      <a:pt x="1012" y="1317"/>
                    </a:cubicBezTo>
                    <a:cubicBezTo>
                      <a:pt x="1015" y="1315"/>
                      <a:pt x="1031" y="1317"/>
                      <a:pt x="1034" y="1313"/>
                    </a:cubicBezTo>
                    <a:cubicBezTo>
                      <a:pt x="1037" y="1310"/>
                      <a:pt x="1043" y="1303"/>
                      <a:pt x="1038" y="1298"/>
                    </a:cubicBezTo>
                    <a:cubicBezTo>
                      <a:pt x="1034" y="1293"/>
                      <a:pt x="1042" y="1287"/>
                      <a:pt x="1037" y="1284"/>
                    </a:cubicBezTo>
                    <a:cubicBezTo>
                      <a:pt x="1032" y="1280"/>
                      <a:pt x="1021" y="1289"/>
                      <a:pt x="1015" y="1286"/>
                    </a:cubicBezTo>
                    <a:cubicBezTo>
                      <a:pt x="1013" y="1285"/>
                      <a:pt x="1017" y="1274"/>
                      <a:pt x="1020" y="1264"/>
                    </a:cubicBezTo>
                    <a:cubicBezTo>
                      <a:pt x="1021" y="1260"/>
                      <a:pt x="1027" y="1255"/>
                      <a:pt x="1033" y="1252"/>
                    </a:cubicBezTo>
                    <a:cubicBezTo>
                      <a:pt x="1038" y="1250"/>
                      <a:pt x="1043" y="1247"/>
                      <a:pt x="1048" y="1248"/>
                    </a:cubicBezTo>
                    <a:cubicBezTo>
                      <a:pt x="1053" y="1249"/>
                      <a:pt x="1063" y="1246"/>
                      <a:pt x="1068" y="1244"/>
                    </a:cubicBezTo>
                    <a:cubicBezTo>
                      <a:pt x="1073" y="1242"/>
                      <a:pt x="1092" y="1246"/>
                      <a:pt x="1095" y="1244"/>
                    </a:cubicBezTo>
                    <a:cubicBezTo>
                      <a:pt x="1098" y="1241"/>
                      <a:pt x="1089" y="1237"/>
                      <a:pt x="1094" y="1235"/>
                    </a:cubicBezTo>
                    <a:cubicBezTo>
                      <a:pt x="1100" y="1232"/>
                      <a:pt x="1111" y="1233"/>
                      <a:pt x="1116" y="1229"/>
                    </a:cubicBezTo>
                    <a:cubicBezTo>
                      <a:pt x="1120" y="1225"/>
                      <a:pt x="1096" y="1223"/>
                      <a:pt x="1097" y="1219"/>
                    </a:cubicBezTo>
                    <a:cubicBezTo>
                      <a:pt x="1098" y="1215"/>
                      <a:pt x="1096" y="1213"/>
                      <a:pt x="1103" y="1213"/>
                    </a:cubicBezTo>
                    <a:cubicBezTo>
                      <a:pt x="1111" y="1213"/>
                      <a:pt x="1147" y="1213"/>
                      <a:pt x="1154" y="1209"/>
                    </a:cubicBezTo>
                    <a:cubicBezTo>
                      <a:pt x="1160" y="1205"/>
                      <a:pt x="1156" y="1202"/>
                      <a:pt x="1161" y="1199"/>
                    </a:cubicBezTo>
                    <a:cubicBezTo>
                      <a:pt x="1166" y="1196"/>
                      <a:pt x="1186" y="1176"/>
                      <a:pt x="1191" y="1174"/>
                    </a:cubicBezTo>
                    <a:cubicBezTo>
                      <a:pt x="1197" y="1171"/>
                      <a:pt x="1207" y="1165"/>
                      <a:pt x="1219" y="1165"/>
                    </a:cubicBezTo>
                    <a:cubicBezTo>
                      <a:pt x="1230" y="1165"/>
                      <a:pt x="1239" y="1162"/>
                      <a:pt x="1242" y="1161"/>
                    </a:cubicBezTo>
                    <a:cubicBezTo>
                      <a:pt x="1245" y="1159"/>
                      <a:pt x="1248" y="1156"/>
                      <a:pt x="1250" y="1153"/>
                    </a:cubicBezTo>
                    <a:cubicBezTo>
                      <a:pt x="1253" y="1150"/>
                      <a:pt x="1256" y="1155"/>
                      <a:pt x="1259" y="1155"/>
                    </a:cubicBezTo>
                    <a:cubicBezTo>
                      <a:pt x="1261" y="1155"/>
                      <a:pt x="1255" y="1163"/>
                      <a:pt x="1259" y="1164"/>
                    </a:cubicBezTo>
                    <a:cubicBezTo>
                      <a:pt x="1264" y="1165"/>
                      <a:pt x="1267" y="1168"/>
                      <a:pt x="1271" y="1168"/>
                    </a:cubicBezTo>
                    <a:cubicBezTo>
                      <a:pt x="1276" y="1167"/>
                      <a:pt x="1278" y="1162"/>
                      <a:pt x="1281" y="1161"/>
                    </a:cubicBezTo>
                    <a:cubicBezTo>
                      <a:pt x="1284" y="1159"/>
                      <a:pt x="1288" y="1163"/>
                      <a:pt x="1288" y="1166"/>
                    </a:cubicBezTo>
                    <a:cubicBezTo>
                      <a:pt x="1288" y="1169"/>
                      <a:pt x="1288" y="1171"/>
                      <a:pt x="1292" y="1174"/>
                    </a:cubicBezTo>
                    <a:cubicBezTo>
                      <a:pt x="1296" y="1178"/>
                      <a:pt x="1298" y="1179"/>
                      <a:pt x="1300" y="1177"/>
                    </a:cubicBezTo>
                    <a:cubicBezTo>
                      <a:pt x="1303" y="1174"/>
                      <a:pt x="1302" y="1170"/>
                      <a:pt x="1305" y="1170"/>
                    </a:cubicBezTo>
                    <a:cubicBezTo>
                      <a:pt x="1308" y="1170"/>
                      <a:pt x="1311" y="1168"/>
                      <a:pt x="1313" y="1172"/>
                    </a:cubicBezTo>
                    <a:cubicBezTo>
                      <a:pt x="1316" y="1175"/>
                      <a:pt x="1314" y="1177"/>
                      <a:pt x="1318" y="1177"/>
                    </a:cubicBezTo>
                    <a:cubicBezTo>
                      <a:pt x="1322" y="1177"/>
                      <a:pt x="1339" y="1181"/>
                      <a:pt x="1347" y="1179"/>
                    </a:cubicBezTo>
                    <a:cubicBezTo>
                      <a:pt x="1355" y="1176"/>
                      <a:pt x="1372" y="1163"/>
                      <a:pt x="1379" y="1163"/>
                    </a:cubicBezTo>
                    <a:cubicBezTo>
                      <a:pt x="1385" y="1163"/>
                      <a:pt x="1394" y="1168"/>
                      <a:pt x="1401" y="1165"/>
                    </a:cubicBezTo>
                    <a:cubicBezTo>
                      <a:pt x="1407" y="1163"/>
                      <a:pt x="1426" y="1145"/>
                      <a:pt x="1430" y="1138"/>
                    </a:cubicBezTo>
                    <a:cubicBezTo>
                      <a:pt x="1434" y="1132"/>
                      <a:pt x="1437" y="1124"/>
                      <a:pt x="1434" y="1118"/>
                    </a:cubicBezTo>
                    <a:cubicBezTo>
                      <a:pt x="1431" y="1112"/>
                      <a:pt x="1421" y="1093"/>
                      <a:pt x="1415" y="1090"/>
                    </a:cubicBezTo>
                    <a:cubicBezTo>
                      <a:pt x="1410" y="1086"/>
                      <a:pt x="1400" y="1083"/>
                      <a:pt x="1395" y="1083"/>
                    </a:cubicBezTo>
                    <a:cubicBezTo>
                      <a:pt x="1390" y="1083"/>
                      <a:pt x="1386" y="1086"/>
                      <a:pt x="1382" y="1082"/>
                    </a:cubicBezTo>
                    <a:cubicBezTo>
                      <a:pt x="1377" y="1079"/>
                      <a:pt x="1348" y="1060"/>
                      <a:pt x="1340" y="1057"/>
                    </a:cubicBezTo>
                    <a:cubicBezTo>
                      <a:pt x="1332" y="1054"/>
                      <a:pt x="1309" y="1048"/>
                      <a:pt x="1302" y="1046"/>
                    </a:cubicBezTo>
                    <a:cubicBezTo>
                      <a:pt x="1297" y="1045"/>
                      <a:pt x="1292" y="1037"/>
                      <a:pt x="1286" y="1036"/>
                    </a:cubicBezTo>
                    <a:cubicBezTo>
                      <a:pt x="1283" y="1035"/>
                      <a:pt x="1277" y="1035"/>
                      <a:pt x="1275" y="1035"/>
                    </a:cubicBezTo>
                    <a:cubicBezTo>
                      <a:pt x="1272" y="1035"/>
                      <a:pt x="1274" y="1028"/>
                      <a:pt x="1274" y="1026"/>
                    </a:cubicBezTo>
                    <a:cubicBezTo>
                      <a:pt x="1275" y="1025"/>
                      <a:pt x="1277" y="1022"/>
                      <a:pt x="1281" y="1023"/>
                    </a:cubicBezTo>
                    <a:cubicBezTo>
                      <a:pt x="1284" y="1025"/>
                      <a:pt x="1291" y="1021"/>
                      <a:pt x="1294" y="1018"/>
                    </a:cubicBezTo>
                    <a:cubicBezTo>
                      <a:pt x="1297" y="1014"/>
                      <a:pt x="1298" y="1001"/>
                      <a:pt x="1298" y="998"/>
                    </a:cubicBezTo>
                    <a:cubicBezTo>
                      <a:pt x="1298" y="994"/>
                      <a:pt x="1305" y="993"/>
                      <a:pt x="1305" y="987"/>
                    </a:cubicBezTo>
                    <a:cubicBezTo>
                      <a:pt x="1305" y="981"/>
                      <a:pt x="1298" y="982"/>
                      <a:pt x="1296" y="982"/>
                    </a:cubicBezTo>
                    <a:cubicBezTo>
                      <a:pt x="1294" y="982"/>
                      <a:pt x="1287" y="974"/>
                      <a:pt x="1288" y="972"/>
                    </a:cubicBezTo>
                    <a:cubicBezTo>
                      <a:pt x="1288" y="970"/>
                      <a:pt x="1296" y="970"/>
                      <a:pt x="1299" y="970"/>
                    </a:cubicBezTo>
                    <a:cubicBezTo>
                      <a:pt x="1302" y="969"/>
                      <a:pt x="1303" y="963"/>
                      <a:pt x="1306" y="961"/>
                    </a:cubicBezTo>
                    <a:cubicBezTo>
                      <a:pt x="1309" y="960"/>
                      <a:pt x="1320" y="952"/>
                      <a:pt x="1322" y="951"/>
                    </a:cubicBezTo>
                    <a:cubicBezTo>
                      <a:pt x="1324" y="949"/>
                      <a:pt x="1320" y="941"/>
                      <a:pt x="1318" y="941"/>
                    </a:cubicBezTo>
                    <a:cubicBezTo>
                      <a:pt x="1316" y="942"/>
                      <a:pt x="1287" y="956"/>
                      <a:pt x="1283" y="958"/>
                    </a:cubicBezTo>
                    <a:cubicBezTo>
                      <a:pt x="1278" y="960"/>
                      <a:pt x="1279" y="962"/>
                      <a:pt x="1278" y="965"/>
                    </a:cubicBezTo>
                    <a:cubicBezTo>
                      <a:pt x="1277" y="967"/>
                      <a:pt x="1248" y="982"/>
                      <a:pt x="1245" y="983"/>
                    </a:cubicBezTo>
                    <a:cubicBezTo>
                      <a:pt x="1242" y="984"/>
                      <a:pt x="1234" y="997"/>
                      <a:pt x="1231" y="1000"/>
                    </a:cubicBezTo>
                    <a:cubicBezTo>
                      <a:pt x="1229" y="1002"/>
                      <a:pt x="1222" y="1003"/>
                      <a:pt x="1219" y="1006"/>
                    </a:cubicBezTo>
                    <a:cubicBezTo>
                      <a:pt x="1217" y="1009"/>
                      <a:pt x="1229" y="1024"/>
                      <a:pt x="1232" y="1028"/>
                    </a:cubicBezTo>
                    <a:cubicBezTo>
                      <a:pt x="1235" y="1031"/>
                      <a:pt x="1241" y="1034"/>
                      <a:pt x="1244" y="1034"/>
                    </a:cubicBezTo>
                    <a:cubicBezTo>
                      <a:pt x="1247" y="1034"/>
                      <a:pt x="1263" y="1021"/>
                      <a:pt x="1267" y="1026"/>
                    </a:cubicBezTo>
                    <a:cubicBezTo>
                      <a:pt x="1268" y="1029"/>
                      <a:pt x="1267" y="1034"/>
                      <a:pt x="1267" y="1036"/>
                    </a:cubicBezTo>
                    <a:cubicBezTo>
                      <a:pt x="1267" y="1038"/>
                      <a:pt x="1265" y="1040"/>
                      <a:pt x="1263" y="1041"/>
                    </a:cubicBezTo>
                    <a:cubicBezTo>
                      <a:pt x="1260" y="1042"/>
                      <a:pt x="1259" y="1043"/>
                      <a:pt x="1256" y="1043"/>
                    </a:cubicBezTo>
                    <a:cubicBezTo>
                      <a:pt x="1250" y="1042"/>
                      <a:pt x="1241" y="1043"/>
                      <a:pt x="1240" y="1050"/>
                    </a:cubicBezTo>
                    <a:cubicBezTo>
                      <a:pt x="1239" y="1057"/>
                      <a:pt x="1225" y="1057"/>
                      <a:pt x="1223" y="1060"/>
                    </a:cubicBezTo>
                    <a:cubicBezTo>
                      <a:pt x="1222" y="1064"/>
                      <a:pt x="1216" y="1075"/>
                      <a:pt x="1210" y="1077"/>
                    </a:cubicBezTo>
                    <a:cubicBezTo>
                      <a:pt x="1203" y="1080"/>
                      <a:pt x="1196" y="1080"/>
                      <a:pt x="1192" y="1075"/>
                    </a:cubicBezTo>
                    <a:cubicBezTo>
                      <a:pt x="1188" y="1069"/>
                      <a:pt x="1194" y="1072"/>
                      <a:pt x="1195" y="1064"/>
                    </a:cubicBezTo>
                    <a:cubicBezTo>
                      <a:pt x="1197" y="1057"/>
                      <a:pt x="1196" y="1050"/>
                      <a:pt x="1190" y="1051"/>
                    </a:cubicBezTo>
                    <a:cubicBezTo>
                      <a:pt x="1183" y="1053"/>
                      <a:pt x="1180" y="1045"/>
                      <a:pt x="1175" y="1047"/>
                    </a:cubicBezTo>
                    <a:cubicBezTo>
                      <a:pt x="1170" y="1048"/>
                      <a:pt x="1166" y="1054"/>
                      <a:pt x="1164" y="1049"/>
                    </a:cubicBezTo>
                    <a:cubicBezTo>
                      <a:pt x="1161" y="1044"/>
                      <a:pt x="1168" y="1036"/>
                      <a:pt x="1173" y="1034"/>
                    </a:cubicBezTo>
                    <a:cubicBezTo>
                      <a:pt x="1177" y="1031"/>
                      <a:pt x="1191" y="1027"/>
                      <a:pt x="1192" y="1022"/>
                    </a:cubicBezTo>
                    <a:cubicBezTo>
                      <a:pt x="1193" y="1017"/>
                      <a:pt x="1182" y="1016"/>
                      <a:pt x="1179" y="1016"/>
                    </a:cubicBezTo>
                    <a:cubicBezTo>
                      <a:pt x="1176" y="1016"/>
                      <a:pt x="1164" y="1021"/>
                      <a:pt x="1158" y="1021"/>
                    </a:cubicBezTo>
                    <a:cubicBezTo>
                      <a:pt x="1151" y="1021"/>
                      <a:pt x="1144" y="1016"/>
                      <a:pt x="1142" y="1014"/>
                    </a:cubicBezTo>
                    <a:cubicBezTo>
                      <a:pt x="1139" y="1011"/>
                      <a:pt x="1145" y="1009"/>
                      <a:pt x="1147" y="1008"/>
                    </a:cubicBezTo>
                    <a:cubicBezTo>
                      <a:pt x="1150" y="1007"/>
                      <a:pt x="1155" y="999"/>
                      <a:pt x="1145" y="1001"/>
                    </a:cubicBezTo>
                    <a:cubicBezTo>
                      <a:pt x="1134" y="1003"/>
                      <a:pt x="1120" y="1005"/>
                      <a:pt x="1117" y="1007"/>
                    </a:cubicBezTo>
                    <a:cubicBezTo>
                      <a:pt x="1114" y="1010"/>
                      <a:pt x="1119" y="1015"/>
                      <a:pt x="1114" y="1020"/>
                    </a:cubicBezTo>
                    <a:cubicBezTo>
                      <a:pt x="1110" y="1025"/>
                      <a:pt x="1095" y="1048"/>
                      <a:pt x="1093" y="1051"/>
                    </a:cubicBezTo>
                    <a:cubicBezTo>
                      <a:pt x="1091" y="1055"/>
                      <a:pt x="1098" y="1075"/>
                      <a:pt x="1095" y="1078"/>
                    </a:cubicBezTo>
                    <a:cubicBezTo>
                      <a:pt x="1092" y="1080"/>
                      <a:pt x="1084" y="1080"/>
                      <a:pt x="1081" y="1084"/>
                    </a:cubicBezTo>
                    <a:cubicBezTo>
                      <a:pt x="1078" y="1088"/>
                      <a:pt x="1070" y="1095"/>
                      <a:pt x="1070" y="1099"/>
                    </a:cubicBezTo>
                    <a:cubicBezTo>
                      <a:pt x="1070" y="1104"/>
                      <a:pt x="1073" y="1124"/>
                      <a:pt x="1073" y="1127"/>
                    </a:cubicBezTo>
                    <a:cubicBezTo>
                      <a:pt x="1073" y="1130"/>
                      <a:pt x="1070" y="1133"/>
                      <a:pt x="1069" y="1135"/>
                    </a:cubicBezTo>
                    <a:cubicBezTo>
                      <a:pt x="1068" y="1138"/>
                      <a:pt x="1059" y="1133"/>
                      <a:pt x="1059" y="1137"/>
                    </a:cubicBezTo>
                    <a:cubicBezTo>
                      <a:pt x="1059" y="1142"/>
                      <a:pt x="1056" y="1156"/>
                      <a:pt x="1056" y="1159"/>
                    </a:cubicBezTo>
                    <a:cubicBezTo>
                      <a:pt x="1056" y="1163"/>
                      <a:pt x="1046" y="1163"/>
                      <a:pt x="1046" y="1168"/>
                    </a:cubicBezTo>
                    <a:cubicBezTo>
                      <a:pt x="1046" y="1174"/>
                      <a:pt x="1051" y="1178"/>
                      <a:pt x="1057" y="1178"/>
                    </a:cubicBezTo>
                    <a:cubicBezTo>
                      <a:pt x="1063" y="1179"/>
                      <a:pt x="1063" y="1186"/>
                      <a:pt x="1063" y="1191"/>
                    </a:cubicBezTo>
                    <a:cubicBezTo>
                      <a:pt x="1063" y="1196"/>
                      <a:pt x="1067" y="1204"/>
                      <a:pt x="1072" y="1205"/>
                    </a:cubicBezTo>
                    <a:cubicBezTo>
                      <a:pt x="1076" y="1205"/>
                      <a:pt x="1089" y="1210"/>
                      <a:pt x="1091" y="1210"/>
                    </a:cubicBezTo>
                    <a:cubicBezTo>
                      <a:pt x="1094" y="1211"/>
                      <a:pt x="1091" y="1220"/>
                      <a:pt x="1087" y="1220"/>
                    </a:cubicBezTo>
                    <a:cubicBezTo>
                      <a:pt x="1084" y="1221"/>
                      <a:pt x="1075" y="1218"/>
                      <a:pt x="1071" y="1220"/>
                    </a:cubicBezTo>
                    <a:cubicBezTo>
                      <a:pt x="1066" y="1222"/>
                      <a:pt x="1058" y="1222"/>
                      <a:pt x="1054" y="1226"/>
                    </a:cubicBezTo>
                    <a:cubicBezTo>
                      <a:pt x="1051" y="1229"/>
                      <a:pt x="1046" y="1235"/>
                      <a:pt x="1046" y="1235"/>
                    </a:cubicBezTo>
                    <a:cubicBezTo>
                      <a:pt x="1046" y="1235"/>
                      <a:pt x="1043" y="1238"/>
                      <a:pt x="1040" y="1240"/>
                    </a:cubicBezTo>
                    <a:cubicBezTo>
                      <a:pt x="1037" y="1242"/>
                      <a:pt x="1026" y="1247"/>
                      <a:pt x="1022" y="1250"/>
                    </a:cubicBezTo>
                    <a:cubicBezTo>
                      <a:pt x="1018" y="1252"/>
                      <a:pt x="1021" y="1253"/>
                      <a:pt x="1018" y="1254"/>
                    </a:cubicBezTo>
                    <a:cubicBezTo>
                      <a:pt x="1015" y="1256"/>
                      <a:pt x="1013" y="1256"/>
                      <a:pt x="1012" y="1253"/>
                    </a:cubicBezTo>
                    <a:cubicBezTo>
                      <a:pt x="1012" y="1250"/>
                      <a:pt x="1029" y="1239"/>
                      <a:pt x="1028" y="1237"/>
                    </a:cubicBezTo>
                    <a:cubicBezTo>
                      <a:pt x="1027" y="1231"/>
                      <a:pt x="1016" y="1243"/>
                      <a:pt x="1012" y="1239"/>
                    </a:cubicBezTo>
                    <a:cubicBezTo>
                      <a:pt x="1009" y="1236"/>
                      <a:pt x="1005" y="1234"/>
                      <a:pt x="1000" y="1234"/>
                    </a:cubicBezTo>
                    <a:cubicBezTo>
                      <a:pt x="994" y="1234"/>
                      <a:pt x="986" y="1231"/>
                      <a:pt x="982" y="1233"/>
                    </a:cubicBezTo>
                    <a:cubicBezTo>
                      <a:pt x="977" y="1236"/>
                      <a:pt x="963" y="1241"/>
                      <a:pt x="957" y="1240"/>
                    </a:cubicBezTo>
                    <a:cubicBezTo>
                      <a:pt x="952" y="1240"/>
                      <a:pt x="946" y="1240"/>
                      <a:pt x="946" y="1243"/>
                    </a:cubicBezTo>
                    <a:cubicBezTo>
                      <a:pt x="946" y="1247"/>
                      <a:pt x="970" y="1258"/>
                      <a:pt x="969" y="1261"/>
                    </a:cubicBezTo>
                    <a:cubicBezTo>
                      <a:pt x="968" y="1264"/>
                      <a:pt x="966" y="1264"/>
                      <a:pt x="963" y="1263"/>
                    </a:cubicBezTo>
                    <a:cubicBezTo>
                      <a:pt x="960" y="1261"/>
                      <a:pt x="954" y="1254"/>
                      <a:pt x="951" y="1257"/>
                    </a:cubicBezTo>
                    <a:cubicBezTo>
                      <a:pt x="947" y="1260"/>
                      <a:pt x="957" y="1266"/>
                      <a:pt x="957" y="1268"/>
                    </a:cubicBezTo>
                    <a:cubicBezTo>
                      <a:pt x="957" y="1270"/>
                      <a:pt x="956" y="1274"/>
                      <a:pt x="955" y="1274"/>
                    </a:cubicBezTo>
                    <a:cubicBezTo>
                      <a:pt x="954" y="1274"/>
                      <a:pt x="946" y="1264"/>
                      <a:pt x="944" y="1262"/>
                    </a:cubicBezTo>
                    <a:cubicBezTo>
                      <a:pt x="941" y="1260"/>
                      <a:pt x="940" y="1260"/>
                      <a:pt x="938" y="1261"/>
                    </a:cubicBezTo>
                    <a:cubicBezTo>
                      <a:pt x="936" y="1262"/>
                      <a:pt x="939" y="1270"/>
                      <a:pt x="942" y="1271"/>
                    </a:cubicBezTo>
                    <a:cubicBezTo>
                      <a:pt x="945" y="1272"/>
                      <a:pt x="949" y="1275"/>
                      <a:pt x="947" y="1277"/>
                    </a:cubicBezTo>
                    <a:cubicBezTo>
                      <a:pt x="945" y="1279"/>
                      <a:pt x="941" y="1278"/>
                      <a:pt x="937" y="1274"/>
                    </a:cubicBezTo>
                    <a:cubicBezTo>
                      <a:pt x="932" y="1271"/>
                      <a:pt x="934" y="1263"/>
                      <a:pt x="931" y="1261"/>
                    </a:cubicBezTo>
                    <a:cubicBezTo>
                      <a:pt x="928" y="1259"/>
                      <a:pt x="923" y="1257"/>
                      <a:pt x="923" y="1254"/>
                    </a:cubicBezTo>
                    <a:cubicBezTo>
                      <a:pt x="924" y="1252"/>
                      <a:pt x="926" y="1252"/>
                      <a:pt x="927" y="1251"/>
                    </a:cubicBezTo>
                    <a:cubicBezTo>
                      <a:pt x="928" y="1249"/>
                      <a:pt x="925" y="1245"/>
                      <a:pt x="923" y="1246"/>
                    </a:cubicBezTo>
                    <a:cubicBezTo>
                      <a:pt x="920" y="1246"/>
                      <a:pt x="914" y="1251"/>
                      <a:pt x="914" y="1253"/>
                    </a:cubicBezTo>
                    <a:cubicBezTo>
                      <a:pt x="913" y="1256"/>
                      <a:pt x="918" y="1258"/>
                      <a:pt x="916" y="1261"/>
                    </a:cubicBezTo>
                    <a:cubicBezTo>
                      <a:pt x="914" y="1265"/>
                      <a:pt x="914" y="1268"/>
                      <a:pt x="916" y="1271"/>
                    </a:cubicBezTo>
                    <a:cubicBezTo>
                      <a:pt x="918" y="1274"/>
                      <a:pt x="921" y="1276"/>
                      <a:pt x="922" y="1279"/>
                    </a:cubicBezTo>
                    <a:cubicBezTo>
                      <a:pt x="925" y="1281"/>
                      <a:pt x="937" y="1298"/>
                      <a:pt x="937" y="1299"/>
                    </a:cubicBezTo>
                    <a:cubicBezTo>
                      <a:pt x="938" y="1301"/>
                      <a:pt x="938" y="1303"/>
                      <a:pt x="936" y="1303"/>
                    </a:cubicBezTo>
                    <a:cubicBezTo>
                      <a:pt x="934" y="1303"/>
                      <a:pt x="930" y="1297"/>
                      <a:pt x="927" y="1296"/>
                    </a:cubicBezTo>
                    <a:cubicBezTo>
                      <a:pt x="924" y="1296"/>
                      <a:pt x="922" y="1297"/>
                      <a:pt x="923" y="1300"/>
                    </a:cubicBezTo>
                    <a:cubicBezTo>
                      <a:pt x="924" y="1302"/>
                      <a:pt x="928" y="1303"/>
                      <a:pt x="928" y="1305"/>
                    </a:cubicBezTo>
                    <a:cubicBezTo>
                      <a:pt x="928" y="1307"/>
                      <a:pt x="921" y="1312"/>
                      <a:pt x="919" y="1311"/>
                    </a:cubicBezTo>
                    <a:cubicBezTo>
                      <a:pt x="916" y="1310"/>
                      <a:pt x="915" y="1312"/>
                      <a:pt x="916" y="1313"/>
                    </a:cubicBezTo>
                    <a:cubicBezTo>
                      <a:pt x="916" y="1314"/>
                      <a:pt x="919" y="1317"/>
                      <a:pt x="924" y="1318"/>
                    </a:cubicBezTo>
                    <a:cubicBezTo>
                      <a:pt x="930" y="1318"/>
                      <a:pt x="936" y="1322"/>
                      <a:pt x="937" y="1324"/>
                    </a:cubicBezTo>
                    <a:cubicBezTo>
                      <a:pt x="939" y="1326"/>
                      <a:pt x="945" y="1328"/>
                      <a:pt x="946" y="1326"/>
                    </a:cubicBezTo>
                    <a:cubicBezTo>
                      <a:pt x="947" y="1324"/>
                      <a:pt x="948" y="1324"/>
                      <a:pt x="945" y="1321"/>
                    </a:cubicBezTo>
                    <a:cubicBezTo>
                      <a:pt x="942" y="1318"/>
                      <a:pt x="941" y="1317"/>
                      <a:pt x="938" y="1316"/>
                    </a:cubicBezTo>
                    <a:cubicBezTo>
                      <a:pt x="936" y="1314"/>
                      <a:pt x="928" y="1313"/>
                      <a:pt x="930" y="1312"/>
                    </a:cubicBezTo>
                    <a:cubicBezTo>
                      <a:pt x="932" y="1312"/>
                      <a:pt x="935" y="1306"/>
                      <a:pt x="938" y="1307"/>
                    </a:cubicBezTo>
                    <a:cubicBezTo>
                      <a:pt x="940" y="1308"/>
                      <a:pt x="938" y="1307"/>
                      <a:pt x="940" y="1309"/>
                    </a:cubicBezTo>
                    <a:cubicBezTo>
                      <a:pt x="942" y="1311"/>
                      <a:pt x="944" y="1312"/>
                      <a:pt x="947" y="1313"/>
                    </a:cubicBezTo>
                    <a:cubicBezTo>
                      <a:pt x="950" y="1314"/>
                      <a:pt x="958" y="1317"/>
                      <a:pt x="960" y="1317"/>
                    </a:cubicBezTo>
                    <a:cubicBezTo>
                      <a:pt x="962" y="1317"/>
                      <a:pt x="962" y="1317"/>
                      <a:pt x="962" y="1319"/>
                    </a:cubicBezTo>
                    <a:cubicBezTo>
                      <a:pt x="963" y="1322"/>
                      <a:pt x="965" y="1323"/>
                      <a:pt x="966" y="1324"/>
                    </a:cubicBezTo>
                    <a:cubicBezTo>
                      <a:pt x="967" y="1324"/>
                      <a:pt x="966" y="1327"/>
                      <a:pt x="966" y="1329"/>
                    </a:cubicBezTo>
                    <a:cubicBezTo>
                      <a:pt x="966" y="1331"/>
                      <a:pt x="969" y="1335"/>
                      <a:pt x="971" y="1335"/>
                    </a:cubicBezTo>
                    <a:cubicBezTo>
                      <a:pt x="972" y="1335"/>
                      <a:pt x="977" y="1335"/>
                      <a:pt x="977" y="1336"/>
                    </a:cubicBezTo>
                    <a:cubicBezTo>
                      <a:pt x="977" y="1336"/>
                      <a:pt x="976" y="1344"/>
                      <a:pt x="975" y="1344"/>
                    </a:cubicBezTo>
                    <a:cubicBezTo>
                      <a:pt x="974" y="1345"/>
                      <a:pt x="969" y="1345"/>
                      <a:pt x="967" y="1342"/>
                    </a:cubicBezTo>
                    <a:cubicBezTo>
                      <a:pt x="965" y="1340"/>
                      <a:pt x="962" y="1335"/>
                      <a:pt x="961" y="1333"/>
                    </a:cubicBezTo>
                    <a:cubicBezTo>
                      <a:pt x="960" y="1331"/>
                      <a:pt x="958" y="1329"/>
                      <a:pt x="956" y="1329"/>
                    </a:cubicBezTo>
                    <a:cubicBezTo>
                      <a:pt x="954" y="1329"/>
                      <a:pt x="951" y="1328"/>
                      <a:pt x="951" y="1329"/>
                    </a:cubicBezTo>
                    <a:cubicBezTo>
                      <a:pt x="951" y="1330"/>
                      <a:pt x="950" y="1331"/>
                      <a:pt x="951" y="1332"/>
                    </a:cubicBezTo>
                    <a:cubicBezTo>
                      <a:pt x="952" y="1334"/>
                      <a:pt x="957" y="1337"/>
                      <a:pt x="957" y="1339"/>
                    </a:cubicBezTo>
                    <a:cubicBezTo>
                      <a:pt x="957" y="1340"/>
                      <a:pt x="956" y="1342"/>
                      <a:pt x="956" y="1344"/>
                    </a:cubicBezTo>
                    <a:cubicBezTo>
                      <a:pt x="956" y="1345"/>
                      <a:pt x="961" y="1350"/>
                      <a:pt x="960" y="1352"/>
                    </a:cubicBezTo>
                    <a:cubicBezTo>
                      <a:pt x="960" y="1354"/>
                      <a:pt x="961" y="1355"/>
                      <a:pt x="959" y="1355"/>
                    </a:cubicBezTo>
                    <a:cubicBezTo>
                      <a:pt x="957" y="1355"/>
                      <a:pt x="954" y="1355"/>
                      <a:pt x="953" y="1353"/>
                    </a:cubicBezTo>
                    <a:cubicBezTo>
                      <a:pt x="953" y="1351"/>
                      <a:pt x="946" y="1346"/>
                      <a:pt x="944" y="1346"/>
                    </a:cubicBezTo>
                    <a:cubicBezTo>
                      <a:pt x="942" y="1346"/>
                      <a:pt x="935" y="1346"/>
                      <a:pt x="933" y="1348"/>
                    </a:cubicBezTo>
                    <a:cubicBezTo>
                      <a:pt x="931" y="1349"/>
                      <a:pt x="935" y="1351"/>
                      <a:pt x="935" y="1352"/>
                    </a:cubicBezTo>
                    <a:cubicBezTo>
                      <a:pt x="936" y="1354"/>
                      <a:pt x="935" y="1357"/>
                      <a:pt x="938" y="1359"/>
                    </a:cubicBezTo>
                    <a:cubicBezTo>
                      <a:pt x="940" y="1360"/>
                      <a:pt x="947" y="1361"/>
                      <a:pt x="947" y="1364"/>
                    </a:cubicBezTo>
                    <a:cubicBezTo>
                      <a:pt x="947" y="1366"/>
                      <a:pt x="941" y="1365"/>
                      <a:pt x="940" y="1368"/>
                    </a:cubicBezTo>
                    <a:cubicBezTo>
                      <a:pt x="938" y="1371"/>
                      <a:pt x="935" y="1372"/>
                      <a:pt x="933" y="1370"/>
                    </a:cubicBezTo>
                    <a:cubicBezTo>
                      <a:pt x="932" y="1368"/>
                      <a:pt x="926" y="1359"/>
                      <a:pt x="924" y="1360"/>
                    </a:cubicBezTo>
                    <a:cubicBezTo>
                      <a:pt x="921" y="1361"/>
                      <a:pt x="932" y="1386"/>
                      <a:pt x="934" y="1388"/>
                    </a:cubicBezTo>
                    <a:cubicBezTo>
                      <a:pt x="935" y="1390"/>
                      <a:pt x="932" y="1391"/>
                      <a:pt x="932" y="1393"/>
                    </a:cubicBezTo>
                    <a:cubicBezTo>
                      <a:pt x="933" y="1395"/>
                      <a:pt x="938" y="1399"/>
                      <a:pt x="938" y="1401"/>
                    </a:cubicBezTo>
                    <a:cubicBezTo>
                      <a:pt x="938" y="1403"/>
                      <a:pt x="931" y="1403"/>
                      <a:pt x="930" y="1402"/>
                    </a:cubicBezTo>
                    <a:cubicBezTo>
                      <a:pt x="928" y="1401"/>
                      <a:pt x="925" y="1390"/>
                      <a:pt x="923" y="1389"/>
                    </a:cubicBezTo>
                    <a:cubicBezTo>
                      <a:pt x="921" y="1388"/>
                      <a:pt x="919" y="1390"/>
                      <a:pt x="918" y="1391"/>
                    </a:cubicBezTo>
                    <a:cubicBezTo>
                      <a:pt x="917" y="1392"/>
                      <a:pt x="918" y="1402"/>
                      <a:pt x="917" y="1404"/>
                    </a:cubicBezTo>
                    <a:cubicBezTo>
                      <a:pt x="916" y="1406"/>
                      <a:pt x="911" y="1403"/>
                      <a:pt x="911" y="1401"/>
                    </a:cubicBezTo>
                    <a:cubicBezTo>
                      <a:pt x="910" y="1400"/>
                      <a:pt x="912" y="1392"/>
                      <a:pt x="910" y="1389"/>
                    </a:cubicBezTo>
                    <a:cubicBezTo>
                      <a:pt x="908" y="1386"/>
                      <a:pt x="906" y="1382"/>
                      <a:pt x="904" y="1382"/>
                    </a:cubicBezTo>
                    <a:cubicBezTo>
                      <a:pt x="902" y="1382"/>
                      <a:pt x="900" y="1382"/>
                      <a:pt x="900" y="1383"/>
                    </a:cubicBezTo>
                    <a:cubicBezTo>
                      <a:pt x="899" y="1384"/>
                      <a:pt x="901" y="1393"/>
                      <a:pt x="899" y="1393"/>
                    </a:cubicBezTo>
                    <a:cubicBezTo>
                      <a:pt x="897" y="1393"/>
                      <a:pt x="893" y="1391"/>
                      <a:pt x="892" y="1389"/>
                    </a:cubicBezTo>
                    <a:cubicBezTo>
                      <a:pt x="891" y="1387"/>
                      <a:pt x="892" y="1385"/>
                      <a:pt x="890" y="1383"/>
                    </a:cubicBezTo>
                    <a:cubicBezTo>
                      <a:pt x="888" y="1381"/>
                      <a:pt x="887" y="1379"/>
                      <a:pt x="888" y="1377"/>
                    </a:cubicBezTo>
                    <a:cubicBezTo>
                      <a:pt x="888" y="1375"/>
                      <a:pt x="892" y="1373"/>
                      <a:pt x="891" y="1370"/>
                    </a:cubicBezTo>
                    <a:cubicBezTo>
                      <a:pt x="890" y="1367"/>
                      <a:pt x="881" y="1355"/>
                      <a:pt x="878" y="1353"/>
                    </a:cubicBezTo>
                    <a:cubicBezTo>
                      <a:pt x="876" y="1352"/>
                      <a:pt x="874" y="1351"/>
                      <a:pt x="874" y="1350"/>
                    </a:cubicBezTo>
                    <a:cubicBezTo>
                      <a:pt x="874" y="1349"/>
                      <a:pt x="874" y="1347"/>
                      <a:pt x="876" y="1347"/>
                    </a:cubicBezTo>
                    <a:cubicBezTo>
                      <a:pt x="877" y="1347"/>
                      <a:pt x="879" y="1346"/>
                      <a:pt x="880" y="1345"/>
                    </a:cubicBezTo>
                    <a:cubicBezTo>
                      <a:pt x="881" y="1343"/>
                      <a:pt x="881" y="1339"/>
                      <a:pt x="882" y="1339"/>
                    </a:cubicBezTo>
                    <a:cubicBezTo>
                      <a:pt x="883" y="1338"/>
                      <a:pt x="886" y="1340"/>
                      <a:pt x="888" y="1339"/>
                    </a:cubicBezTo>
                    <a:cubicBezTo>
                      <a:pt x="889" y="1339"/>
                      <a:pt x="894" y="1335"/>
                      <a:pt x="896" y="1335"/>
                    </a:cubicBezTo>
                    <a:cubicBezTo>
                      <a:pt x="898" y="1336"/>
                      <a:pt x="905" y="1338"/>
                      <a:pt x="906" y="1339"/>
                    </a:cubicBezTo>
                    <a:cubicBezTo>
                      <a:pt x="908" y="1340"/>
                      <a:pt x="920" y="1344"/>
                      <a:pt x="922" y="1345"/>
                    </a:cubicBezTo>
                    <a:cubicBezTo>
                      <a:pt x="923" y="1345"/>
                      <a:pt x="925" y="1346"/>
                      <a:pt x="926" y="1345"/>
                    </a:cubicBezTo>
                    <a:cubicBezTo>
                      <a:pt x="928" y="1343"/>
                      <a:pt x="934" y="1341"/>
                      <a:pt x="934" y="1339"/>
                    </a:cubicBezTo>
                    <a:cubicBezTo>
                      <a:pt x="934" y="1337"/>
                      <a:pt x="926" y="1336"/>
                      <a:pt x="923" y="1335"/>
                    </a:cubicBezTo>
                    <a:cubicBezTo>
                      <a:pt x="920" y="1334"/>
                      <a:pt x="914" y="1331"/>
                      <a:pt x="912" y="1331"/>
                    </a:cubicBezTo>
                    <a:cubicBezTo>
                      <a:pt x="910" y="1331"/>
                      <a:pt x="898" y="1329"/>
                      <a:pt x="894" y="1330"/>
                    </a:cubicBezTo>
                    <a:cubicBezTo>
                      <a:pt x="889" y="1331"/>
                      <a:pt x="876" y="1334"/>
                      <a:pt x="874" y="1333"/>
                    </a:cubicBezTo>
                    <a:cubicBezTo>
                      <a:pt x="872" y="1332"/>
                      <a:pt x="869" y="1320"/>
                      <a:pt x="868" y="1318"/>
                    </a:cubicBezTo>
                    <a:cubicBezTo>
                      <a:pt x="866" y="1317"/>
                      <a:pt x="863" y="1323"/>
                      <a:pt x="861" y="1324"/>
                    </a:cubicBezTo>
                    <a:cubicBezTo>
                      <a:pt x="860" y="1324"/>
                      <a:pt x="858" y="1326"/>
                      <a:pt x="857" y="1324"/>
                    </a:cubicBezTo>
                    <a:cubicBezTo>
                      <a:pt x="856" y="1323"/>
                      <a:pt x="860" y="1315"/>
                      <a:pt x="861" y="1314"/>
                    </a:cubicBezTo>
                    <a:cubicBezTo>
                      <a:pt x="862" y="1314"/>
                      <a:pt x="863" y="1308"/>
                      <a:pt x="861" y="1306"/>
                    </a:cubicBezTo>
                    <a:cubicBezTo>
                      <a:pt x="859" y="1304"/>
                      <a:pt x="852" y="1302"/>
                      <a:pt x="850" y="1298"/>
                    </a:cubicBezTo>
                    <a:cubicBezTo>
                      <a:pt x="848" y="1294"/>
                      <a:pt x="847" y="1288"/>
                      <a:pt x="846" y="1286"/>
                    </a:cubicBezTo>
                    <a:cubicBezTo>
                      <a:pt x="845" y="1285"/>
                      <a:pt x="840" y="1285"/>
                      <a:pt x="840" y="1283"/>
                    </a:cubicBezTo>
                    <a:cubicBezTo>
                      <a:pt x="840" y="1281"/>
                      <a:pt x="840" y="1278"/>
                      <a:pt x="839" y="1276"/>
                    </a:cubicBezTo>
                    <a:cubicBezTo>
                      <a:pt x="837" y="1273"/>
                      <a:pt x="836" y="1269"/>
                      <a:pt x="834" y="1268"/>
                    </a:cubicBezTo>
                    <a:cubicBezTo>
                      <a:pt x="831" y="1267"/>
                      <a:pt x="825" y="1263"/>
                      <a:pt x="824" y="1259"/>
                    </a:cubicBezTo>
                    <a:cubicBezTo>
                      <a:pt x="822" y="1254"/>
                      <a:pt x="823" y="1252"/>
                      <a:pt x="824" y="1246"/>
                    </a:cubicBezTo>
                    <a:cubicBezTo>
                      <a:pt x="824" y="1239"/>
                      <a:pt x="828" y="1233"/>
                      <a:pt x="828" y="1230"/>
                    </a:cubicBezTo>
                    <a:cubicBezTo>
                      <a:pt x="828" y="1226"/>
                      <a:pt x="823" y="1224"/>
                      <a:pt x="825" y="1220"/>
                    </a:cubicBezTo>
                    <a:cubicBezTo>
                      <a:pt x="826" y="1216"/>
                      <a:pt x="830" y="1213"/>
                      <a:pt x="830" y="1213"/>
                    </a:cubicBezTo>
                    <a:cubicBezTo>
                      <a:pt x="830" y="1213"/>
                      <a:pt x="833" y="1208"/>
                      <a:pt x="830" y="1206"/>
                    </a:cubicBezTo>
                    <a:cubicBezTo>
                      <a:pt x="827" y="1204"/>
                      <a:pt x="820" y="1202"/>
                      <a:pt x="818" y="1201"/>
                    </a:cubicBezTo>
                    <a:cubicBezTo>
                      <a:pt x="816" y="1199"/>
                      <a:pt x="818" y="1196"/>
                      <a:pt x="814" y="1193"/>
                    </a:cubicBezTo>
                    <a:cubicBezTo>
                      <a:pt x="811" y="1191"/>
                      <a:pt x="810" y="1189"/>
                      <a:pt x="806" y="1187"/>
                    </a:cubicBezTo>
                    <a:cubicBezTo>
                      <a:pt x="803" y="1184"/>
                      <a:pt x="796" y="1180"/>
                      <a:pt x="793" y="1177"/>
                    </a:cubicBezTo>
                    <a:cubicBezTo>
                      <a:pt x="790" y="1175"/>
                      <a:pt x="782" y="1170"/>
                      <a:pt x="776" y="1167"/>
                    </a:cubicBezTo>
                    <a:cubicBezTo>
                      <a:pt x="770" y="1163"/>
                      <a:pt x="761" y="1163"/>
                      <a:pt x="758" y="1161"/>
                    </a:cubicBezTo>
                    <a:cubicBezTo>
                      <a:pt x="756" y="1159"/>
                      <a:pt x="758" y="1157"/>
                      <a:pt x="758" y="1157"/>
                    </a:cubicBezTo>
                    <a:cubicBezTo>
                      <a:pt x="758" y="1157"/>
                      <a:pt x="764" y="1158"/>
                      <a:pt x="765" y="1156"/>
                    </a:cubicBezTo>
                    <a:cubicBezTo>
                      <a:pt x="766" y="1155"/>
                      <a:pt x="759" y="1148"/>
                      <a:pt x="757" y="1147"/>
                    </a:cubicBezTo>
                    <a:cubicBezTo>
                      <a:pt x="754" y="1145"/>
                      <a:pt x="747" y="1142"/>
                      <a:pt x="745" y="1142"/>
                    </a:cubicBezTo>
                    <a:cubicBezTo>
                      <a:pt x="742" y="1141"/>
                      <a:pt x="737" y="1143"/>
                      <a:pt x="733" y="1141"/>
                    </a:cubicBezTo>
                    <a:cubicBezTo>
                      <a:pt x="729" y="1138"/>
                      <a:pt x="732" y="1135"/>
                      <a:pt x="727" y="1133"/>
                    </a:cubicBezTo>
                    <a:cubicBezTo>
                      <a:pt x="722" y="1130"/>
                      <a:pt x="724" y="1129"/>
                      <a:pt x="720" y="1125"/>
                    </a:cubicBezTo>
                    <a:cubicBezTo>
                      <a:pt x="716" y="1122"/>
                      <a:pt x="710" y="1113"/>
                      <a:pt x="710" y="1109"/>
                    </a:cubicBezTo>
                    <a:cubicBezTo>
                      <a:pt x="709" y="1106"/>
                      <a:pt x="704" y="1094"/>
                      <a:pt x="705" y="1090"/>
                    </a:cubicBezTo>
                    <a:cubicBezTo>
                      <a:pt x="706" y="1086"/>
                      <a:pt x="708" y="1085"/>
                      <a:pt x="705" y="1081"/>
                    </a:cubicBezTo>
                    <a:cubicBezTo>
                      <a:pt x="702" y="1077"/>
                      <a:pt x="697" y="1069"/>
                      <a:pt x="694" y="1069"/>
                    </a:cubicBezTo>
                    <a:cubicBezTo>
                      <a:pt x="692" y="1069"/>
                      <a:pt x="690" y="1080"/>
                      <a:pt x="688" y="1082"/>
                    </a:cubicBezTo>
                    <a:cubicBezTo>
                      <a:pt x="687" y="1084"/>
                      <a:pt x="685" y="1083"/>
                      <a:pt x="684" y="1085"/>
                    </a:cubicBezTo>
                    <a:cubicBezTo>
                      <a:pt x="684" y="1086"/>
                      <a:pt x="684" y="1089"/>
                      <a:pt x="683" y="1089"/>
                    </a:cubicBezTo>
                    <a:cubicBezTo>
                      <a:pt x="681" y="1089"/>
                      <a:pt x="680" y="1090"/>
                      <a:pt x="678" y="1088"/>
                    </a:cubicBezTo>
                    <a:cubicBezTo>
                      <a:pt x="677" y="1085"/>
                      <a:pt x="672" y="1076"/>
                      <a:pt x="672" y="1073"/>
                    </a:cubicBezTo>
                    <a:cubicBezTo>
                      <a:pt x="672" y="1071"/>
                      <a:pt x="672" y="1063"/>
                      <a:pt x="672" y="1062"/>
                    </a:cubicBezTo>
                    <a:cubicBezTo>
                      <a:pt x="674" y="1061"/>
                      <a:pt x="680" y="1061"/>
                      <a:pt x="680" y="1059"/>
                    </a:cubicBezTo>
                    <a:cubicBezTo>
                      <a:pt x="682" y="1057"/>
                      <a:pt x="679" y="1053"/>
                      <a:pt x="677" y="1052"/>
                    </a:cubicBezTo>
                    <a:cubicBezTo>
                      <a:pt x="675" y="1052"/>
                      <a:pt x="666" y="1054"/>
                      <a:pt x="663" y="1055"/>
                    </a:cubicBezTo>
                    <a:cubicBezTo>
                      <a:pt x="660" y="1056"/>
                      <a:pt x="646" y="1060"/>
                      <a:pt x="643" y="1062"/>
                    </a:cubicBezTo>
                    <a:cubicBezTo>
                      <a:pt x="641" y="1064"/>
                      <a:pt x="640" y="1070"/>
                      <a:pt x="641" y="1071"/>
                    </a:cubicBezTo>
                    <a:cubicBezTo>
                      <a:pt x="641" y="1073"/>
                      <a:pt x="646" y="1077"/>
                      <a:pt x="646" y="1079"/>
                    </a:cubicBezTo>
                    <a:cubicBezTo>
                      <a:pt x="645" y="1081"/>
                      <a:pt x="643" y="1085"/>
                      <a:pt x="641" y="1085"/>
                    </a:cubicBezTo>
                    <a:cubicBezTo>
                      <a:pt x="640" y="1085"/>
                      <a:pt x="637" y="1084"/>
                      <a:pt x="637" y="1088"/>
                    </a:cubicBezTo>
                    <a:cubicBezTo>
                      <a:pt x="636" y="1091"/>
                      <a:pt x="638" y="1106"/>
                      <a:pt x="640" y="1108"/>
                    </a:cubicBezTo>
                    <a:cubicBezTo>
                      <a:pt x="642" y="1110"/>
                      <a:pt x="652" y="1119"/>
                      <a:pt x="656" y="1122"/>
                    </a:cubicBezTo>
                    <a:cubicBezTo>
                      <a:pt x="659" y="1125"/>
                      <a:pt x="667" y="1130"/>
                      <a:pt x="668" y="1132"/>
                    </a:cubicBezTo>
                    <a:cubicBezTo>
                      <a:pt x="670" y="1135"/>
                      <a:pt x="675" y="1158"/>
                      <a:pt x="676" y="1163"/>
                    </a:cubicBezTo>
                    <a:cubicBezTo>
                      <a:pt x="678" y="1168"/>
                      <a:pt x="696" y="1189"/>
                      <a:pt x="700" y="1191"/>
                    </a:cubicBezTo>
                    <a:cubicBezTo>
                      <a:pt x="703" y="1194"/>
                      <a:pt x="710" y="1197"/>
                      <a:pt x="716" y="1197"/>
                    </a:cubicBezTo>
                    <a:cubicBezTo>
                      <a:pt x="723" y="1197"/>
                      <a:pt x="732" y="1197"/>
                      <a:pt x="734" y="1198"/>
                    </a:cubicBezTo>
                    <a:cubicBezTo>
                      <a:pt x="736" y="1199"/>
                      <a:pt x="738" y="1203"/>
                      <a:pt x="736" y="1205"/>
                    </a:cubicBezTo>
                    <a:cubicBezTo>
                      <a:pt x="735" y="1206"/>
                      <a:pt x="727" y="1207"/>
                      <a:pt x="727" y="1211"/>
                    </a:cubicBezTo>
                    <a:cubicBezTo>
                      <a:pt x="727" y="1214"/>
                      <a:pt x="748" y="1227"/>
                      <a:pt x="755" y="1229"/>
                    </a:cubicBezTo>
                    <a:cubicBezTo>
                      <a:pt x="762" y="1231"/>
                      <a:pt x="768" y="1238"/>
                      <a:pt x="772" y="1240"/>
                    </a:cubicBezTo>
                    <a:cubicBezTo>
                      <a:pt x="775" y="1242"/>
                      <a:pt x="780" y="1245"/>
                      <a:pt x="784" y="1246"/>
                    </a:cubicBezTo>
                    <a:cubicBezTo>
                      <a:pt x="787" y="1248"/>
                      <a:pt x="785" y="1251"/>
                      <a:pt x="788" y="1253"/>
                    </a:cubicBezTo>
                    <a:cubicBezTo>
                      <a:pt x="792" y="1256"/>
                      <a:pt x="799" y="1263"/>
                      <a:pt x="799" y="1267"/>
                    </a:cubicBezTo>
                    <a:cubicBezTo>
                      <a:pt x="799" y="1270"/>
                      <a:pt x="796" y="1277"/>
                      <a:pt x="796" y="1279"/>
                    </a:cubicBezTo>
                    <a:cubicBezTo>
                      <a:pt x="796" y="1281"/>
                      <a:pt x="792" y="1281"/>
                      <a:pt x="790" y="1279"/>
                    </a:cubicBezTo>
                    <a:cubicBezTo>
                      <a:pt x="788" y="1277"/>
                      <a:pt x="784" y="1275"/>
                      <a:pt x="784" y="1271"/>
                    </a:cubicBezTo>
                    <a:cubicBezTo>
                      <a:pt x="784" y="1267"/>
                      <a:pt x="782" y="1264"/>
                      <a:pt x="781" y="1262"/>
                    </a:cubicBezTo>
                    <a:cubicBezTo>
                      <a:pt x="780" y="1261"/>
                      <a:pt x="775" y="1262"/>
                      <a:pt x="771" y="1260"/>
                    </a:cubicBezTo>
                    <a:cubicBezTo>
                      <a:pt x="767" y="1258"/>
                      <a:pt x="763" y="1252"/>
                      <a:pt x="760" y="1252"/>
                    </a:cubicBezTo>
                    <a:cubicBezTo>
                      <a:pt x="757" y="1251"/>
                      <a:pt x="750" y="1259"/>
                      <a:pt x="748" y="1263"/>
                    </a:cubicBezTo>
                    <a:cubicBezTo>
                      <a:pt x="747" y="1267"/>
                      <a:pt x="746" y="1270"/>
                      <a:pt x="744" y="1272"/>
                    </a:cubicBezTo>
                    <a:cubicBezTo>
                      <a:pt x="744" y="1274"/>
                      <a:pt x="741" y="1275"/>
                      <a:pt x="741" y="1279"/>
                    </a:cubicBezTo>
                    <a:cubicBezTo>
                      <a:pt x="741" y="1282"/>
                      <a:pt x="745" y="1284"/>
                      <a:pt x="749" y="1284"/>
                    </a:cubicBezTo>
                    <a:cubicBezTo>
                      <a:pt x="752" y="1284"/>
                      <a:pt x="757" y="1290"/>
                      <a:pt x="759" y="1292"/>
                    </a:cubicBezTo>
                    <a:cubicBezTo>
                      <a:pt x="761" y="1295"/>
                      <a:pt x="758" y="1298"/>
                      <a:pt x="758" y="1301"/>
                    </a:cubicBezTo>
                    <a:cubicBezTo>
                      <a:pt x="759" y="1304"/>
                      <a:pt x="760" y="1305"/>
                      <a:pt x="761" y="1307"/>
                    </a:cubicBezTo>
                    <a:cubicBezTo>
                      <a:pt x="762" y="1308"/>
                      <a:pt x="759" y="1313"/>
                      <a:pt x="757" y="1312"/>
                    </a:cubicBezTo>
                    <a:cubicBezTo>
                      <a:pt x="756" y="1311"/>
                      <a:pt x="752" y="1309"/>
                      <a:pt x="747" y="1312"/>
                    </a:cubicBezTo>
                    <a:cubicBezTo>
                      <a:pt x="741" y="1316"/>
                      <a:pt x="742" y="1316"/>
                      <a:pt x="742" y="1321"/>
                    </a:cubicBezTo>
                    <a:cubicBezTo>
                      <a:pt x="742" y="1326"/>
                      <a:pt x="743" y="1328"/>
                      <a:pt x="741" y="1330"/>
                    </a:cubicBezTo>
                    <a:cubicBezTo>
                      <a:pt x="739" y="1332"/>
                      <a:pt x="736" y="1331"/>
                      <a:pt x="734" y="1333"/>
                    </a:cubicBezTo>
                    <a:cubicBezTo>
                      <a:pt x="732" y="1336"/>
                      <a:pt x="730" y="1336"/>
                      <a:pt x="729" y="1339"/>
                    </a:cubicBezTo>
                    <a:cubicBezTo>
                      <a:pt x="728" y="1342"/>
                      <a:pt x="728" y="1346"/>
                      <a:pt x="726" y="1346"/>
                    </a:cubicBezTo>
                    <a:cubicBezTo>
                      <a:pt x="723" y="1347"/>
                      <a:pt x="716" y="1347"/>
                      <a:pt x="714" y="1345"/>
                    </a:cubicBezTo>
                    <a:cubicBezTo>
                      <a:pt x="712" y="1342"/>
                      <a:pt x="713" y="1336"/>
                      <a:pt x="714" y="1335"/>
                    </a:cubicBezTo>
                    <a:cubicBezTo>
                      <a:pt x="716" y="1334"/>
                      <a:pt x="718" y="1334"/>
                      <a:pt x="719" y="1332"/>
                    </a:cubicBezTo>
                    <a:cubicBezTo>
                      <a:pt x="720" y="1331"/>
                      <a:pt x="724" y="1325"/>
                      <a:pt x="722" y="1324"/>
                    </a:cubicBezTo>
                    <a:cubicBezTo>
                      <a:pt x="721" y="1322"/>
                      <a:pt x="719" y="1320"/>
                      <a:pt x="719" y="1319"/>
                    </a:cubicBezTo>
                    <a:cubicBezTo>
                      <a:pt x="719" y="1318"/>
                      <a:pt x="724" y="1316"/>
                      <a:pt x="726" y="1316"/>
                    </a:cubicBezTo>
                    <a:cubicBezTo>
                      <a:pt x="727" y="1316"/>
                      <a:pt x="728" y="1317"/>
                      <a:pt x="730" y="1315"/>
                    </a:cubicBezTo>
                    <a:cubicBezTo>
                      <a:pt x="732" y="1314"/>
                      <a:pt x="734" y="1311"/>
                      <a:pt x="732" y="1308"/>
                    </a:cubicBezTo>
                    <a:cubicBezTo>
                      <a:pt x="729" y="1306"/>
                      <a:pt x="728" y="1306"/>
                      <a:pt x="728" y="1303"/>
                    </a:cubicBezTo>
                    <a:cubicBezTo>
                      <a:pt x="728" y="1300"/>
                      <a:pt x="726" y="1290"/>
                      <a:pt x="724" y="1287"/>
                    </a:cubicBezTo>
                    <a:cubicBezTo>
                      <a:pt x="722" y="1283"/>
                      <a:pt x="721" y="1278"/>
                      <a:pt x="720" y="1274"/>
                    </a:cubicBezTo>
                    <a:cubicBezTo>
                      <a:pt x="720" y="1269"/>
                      <a:pt x="718" y="1265"/>
                      <a:pt x="715" y="1266"/>
                    </a:cubicBezTo>
                    <a:cubicBezTo>
                      <a:pt x="711" y="1266"/>
                      <a:pt x="713" y="1270"/>
                      <a:pt x="710" y="1269"/>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5" name="Freeform 102"/>
              <p:cNvSpPr>
                <a:spLocks/>
              </p:cNvSpPr>
              <p:nvPr>
                <p:custDataLst>
                  <p:tags r:id="rId49"/>
                </p:custDataLst>
              </p:nvPr>
            </p:nvSpPr>
            <p:spPr bwMode="auto">
              <a:xfrm>
                <a:off x="3840163" y="5656263"/>
                <a:ext cx="263525" cy="179388"/>
              </a:xfrm>
              <a:custGeom>
                <a:avLst/>
                <a:gdLst>
                  <a:gd name="T0" fmla="*/ 241 w 93"/>
                  <a:gd name="T1" fmla="*/ 14 h 63"/>
                  <a:gd name="T2" fmla="*/ 223 w 93"/>
                  <a:gd name="T3" fmla="*/ 52 h 63"/>
                  <a:gd name="T4" fmla="*/ 209 w 93"/>
                  <a:gd name="T5" fmla="*/ 84 h 63"/>
                  <a:gd name="T6" fmla="*/ 209 w 93"/>
                  <a:gd name="T7" fmla="*/ 104 h 63"/>
                  <a:gd name="T8" fmla="*/ 223 w 93"/>
                  <a:gd name="T9" fmla="*/ 111 h 63"/>
                  <a:gd name="T10" fmla="*/ 225 w 93"/>
                  <a:gd name="T11" fmla="*/ 135 h 63"/>
                  <a:gd name="T12" fmla="*/ 212 w 93"/>
                  <a:gd name="T13" fmla="*/ 145 h 63"/>
                  <a:gd name="T14" fmla="*/ 209 w 93"/>
                  <a:gd name="T15" fmla="*/ 169 h 63"/>
                  <a:gd name="T16" fmla="*/ 196 w 93"/>
                  <a:gd name="T17" fmla="*/ 172 h 63"/>
                  <a:gd name="T18" fmla="*/ 180 w 93"/>
                  <a:gd name="T19" fmla="*/ 161 h 63"/>
                  <a:gd name="T20" fmla="*/ 155 w 93"/>
                  <a:gd name="T21" fmla="*/ 151 h 63"/>
                  <a:gd name="T22" fmla="*/ 139 w 93"/>
                  <a:gd name="T23" fmla="*/ 124 h 63"/>
                  <a:gd name="T24" fmla="*/ 111 w 93"/>
                  <a:gd name="T25" fmla="*/ 120 h 63"/>
                  <a:gd name="T26" fmla="*/ 37 w 93"/>
                  <a:gd name="T27" fmla="*/ 68 h 63"/>
                  <a:gd name="T28" fmla="*/ 14 w 93"/>
                  <a:gd name="T29" fmla="*/ 66 h 63"/>
                  <a:gd name="T30" fmla="*/ 4 w 93"/>
                  <a:gd name="T31" fmla="*/ 36 h 63"/>
                  <a:gd name="T32" fmla="*/ 11 w 93"/>
                  <a:gd name="T33" fmla="*/ 14 h 63"/>
                  <a:gd name="T34" fmla="*/ 30 w 93"/>
                  <a:gd name="T35" fmla="*/ 0 h 63"/>
                  <a:gd name="T36" fmla="*/ 43 w 93"/>
                  <a:gd name="T37" fmla="*/ 22 h 63"/>
                  <a:gd name="T38" fmla="*/ 57 w 93"/>
                  <a:gd name="T39" fmla="*/ 16 h 63"/>
                  <a:gd name="T40" fmla="*/ 57 w 93"/>
                  <a:gd name="T41" fmla="*/ 0 h 63"/>
                  <a:gd name="T42" fmla="*/ 79 w 93"/>
                  <a:gd name="T43" fmla="*/ 4 h 63"/>
                  <a:gd name="T44" fmla="*/ 105 w 93"/>
                  <a:gd name="T45" fmla="*/ 27 h 63"/>
                  <a:gd name="T46" fmla="*/ 155 w 93"/>
                  <a:gd name="T47" fmla="*/ 27 h 63"/>
                  <a:gd name="T48" fmla="*/ 186 w 93"/>
                  <a:gd name="T49" fmla="*/ 14 h 63"/>
                  <a:gd name="T50" fmla="*/ 202 w 93"/>
                  <a:gd name="T51" fmla="*/ 11 h 63"/>
                  <a:gd name="T52" fmla="*/ 214 w 93"/>
                  <a:gd name="T53" fmla="*/ 20 h 63"/>
                  <a:gd name="T54" fmla="*/ 228 w 93"/>
                  <a:gd name="T55" fmla="*/ 11 h 63"/>
                  <a:gd name="T56" fmla="*/ 241 w 93"/>
                  <a:gd name="T57" fmla="*/ 14 h 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3" h="63">
                    <a:moveTo>
                      <a:pt x="90" y="5"/>
                    </a:moveTo>
                    <a:cubicBezTo>
                      <a:pt x="93" y="7"/>
                      <a:pt x="84" y="17"/>
                      <a:pt x="83" y="19"/>
                    </a:cubicBezTo>
                    <a:cubicBezTo>
                      <a:pt x="80" y="23"/>
                      <a:pt x="79" y="29"/>
                      <a:pt x="78" y="31"/>
                    </a:cubicBezTo>
                    <a:cubicBezTo>
                      <a:pt x="78" y="33"/>
                      <a:pt x="77" y="37"/>
                      <a:pt x="78" y="38"/>
                    </a:cubicBezTo>
                    <a:cubicBezTo>
                      <a:pt x="80" y="38"/>
                      <a:pt x="82" y="39"/>
                      <a:pt x="83" y="41"/>
                    </a:cubicBezTo>
                    <a:cubicBezTo>
                      <a:pt x="83" y="42"/>
                      <a:pt x="83" y="47"/>
                      <a:pt x="84" y="49"/>
                    </a:cubicBezTo>
                    <a:cubicBezTo>
                      <a:pt x="84" y="50"/>
                      <a:pt x="80" y="50"/>
                      <a:pt x="79" y="53"/>
                    </a:cubicBezTo>
                    <a:cubicBezTo>
                      <a:pt x="77" y="56"/>
                      <a:pt x="79" y="61"/>
                      <a:pt x="78" y="62"/>
                    </a:cubicBezTo>
                    <a:cubicBezTo>
                      <a:pt x="77" y="63"/>
                      <a:pt x="74" y="63"/>
                      <a:pt x="73" y="63"/>
                    </a:cubicBezTo>
                    <a:cubicBezTo>
                      <a:pt x="72" y="62"/>
                      <a:pt x="71" y="61"/>
                      <a:pt x="67" y="59"/>
                    </a:cubicBezTo>
                    <a:cubicBezTo>
                      <a:pt x="64" y="58"/>
                      <a:pt x="60" y="57"/>
                      <a:pt x="58" y="55"/>
                    </a:cubicBezTo>
                    <a:cubicBezTo>
                      <a:pt x="56" y="54"/>
                      <a:pt x="57" y="48"/>
                      <a:pt x="52" y="45"/>
                    </a:cubicBezTo>
                    <a:cubicBezTo>
                      <a:pt x="47" y="43"/>
                      <a:pt x="44" y="45"/>
                      <a:pt x="41" y="44"/>
                    </a:cubicBezTo>
                    <a:cubicBezTo>
                      <a:pt x="39" y="43"/>
                      <a:pt x="19" y="25"/>
                      <a:pt x="14" y="25"/>
                    </a:cubicBezTo>
                    <a:cubicBezTo>
                      <a:pt x="8" y="24"/>
                      <a:pt x="7" y="26"/>
                      <a:pt x="5" y="24"/>
                    </a:cubicBezTo>
                    <a:cubicBezTo>
                      <a:pt x="3" y="22"/>
                      <a:pt x="1" y="16"/>
                      <a:pt x="1" y="13"/>
                    </a:cubicBezTo>
                    <a:cubicBezTo>
                      <a:pt x="0" y="11"/>
                      <a:pt x="2" y="6"/>
                      <a:pt x="4" y="5"/>
                    </a:cubicBezTo>
                    <a:cubicBezTo>
                      <a:pt x="6" y="4"/>
                      <a:pt x="9" y="0"/>
                      <a:pt x="11" y="0"/>
                    </a:cubicBezTo>
                    <a:cubicBezTo>
                      <a:pt x="13" y="0"/>
                      <a:pt x="14" y="8"/>
                      <a:pt x="16" y="8"/>
                    </a:cubicBezTo>
                    <a:cubicBezTo>
                      <a:pt x="18" y="8"/>
                      <a:pt x="21" y="6"/>
                      <a:pt x="21" y="6"/>
                    </a:cubicBezTo>
                    <a:cubicBezTo>
                      <a:pt x="21" y="6"/>
                      <a:pt x="20" y="1"/>
                      <a:pt x="21" y="0"/>
                    </a:cubicBezTo>
                    <a:cubicBezTo>
                      <a:pt x="23" y="0"/>
                      <a:pt x="27" y="0"/>
                      <a:pt x="29" y="1"/>
                    </a:cubicBezTo>
                    <a:cubicBezTo>
                      <a:pt x="32" y="2"/>
                      <a:pt x="36" y="10"/>
                      <a:pt x="39" y="10"/>
                    </a:cubicBezTo>
                    <a:cubicBezTo>
                      <a:pt x="42" y="10"/>
                      <a:pt x="53" y="10"/>
                      <a:pt x="58" y="10"/>
                    </a:cubicBezTo>
                    <a:cubicBezTo>
                      <a:pt x="63" y="10"/>
                      <a:pt x="67" y="5"/>
                      <a:pt x="69" y="5"/>
                    </a:cubicBezTo>
                    <a:cubicBezTo>
                      <a:pt x="70" y="5"/>
                      <a:pt x="73" y="4"/>
                      <a:pt x="75" y="4"/>
                    </a:cubicBezTo>
                    <a:cubicBezTo>
                      <a:pt x="76" y="4"/>
                      <a:pt x="78" y="8"/>
                      <a:pt x="80" y="7"/>
                    </a:cubicBezTo>
                    <a:cubicBezTo>
                      <a:pt x="82" y="7"/>
                      <a:pt x="83" y="5"/>
                      <a:pt x="85" y="4"/>
                    </a:cubicBezTo>
                    <a:cubicBezTo>
                      <a:pt x="87" y="4"/>
                      <a:pt x="88" y="4"/>
                      <a:pt x="90" y="5"/>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6" name="Freeform 103"/>
              <p:cNvSpPr>
                <a:spLocks/>
              </p:cNvSpPr>
              <p:nvPr>
                <p:custDataLst>
                  <p:tags r:id="rId50"/>
                </p:custDataLst>
              </p:nvPr>
            </p:nvSpPr>
            <p:spPr bwMode="auto">
              <a:xfrm>
                <a:off x="4046538" y="4946651"/>
                <a:ext cx="26988" cy="76200"/>
              </a:xfrm>
              <a:custGeom>
                <a:avLst/>
                <a:gdLst>
                  <a:gd name="T0" fmla="*/ 15 w 9"/>
                  <a:gd name="T1" fmla="*/ 9 h 27"/>
                  <a:gd name="T2" fmla="*/ 23 w 9"/>
                  <a:gd name="T3" fmla="*/ 20 h 27"/>
                  <a:gd name="T4" fmla="*/ 21 w 9"/>
                  <a:gd name="T5" fmla="*/ 52 h 27"/>
                  <a:gd name="T6" fmla="*/ 17 w 9"/>
                  <a:gd name="T7" fmla="*/ 69 h 27"/>
                  <a:gd name="T8" fmla="*/ 4 w 9"/>
                  <a:gd name="T9" fmla="*/ 57 h 27"/>
                  <a:gd name="T10" fmla="*/ 4 w 9"/>
                  <a:gd name="T11" fmla="*/ 30 h 27"/>
                  <a:gd name="T12" fmla="*/ 15 w 9"/>
                  <a:gd name="T13" fmla="*/ 9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27">
                    <a:moveTo>
                      <a:pt x="5" y="3"/>
                    </a:moveTo>
                    <a:cubicBezTo>
                      <a:pt x="7" y="0"/>
                      <a:pt x="9" y="4"/>
                      <a:pt x="8" y="7"/>
                    </a:cubicBezTo>
                    <a:cubicBezTo>
                      <a:pt x="7" y="9"/>
                      <a:pt x="6" y="16"/>
                      <a:pt x="7" y="19"/>
                    </a:cubicBezTo>
                    <a:cubicBezTo>
                      <a:pt x="7" y="22"/>
                      <a:pt x="7" y="25"/>
                      <a:pt x="6" y="26"/>
                    </a:cubicBezTo>
                    <a:cubicBezTo>
                      <a:pt x="5" y="27"/>
                      <a:pt x="1" y="22"/>
                      <a:pt x="1" y="21"/>
                    </a:cubicBezTo>
                    <a:cubicBezTo>
                      <a:pt x="0" y="20"/>
                      <a:pt x="1" y="14"/>
                      <a:pt x="1" y="11"/>
                    </a:cubicBezTo>
                    <a:cubicBezTo>
                      <a:pt x="2" y="8"/>
                      <a:pt x="4" y="4"/>
                      <a:pt x="5" y="3"/>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7" name="Freeform 104"/>
              <p:cNvSpPr>
                <a:spLocks/>
              </p:cNvSpPr>
              <p:nvPr>
                <p:custDataLst>
                  <p:tags r:id="rId51"/>
                </p:custDataLst>
              </p:nvPr>
            </p:nvSpPr>
            <p:spPr bwMode="auto">
              <a:xfrm>
                <a:off x="3927476" y="3787776"/>
                <a:ext cx="106363" cy="161925"/>
              </a:xfrm>
              <a:custGeom>
                <a:avLst/>
                <a:gdLst>
                  <a:gd name="T0" fmla="*/ 95 w 38"/>
                  <a:gd name="T1" fmla="*/ 27 h 57"/>
                  <a:gd name="T2" fmla="*/ 99 w 38"/>
                  <a:gd name="T3" fmla="*/ 47 h 57"/>
                  <a:gd name="T4" fmla="*/ 78 w 38"/>
                  <a:gd name="T5" fmla="*/ 61 h 57"/>
                  <a:gd name="T6" fmla="*/ 90 w 38"/>
                  <a:gd name="T7" fmla="*/ 73 h 57"/>
                  <a:gd name="T8" fmla="*/ 74 w 38"/>
                  <a:gd name="T9" fmla="*/ 89 h 57"/>
                  <a:gd name="T10" fmla="*/ 79 w 38"/>
                  <a:gd name="T11" fmla="*/ 104 h 57"/>
                  <a:gd name="T12" fmla="*/ 95 w 38"/>
                  <a:gd name="T13" fmla="*/ 118 h 57"/>
                  <a:gd name="T14" fmla="*/ 83 w 38"/>
                  <a:gd name="T15" fmla="*/ 123 h 57"/>
                  <a:gd name="T16" fmla="*/ 69 w 38"/>
                  <a:gd name="T17" fmla="*/ 125 h 57"/>
                  <a:gd name="T18" fmla="*/ 58 w 38"/>
                  <a:gd name="T19" fmla="*/ 145 h 57"/>
                  <a:gd name="T20" fmla="*/ 53 w 38"/>
                  <a:gd name="T21" fmla="*/ 152 h 57"/>
                  <a:gd name="T22" fmla="*/ 32 w 38"/>
                  <a:gd name="T23" fmla="*/ 140 h 57"/>
                  <a:gd name="T24" fmla="*/ 5 w 38"/>
                  <a:gd name="T25" fmla="*/ 125 h 57"/>
                  <a:gd name="T26" fmla="*/ 5 w 38"/>
                  <a:gd name="T27" fmla="*/ 115 h 57"/>
                  <a:gd name="T28" fmla="*/ 25 w 38"/>
                  <a:gd name="T29" fmla="*/ 113 h 57"/>
                  <a:gd name="T30" fmla="*/ 41 w 38"/>
                  <a:gd name="T31" fmla="*/ 120 h 57"/>
                  <a:gd name="T32" fmla="*/ 56 w 38"/>
                  <a:gd name="T33" fmla="*/ 107 h 57"/>
                  <a:gd name="T34" fmla="*/ 42 w 38"/>
                  <a:gd name="T35" fmla="*/ 88 h 57"/>
                  <a:gd name="T36" fmla="*/ 21 w 38"/>
                  <a:gd name="T37" fmla="*/ 79 h 57"/>
                  <a:gd name="T38" fmla="*/ 16 w 38"/>
                  <a:gd name="T39" fmla="*/ 36 h 57"/>
                  <a:gd name="T40" fmla="*/ 21 w 38"/>
                  <a:gd name="T41" fmla="*/ 21 h 57"/>
                  <a:gd name="T42" fmla="*/ 48 w 38"/>
                  <a:gd name="T43" fmla="*/ 14 h 57"/>
                  <a:gd name="T44" fmla="*/ 78 w 38"/>
                  <a:gd name="T45" fmla="*/ 0 h 57"/>
                  <a:gd name="T46" fmla="*/ 95 w 38"/>
                  <a:gd name="T47" fmla="*/ 9 h 57"/>
                  <a:gd name="T48" fmla="*/ 95 w 38"/>
                  <a:gd name="T49" fmla="*/ 27 h 5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57">
                    <a:moveTo>
                      <a:pt x="36" y="10"/>
                    </a:moveTo>
                    <a:cubicBezTo>
                      <a:pt x="36" y="12"/>
                      <a:pt x="38" y="15"/>
                      <a:pt x="37" y="17"/>
                    </a:cubicBezTo>
                    <a:cubicBezTo>
                      <a:pt x="36" y="18"/>
                      <a:pt x="29" y="19"/>
                      <a:pt x="29" y="22"/>
                    </a:cubicBezTo>
                    <a:cubicBezTo>
                      <a:pt x="30" y="25"/>
                      <a:pt x="34" y="25"/>
                      <a:pt x="34" y="27"/>
                    </a:cubicBezTo>
                    <a:cubicBezTo>
                      <a:pt x="34" y="33"/>
                      <a:pt x="28" y="31"/>
                      <a:pt x="28" y="33"/>
                    </a:cubicBezTo>
                    <a:cubicBezTo>
                      <a:pt x="28" y="35"/>
                      <a:pt x="28" y="38"/>
                      <a:pt x="30" y="38"/>
                    </a:cubicBezTo>
                    <a:cubicBezTo>
                      <a:pt x="33" y="39"/>
                      <a:pt x="36" y="41"/>
                      <a:pt x="36" y="43"/>
                    </a:cubicBezTo>
                    <a:cubicBezTo>
                      <a:pt x="36" y="45"/>
                      <a:pt x="33" y="46"/>
                      <a:pt x="31" y="45"/>
                    </a:cubicBezTo>
                    <a:cubicBezTo>
                      <a:pt x="29" y="44"/>
                      <a:pt x="28" y="44"/>
                      <a:pt x="26" y="46"/>
                    </a:cubicBezTo>
                    <a:cubicBezTo>
                      <a:pt x="25" y="47"/>
                      <a:pt x="22" y="52"/>
                      <a:pt x="22" y="53"/>
                    </a:cubicBezTo>
                    <a:cubicBezTo>
                      <a:pt x="22" y="54"/>
                      <a:pt x="22" y="57"/>
                      <a:pt x="20" y="56"/>
                    </a:cubicBezTo>
                    <a:cubicBezTo>
                      <a:pt x="18" y="55"/>
                      <a:pt x="15" y="52"/>
                      <a:pt x="12" y="51"/>
                    </a:cubicBezTo>
                    <a:cubicBezTo>
                      <a:pt x="9" y="50"/>
                      <a:pt x="3" y="48"/>
                      <a:pt x="2" y="46"/>
                    </a:cubicBezTo>
                    <a:cubicBezTo>
                      <a:pt x="0" y="44"/>
                      <a:pt x="2" y="42"/>
                      <a:pt x="2" y="42"/>
                    </a:cubicBezTo>
                    <a:cubicBezTo>
                      <a:pt x="4" y="40"/>
                      <a:pt x="8" y="39"/>
                      <a:pt x="9" y="41"/>
                    </a:cubicBezTo>
                    <a:cubicBezTo>
                      <a:pt x="10" y="42"/>
                      <a:pt x="13" y="44"/>
                      <a:pt x="15" y="44"/>
                    </a:cubicBezTo>
                    <a:cubicBezTo>
                      <a:pt x="18" y="43"/>
                      <a:pt x="22" y="42"/>
                      <a:pt x="21" y="39"/>
                    </a:cubicBezTo>
                    <a:cubicBezTo>
                      <a:pt x="20" y="36"/>
                      <a:pt x="18" y="33"/>
                      <a:pt x="16" y="32"/>
                    </a:cubicBezTo>
                    <a:cubicBezTo>
                      <a:pt x="14" y="31"/>
                      <a:pt x="8" y="32"/>
                      <a:pt x="8" y="29"/>
                    </a:cubicBezTo>
                    <a:cubicBezTo>
                      <a:pt x="8" y="26"/>
                      <a:pt x="8" y="15"/>
                      <a:pt x="6" y="13"/>
                    </a:cubicBezTo>
                    <a:cubicBezTo>
                      <a:pt x="5" y="11"/>
                      <a:pt x="3" y="9"/>
                      <a:pt x="8" y="8"/>
                    </a:cubicBezTo>
                    <a:cubicBezTo>
                      <a:pt x="13" y="7"/>
                      <a:pt x="14" y="7"/>
                      <a:pt x="18" y="5"/>
                    </a:cubicBezTo>
                    <a:cubicBezTo>
                      <a:pt x="22" y="4"/>
                      <a:pt x="27" y="1"/>
                      <a:pt x="29" y="0"/>
                    </a:cubicBezTo>
                    <a:cubicBezTo>
                      <a:pt x="31" y="0"/>
                      <a:pt x="36" y="1"/>
                      <a:pt x="36" y="3"/>
                    </a:cubicBezTo>
                    <a:cubicBezTo>
                      <a:pt x="36" y="5"/>
                      <a:pt x="35" y="7"/>
                      <a:pt x="36" y="10"/>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8" name="Freeform 105"/>
              <p:cNvSpPr>
                <a:spLocks/>
              </p:cNvSpPr>
              <p:nvPr>
                <p:custDataLst>
                  <p:tags r:id="rId52"/>
                </p:custDataLst>
              </p:nvPr>
            </p:nvSpPr>
            <p:spPr bwMode="auto">
              <a:xfrm>
                <a:off x="3586163" y="5119688"/>
                <a:ext cx="82550" cy="168275"/>
              </a:xfrm>
              <a:custGeom>
                <a:avLst/>
                <a:gdLst>
                  <a:gd name="T0" fmla="*/ 74 w 29"/>
                  <a:gd name="T1" fmla="*/ 32 h 60"/>
                  <a:gd name="T2" fmla="*/ 74 w 29"/>
                  <a:gd name="T3" fmla="*/ 88 h 60"/>
                  <a:gd name="T4" fmla="*/ 57 w 29"/>
                  <a:gd name="T5" fmla="*/ 117 h 60"/>
                  <a:gd name="T6" fmla="*/ 36 w 29"/>
                  <a:gd name="T7" fmla="*/ 159 h 60"/>
                  <a:gd name="T8" fmla="*/ 14 w 29"/>
                  <a:gd name="T9" fmla="*/ 143 h 60"/>
                  <a:gd name="T10" fmla="*/ 5 w 29"/>
                  <a:gd name="T11" fmla="*/ 127 h 60"/>
                  <a:gd name="T12" fmla="*/ 20 w 29"/>
                  <a:gd name="T13" fmla="*/ 104 h 60"/>
                  <a:gd name="T14" fmla="*/ 4 w 29"/>
                  <a:gd name="T15" fmla="*/ 78 h 60"/>
                  <a:gd name="T16" fmla="*/ 25 w 29"/>
                  <a:gd name="T17" fmla="*/ 37 h 60"/>
                  <a:gd name="T18" fmla="*/ 48 w 29"/>
                  <a:gd name="T19" fmla="*/ 30 h 60"/>
                  <a:gd name="T20" fmla="*/ 63 w 29"/>
                  <a:gd name="T21" fmla="*/ 0 h 60"/>
                  <a:gd name="T22" fmla="*/ 74 w 29"/>
                  <a:gd name="T23" fmla="*/ 32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60">
                    <a:moveTo>
                      <a:pt x="27" y="12"/>
                    </a:moveTo>
                    <a:cubicBezTo>
                      <a:pt x="28" y="18"/>
                      <a:pt x="29" y="27"/>
                      <a:pt x="27" y="33"/>
                    </a:cubicBezTo>
                    <a:cubicBezTo>
                      <a:pt x="26" y="39"/>
                      <a:pt x="21" y="42"/>
                      <a:pt x="21" y="44"/>
                    </a:cubicBezTo>
                    <a:cubicBezTo>
                      <a:pt x="21" y="47"/>
                      <a:pt x="17" y="60"/>
                      <a:pt x="13" y="60"/>
                    </a:cubicBezTo>
                    <a:cubicBezTo>
                      <a:pt x="9" y="60"/>
                      <a:pt x="7" y="56"/>
                      <a:pt x="5" y="54"/>
                    </a:cubicBezTo>
                    <a:cubicBezTo>
                      <a:pt x="2" y="51"/>
                      <a:pt x="2" y="48"/>
                      <a:pt x="2" y="48"/>
                    </a:cubicBezTo>
                    <a:cubicBezTo>
                      <a:pt x="2" y="42"/>
                      <a:pt x="9" y="42"/>
                      <a:pt x="7" y="39"/>
                    </a:cubicBezTo>
                    <a:cubicBezTo>
                      <a:pt x="5" y="36"/>
                      <a:pt x="0" y="32"/>
                      <a:pt x="1" y="29"/>
                    </a:cubicBezTo>
                    <a:cubicBezTo>
                      <a:pt x="3" y="26"/>
                      <a:pt x="5" y="15"/>
                      <a:pt x="9" y="14"/>
                    </a:cubicBezTo>
                    <a:cubicBezTo>
                      <a:pt x="14" y="12"/>
                      <a:pt x="17" y="14"/>
                      <a:pt x="18" y="11"/>
                    </a:cubicBezTo>
                    <a:cubicBezTo>
                      <a:pt x="19" y="8"/>
                      <a:pt x="17" y="1"/>
                      <a:pt x="23" y="0"/>
                    </a:cubicBezTo>
                    <a:cubicBezTo>
                      <a:pt x="28" y="0"/>
                      <a:pt x="27" y="5"/>
                      <a:pt x="27" y="12"/>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9" name="Freeform 106"/>
              <p:cNvSpPr>
                <a:spLocks/>
              </p:cNvSpPr>
              <p:nvPr>
                <p:custDataLst>
                  <p:tags r:id="rId53"/>
                </p:custDataLst>
              </p:nvPr>
            </p:nvSpPr>
            <p:spPr bwMode="auto">
              <a:xfrm>
                <a:off x="3529013" y="5308601"/>
                <a:ext cx="128588" cy="242888"/>
              </a:xfrm>
              <a:custGeom>
                <a:avLst/>
                <a:gdLst>
                  <a:gd name="T0" fmla="*/ 116 w 46"/>
                  <a:gd name="T1" fmla="*/ 25 h 86"/>
                  <a:gd name="T2" fmla="*/ 122 w 46"/>
                  <a:gd name="T3" fmla="*/ 78 h 86"/>
                  <a:gd name="T4" fmla="*/ 104 w 46"/>
                  <a:gd name="T5" fmla="*/ 100 h 86"/>
                  <a:gd name="T6" fmla="*/ 111 w 46"/>
                  <a:gd name="T7" fmla="*/ 133 h 86"/>
                  <a:gd name="T8" fmla="*/ 90 w 46"/>
                  <a:gd name="T9" fmla="*/ 212 h 86"/>
                  <a:gd name="T10" fmla="*/ 63 w 46"/>
                  <a:gd name="T11" fmla="*/ 196 h 86"/>
                  <a:gd name="T12" fmla="*/ 46 w 46"/>
                  <a:gd name="T13" fmla="*/ 222 h 86"/>
                  <a:gd name="T14" fmla="*/ 11 w 46"/>
                  <a:gd name="T15" fmla="*/ 222 h 86"/>
                  <a:gd name="T16" fmla="*/ 0 w 46"/>
                  <a:gd name="T17" fmla="*/ 196 h 86"/>
                  <a:gd name="T18" fmla="*/ 5 w 46"/>
                  <a:gd name="T19" fmla="*/ 158 h 86"/>
                  <a:gd name="T20" fmla="*/ 16 w 46"/>
                  <a:gd name="T21" fmla="*/ 85 h 86"/>
                  <a:gd name="T22" fmla="*/ 4 w 46"/>
                  <a:gd name="T23" fmla="*/ 46 h 86"/>
                  <a:gd name="T24" fmla="*/ 16 w 46"/>
                  <a:gd name="T25" fmla="*/ 9 h 86"/>
                  <a:gd name="T26" fmla="*/ 37 w 46"/>
                  <a:gd name="T27" fmla="*/ 30 h 86"/>
                  <a:gd name="T28" fmla="*/ 90 w 46"/>
                  <a:gd name="T29" fmla="*/ 0 h 86"/>
                  <a:gd name="T30" fmla="*/ 116 w 46"/>
                  <a:gd name="T31" fmla="*/ 25 h 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86">
                    <a:moveTo>
                      <a:pt x="44" y="9"/>
                    </a:moveTo>
                    <a:cubicBezTo>
                      <a:pt x="46" y="17"/>
                      <a:pt x="46" y="24"/>
                      <a:pt x="46" y="29"/>
                    </a:cubicBezTo>
                    <a:cubicBezTo>
                      <a:pt x="46" y="33"/>
                      <a:pt x="39" y="33"/>
                      <a:pt x="39" y="37"/>
                    </a:cubicBezTo>
                    <a:cubicBezTo>
                      <a:pt x="39" y="41"/>
                      <a:pt x="44" y="44"/>
                      <a:pt x="42" y="50"/>
                    </a:cubicBezTo>
                    <a:cubicBezTo>
                      <a:pt x="40" y="56"/>
                      <a:pt x="37" y="79"/>
                      <a:pt x="34" y="79"/>
                    </a:cubicBezTo>
                    <a:cubicBezTo>
                      <a:pt x="32" y="80"/>
                      <a:pt x="28" y="73"/>
                      <a:pt x="24" y="73"/>
                    </a:cubicBezTo>
                    <a:cubicBezTo>
                      <a:pt x="14" y="72"/>
                      <a:pt x="22" y="83"/>
                      <a:pt x="17" y="83"/>
                    </a:cubicBezTo>
                    <a:cubicBezTo>
                      <a:pt x="12" y="83"/>
                      <a:pt x="9" y="86"/>
                      <a:pt x="4" y="83"/>
                    </a:cubicBezTo>
                    <a:cubicBezTo>
                      <a:pt x="0" y="81"/>
                      <a:pt x="0" y="73"/>
                      <a:pt x="0" y="73"/>
                    </a:cubicBezTo>
                    <a:cubicBezTo>
                      <a:pt x="2" y="59"/>
                      <a:pt x="2" y="59"/>
                      <a:pt x="2" y="59"/>
                    </a:cubicBezTo>
                    <a:cubicBezTo>
                      <a:pt x="4" y="55"/>
                      <a:pt x="7" y="38"/>
                      <a:pt x="6" y="32"/>
                    </a:cubicBezTo>
                    <a:cubicBezTo>
                      <a:pt x="6" y="26"/>
                      <a:pt x="1" y="17"/>
                      <a:pt x="1" y="17"/>
                    </a:cubicBezTo>
                    <a:cubicBezTo>
                      <a:pt x="1" y="17"/>
                      <a:pt x="2" y="5"/>
                      <a:pt x="6" y="3"/>
                    </a:cubicBezTo>
                    <a:cubicBezTo>
                      <a:pt x="11" y="2"/>
                      <a:pt x="8" y="13"/>
                      <a:pt x="14" y="11"/>
                    </a:cubicBezTo>
                    <a:cubicBezTo>
                      <a:pt x="20" y="9"/>
                      <a:pt x="29" y="0"/>
                      <a:pt x="34" y="0"/>
                    </a:cubicBezTo>
                    <a:cubicBezTo>
                      <a:pt x="38" y="0"/>
                      <a:pt x="41" y="2"/>
                      <a:pt x="44" y="9"/>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0" name="Freeform 107"/>
              <p:cNvSpPr>
                <a:spLocks/>
              </p:cNvSpPr>
              <p:nvPr>
                <p:custDataLst>
                  <p:tags r:id="rId54"/>
                </p:custDataLst>
              </p:nvPr>
            </p:nvSpPr>
            <p:spPr bwMode="auto">
              <a:xfrm>
                <a:off x="3041651" y="5343526"/>
                <a:ext cx="104775" cy="87313"/>
              </a:xfrm>
              <a:custGeom>
                <a:avLst/>
                <a:gdLst>
                  <a:gd name="T0" fmla="*/ 80 w 37"/>
                  <a:gd name="T1" fmla="*/ 27 h 31"/>
                  <a:gd name="T2" fmla="*/ 100 w 37"/>
                  <a:gd name="T3" fmla="*/ 37 h 31"/>
                  <a:gd name="T4" fmla="*/ 78 w 37"/>
                  <a:gd name="T5" fmla="*/ 73 h 31"/>
                  <a:gd name="T6" fmla="*/ 48 w 37"/>
                  <a:gd name="T7" fmla="*/ 73 h 31"/>
                  <a:gd name="T8" fmla="*/ 43 w 37"/>
                  <a:gd name="T9" fmla="*/ 46 h 31"/>
                  <a:gd name="T10" fmla="*/ 20 w 37"/>
                  <a:gd name="T11" fmla="*/ 51 h 31"/>
                  <a:gd name="T12" fmla="*/ 4 w 37"/>
                  <a:gd name="T13" fmla="*/ 30 h 31"/>
                  <a:gd name="T14" fmla="*/ 52 w 37"/>
                  <a:gd name="T15" fmla="*/ 14 h 31"/>
                  <a:gd name="T16" fmla="*/ 80 w 37"/>
                  <a:gd name="T17" fmla="*/ 9 h 31"/>
                  <a:gd name="T18" fmla="*/ 80 w 37"/>
                  <a:gd name="T19" fmla="*/ 2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7" h="31">
                    <a:moveTo>
                      <a:pt x="30" y="10"/>
                    </a:moveTo>
                    <a:cubicBezTo>
                      <a:pt x="34" y="11"/>
                      <a:pt x="37" y="8"/>
                      <a:pt x="37" y="14"/>
                    </a:cubicBezTo>
                    <a:cubicBezTo>
                      <a:pt x="37" y="20"/>
                      <a:pt x="29" y="27"/>
                      <a:pt x="29" y="27"/>
                    </a:cubicBezTo>
                    <a:cubicBezTo>
                      <a:pt x="26" y="29"/>
                      <a:pt x="20" y="31"/>
                      <a:pt x="18" y="27"/>
                    </a:cubicBezTo>
                    <a:cubicBezTo>
                      <a:pt x="16" y="24"/>
                      <a:pt x="18" y="19"/>
                      <a:pt x="16" y="17"/>
                    </a:cubicBezTo>
                    <a:cubicBezTo>
                      <a:pt x="14" y="15"/>
                      <a:pt x="10" y="20"/>
                      <a:pt x="7" y="19"/>
                    </a:cubicBezTo>
                    <a:cubicBezTo>
                      <a:pt x="4" y="19"/>
                      <a:pt x="0" y="13"/>
                      <a:pt x="1" y="11"/>
                    </a:cubicBezTo>
                    <a:cubicBezTo>
                      <a:pt x="2" y="9"/>
                      <a:pt x="15" y="6"/>
                      <a:pt x="19" y="5"/>
                    </a:cubicBezTo>
                    <a:cubicBezTo>
                      <a:pt x="23" y="3"/>
                      <a:pt x="30" y="0"/>
                      <a:pt x="30" y="3"/>
                    </a:cubicBezTo>
                    <a:cubicBezTo>
                      <a:pt x="31" y="5"/>
                      <a:pt x="26" y="9"/>
                      <a:pt x="30" y="10"/>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1" name="Freeform 108"/>
              <p:cNvSpPr>
                <a:spLocks/>
              </p:cNvSpPr>
              <p:nvPr>
                <p:custDataLst>
                  <p:tags r:id="rId55"/>
                </p:custDataLst>
              </p:nvPr>
            </p:nvSpPr>
            <p:spPr bwMode="auto">
              <a:xfrm>
                <a:off x="3001963" y="3290888"/>
                <a:ext cx="74613" cy="68263"/>
              </a:xfrm>
              <a:custGeom>
                <a:avLst/>
                <a:gdLst>
                  <a:gd name="T0" fmla="*/ 64 w 27"/>
                  <a:gd name="T1" fmla="*/ 4 h 24"/>
                  <a:gd name="T2" fmla="*/ 68 w 27"/>
                  <a:gd name="T3" fmla="*/ 14 h 24"/>
                  <a:gd name="T4" fmla="*/ 59 w 27"/>
                  <a:gd name="T5" fmla="*/ 30 h 24"/>
                  <a:gd name="T6" fmla="*/ 42 w 27"/>
                  <a:gd name="T7" fmla="*/ 43 h 24"/>
                  <a:gd name="T8" fmla="*/ 26 w 27"/>
                  <a:gd name="T9" fmla="*/ 57 h 24"/>
                  <a:gd name="T10" fmla="*/ 7 w 27"/>
                  <a:gd name="T11" fmla="*/ 65 h 24"/>
                  <a:gd name="T12" fmla="*/ 2 w 27"/>
                  <a:gd name="T13" fmla="*/ 47 h 24"/>
                  <a:gd name="T14" fmla="*/ 10 w 27"/>
                  <a:gd name="T15" fmla="*/ 16 h 24"/>
                  <a:gd name="T16" fmla="*/ 33 w 27"/>
                  <a:gd name="T17" fmla="*/ 14 h 24"/>
                  <a:gd name="T18" fmla="*/ 64 w 27"/>
                  <a:gd name="T19" fmla="*/ 4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24">
                    <a:moveTo>
                      <a:pt x="25" y="1"/>
                    </a:moveTo>
                    <a:cubicBezTo>
                      <a:pt x="27" y="0"/>
                      <a:pt x="27" y="3"/>
                      <a:pt x="26" y="5"/>
                    </a:cubicBezTo>
                    <a:cubicBezTo>
                      <a:pt x="26" y="8"/>
                      <a:pt x="26" y="10"/>
                      <a:pt x="23" y="11"/>
                    </a:cubicBezTo>
                    <a:cubicBezTo>
                      <a:pt x="21" y="12"/>
                      <a:pt x="17" y="13"/>
                      <a:pt x="16" y="16"/>
                    </a:cubicBezTo>
                    <a:cubicBezTo>
                      <a:pt x="15" y="18"/>
                      <a:pt x="10" y="21"/>
                      <a:pt x="10" y="21"/>
                    </a:cubicBezTo>
                    <a:cubicBezTo>
                      <a:pt x="8" y="22"/>
                      <a:pt x="4" y="23"/>
                      <a:pt x="3" y="24"/>
                    </a:cubicBezTo>
                    <a:cubicBezTo>
                      <a:pt x="2" y="24"/>
                      <a:pt x="0" y="20"/>
                      <a:pt x="1" y="17"/>
                    </a:cubicBezTo>
                    <a:cubicBezTo>
                      <a:pt x="1" y="13"/>
                      <a:pt x="1" y="7"/>
                      <a:pt x="4" y="6"/>
                    </a:cubicBezTo>
                    <a:cubicBezTo>
                      <a:pt x="7" y="5"/>
                      <a:pt x="10" y="6"/>
                      <a:pt x="13" y="5"/>
                    </a:cubicBezTo>
                    <a:cubicBezTo>
                      <a:pt x="17" y="5"/>
                      <a:pt x="23" y="1"/>
                      <a:pt x="25" y="1"/>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2" name="Freeform 109"/>
              <p:cNvSpPr>
                <a:spLocks/>
              </p:cNvSpPr>
              <p:nvPr>
                <p:custDataLst>
                  <p:tags r:id="rId56"/>
                </p:custDataLst>
              </p:nvPr>
            </p:nvSpPr>
            <p:spPr bwMode="auto">
              <a:xfrm>
                <a:off x="2774951" y="3309938"/>
                <a:ext cx="557213" cy="892175"/>
              </a:xfrm>
              <a:custGeom>
                <a:avLst/>
                <a:gdLst>
                  <a:gd name="T0" fmla="*/ 253 w 197"/>
                  <a:gd name="T1" fmla="*/ 62 h 316"/>
                  <a:gd name="T2" fmla="*/ 269 w 197"/>
                  <a:gd name="T3" fmla="*/ 84 h 316"/>
                  <a:gd name="T4" fmla="*/ 306 w 197"/>
                  <a:gd name="T5" fmla="*/ 68 h 316"/>
                  <a:gd name="T6" fmla="*/ 330 w 197"/>
                  <a:gd name="T7" fmla="*/ 11 h 316"/>
                  <a:gd name="T8" fmla="*/ 417 w 197"/>
                  <a:gd name="T9" fmla="*/ 27 h 316"/>
                  <a:gd name="T10" fmla="*/ 365 w 197"/>
                  <a:gd name="T11" fmla="*/ 80 h 316"/>
                  <a:gd name="T12" fmla="*/ 349 w 197"/>
                  <a:gd name="T13" fmla="*/ 117 h 316"/>
                  <a:gd name="T14" fmla="*/ 465 w 197"/>
                  <a:gd name="T15" fmla="*/ 151 h 316"/>
                  <a:gd name="T16" fmla="*/ 396 w 197"/>
                  <a:gd name="T17" fmla="*/ 237 h 316"/>
                  <a:gd name="T18" fmla="*/ 376 w 197"/>
                  <a:gd name="T19" fmla="*/ 253 h 316"/>
                  <a:gd name="T20" fmla="*/ 322 w 197"/>
                  <a:gd name="T21" fmla="*/ 265 h 316"/>
                  <a:gd name="T22" fmla="*/ 369 w 197"/>
                  <a:gd name="T23" fmla="*/ 285 h 316"/>
                  <a:gd name="T24" fmla="*/ 413 w 197"/>
                  <a:gd name="T25" fmla="*/ 365 h 316"/>
                  <a:gd name="T26" fmla="*/ 449 w 197"/>
                  <a:gd name="T27" fmla="*/ 518 h 316"/>
                  <a:gd name="T28" fmla="*/ 454 w 197"/>
                  <a:gd name="T29" fmla="*/ 612 h 316"/>
                  <a:gd name="T30" fmla="*/ 461 w 197"/>
                  <a:gd name="T31" fmla="*/ 633 h 316"/>
                  <a:gd name="T32" fmla="*/ 497 w 197"/>
                  <a:gd name="T33" fmla="*/ 736 h 316"/>
                  <a:gd name="T34" fmla="*/ 417 w 197"/>
                  <a:gd name="T35" fmla="*/ 775 h 316"/>
                  <a:gd name="T36" fmla="*/ 478 w 197"/>
                  <a:gd name="T37" fmla="*/ 800 h 316"/>
                  <a:gd name="T38" fmla="*/ 392 w 197"/>
                  <a:gd name="T39" fmla="*/ 843 h 316"/>
                  <a:gd name="T40" fmla="*/ 322 w 197"/>
                  <a:gd name="T41" fmla="*/ 832 h 316"/>
                  <a:gd name="T42" fmla="*/ 239 w 197"/>
                  <a:gd name="T43" fmla="*/ 823 h 316"/>
                  <a:gd name="T44" fmla="*/ 153 w 197"/>
                  <a:gd name="T45" fmla="*/ 802 h 316"/>
                  <a:gd name="T46" fmla="*/ 102 w 197"/>
                  <a:gd name="T47" fmla="*/ 800 h 316"/>
                  <a:gd name="T48" fmla="*/ 30 w 197"/>
                  <a:gd name="T49" fmla="*/ 818 h 316"/>
                  <a:gd name="T50" fmla="*/ 9 w 197"/>
                  <a:gd name="T51" fmla="*/ 781 h 316"/>
                  <a:gd name="T52" fmla="*/ 105 w 197"/>
                  <a:gd name="T53" fmla="*/ 727 h 316"/>
                  <a:gd name="T54" fmla="*/ 134 w 197"/>
                  <a:gd name="T55" fmla="*/ 717 h 316"/>
                  <a:gd name="T56" fmla="*/ 242 w 197"/>
                  <a:gd name="T57" fmla="*/ 711 h 316"/>
                  <a:gd name="T58" fmla="*/ 201 w 197"/>
                  <a:gd name="T59" fmla="*/ 715 h 316"/>
                  <a:gd name="T60" fmla="*/ 143 w 197"/>
                  <a:gd name="T61" fmla="*/ 685 h 316"/>
                  <a:gd name="T62" fmla="*/ 96 w 197"/>
                  <a:gd name="T63" fmla="*/ 644 h 316"/>
                  <a:gd name="T64" fmla="*/ 166 w 197"/>
                  <a:gd name="T65" fmla="*/ 612 h 316"/>
                  <a:gd name="T66" fmla="*/ 148 w 197"/>
                  <a:gd name="T67" fmla="*/ 560 h 316"/>
                  <a:gd name="T68" fmla="*/ 196 w 197"/>
                  <a:gd name="T69" fmla="*/ 496 h 316"/>
                  <a:gd name="T70" fmla="*/ 264 w 197"/>
                  <a:gd name="T71" fmla="*/ 548 h 316"/>
                  <a:gd name="T72" fmla="*/ 303 w 197"/>
                  <a:gd name="T73" fmla="*/ 470 h 316"/>
                  <a:gd name="T74" fmla="*/ 271 w 197"/>
                  <a:gd name="T75" fmla="*/ 413 h 316"/>
                  <a:gd name="T76" fmla="*/ 290 w 197"/>
                  <a:gd name="T77" fmla="*/ 365 h 316"/>
                  <a:gd name="T78" fmla="*/ 244 w 197"/>
                  <a:gd name="T79" fmla="*/ 359 h 316"/>
                  <a:gd name="T80" fmla="*/ 207 w 197"/>
                  <a:gd name="T81" fmla="*/ 381 h 316"/>
                  <a:gd name="T82" fmla="*/ 253 w 197"/>
                  <a:gd name="T83" fmla="*/ 299 h 316"/>
                  <a:gd name="T84" fmla="*/ 248 w 197"/>
                  <a:gd name="T85" fmla="*/ 249 h 316"/>
                  <a:gd name="T86" fmla="*/ 184 w 197"/>
                  <a:gd name="T87" fmla="*/ 301 h 316"/>
                  <a:gd name="T88" fmla="*/ 249 w 197"/>
                  <a:gd name="T89" fmla="*/ 194 h 316"/>
                  <a:gd name="T90" fmla="*/ 232 w 197"/>
                  <a:gd name="T91" fmla="*/ 189 h 316"/>
                  <a:gd name="T92" fmla="*/ 191 w 197"/>
                  <a:gd name="T93" fmla="*/ 185 h 316"/>
                  <a:gd name="T94" fmla="*/ 237 w 197"/>
                  <a:gd name="T95" fmla="*/ 153 h 316"/>
                  <a:gd name="T96" fmla="*/ 221 w 197"/>
                  <a:gd name="T97" fmla="*/ 110 h 316"/>
                  <a:gd name="T98" fmla="*/ 237 w 197"/>
                  <a:gd name="T99" fmla="*/ 84 h 3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7" h="316">
                    <a:moveTo>
                      <a:pt x="88" y="31"/>
                    </a:moveTo>
                    <a:cubicBezTo>
                      <a:pt x="90" y="29"/>
                      <a:pt x="90" y="24"/>
                      <a:pt x="91" y="23"/>
                    </a:cubicBezTo>
                    <a:cubicBezTo>
                      <a:pt x="92" y="23"/>
                      <a:pt x="94" y="22"/>
                      <a:pt x="94" y="23"/>
                    </a:cubicBezTo>
                    <a:cubicBezTo>
                      <a:pt x="94" y="25"/>
                      <a:pt x="92" y="38"/>
                      <a:pt x="93" y="38"/>
                    </a:cubicBezTo>
                    <a:cubicBezTo>
                      <a:pt x="94" y="39"/>
                      <a:pt x="96" y="41"/>
                      <a:pt x="99" y="40"/>
                    </a:cubicBezTo>
                    <a:cubicBezTo>
                      <a:pt x="102" y="39"/>
                      <a:pt x="99" y="34"/>
                      <a:pt x="100" y="31"/>
                    </a:cubicBezTo>
                    <a:cubicBezTo>
                      <a:pt x="101" y="28"/>
                      <a:pt x="101" y="22"/>
                      <a:pt x="103" y="22"/>
                    </a:cubicBezTo>
                    <a:cubicBezTo>
                      <a:pt x="105" y="22"/>
                      <a:pt x="106" y="21"/>
                      <a:pt x="107" y="22"/>
                    </a:cubicBezTo>
                    <a:cubicBezTo>
                      <a:pt x="109" y="22"/>
                      <a:pt x="111" y="26"/>
                      <a:pt x="114" y="25"/>
                    </a:cubicBezTo>
                    <a:cubicBezTo>
                      <a:pt x="116" y="24"/>
                      <a:pt x="112" y="18"/>
                      <a:pt x="114" y="15"/>
                    </a:cubicBezTo>
                    <a:cubicBezTo>
                      <a:pt x="115" y="12"/>
                      <a:pt x="118" y="13"/>
                      <a:pt x="120" y="12"/>
                    </a:cubicBezTo>
                    <a:cubicBezTo>
                      <a:pt x="122" y="10"/>
                      <a:pt x="121" y="6"/>
                      <a:pt x="123" y="4"/>
                    </a:cubicBezTo>
                    <a:cubicBezTo>
                      <a:pt x="125" y="3"/>
                      <a:pt x="127" y="1"/>
                      <a:pt x="128" y="0"/>
                    </a:cubicBezTo>
                    <a:cubicBezTo>
                      <a:pt x="130" y="0"/>
                      <a:pt x="134" y="7"/>
                      <a:pt x="137" y="7"/>
                    </a:cubicBezTo>
                    <a:cubicBezTo>
                      <a:pt x="140" y="7"/>
                      <a:pt x="153" y="10"/>
                      <a:pt x="155" y="10"/>
                    </a:cubicBezTo>
                    <a:cubicBezTo>
                      <a:pt x="157" y="10"/>
                      <a:pt x="163" y="11"/>
                      <a:pt x="164" y="13"/>
                    </a:cubicBezTo>
                    <a:cubicBezTo>
                      <a:pt x="164" y="14"/>
                      <a:pt x="160" y="19"/>
                      <a:pt x="158" y="21"/>
                    </a:cubicBezTo>
                    <a:cubicBezTo>
                      <a:pt x="155" y="23"/>
                      <a:pt x="137" y="29"/>
                      <a:pt x="136" y="30"/>
                    </a:cubicBezTo>
                    <a:cubicBezTo>
                      <a:pt x="135" y="31"/>
                      <a:pt x="134" y="33"/>
                      <a:pt x="136" y="34"/>
                    </a:cubicBezTo>
                    <a:cubicBezTo>
                      <a:pt x="137" y="35"/>
                      <a:pt x="140" y="34"/>
                      <a:pt x="140" y="35"/>
                    </a:cubicBezTo>
                    <a:cubicBezTo>
                      <a:pt x="140" y="39"/>
                      <a:pt x="128" y="42"/>
                      <a:pt x="130" y="44"/>
                    </a:cubicBezTo>
                    <a:cubicBezTo>
                      <a:pt x="132" y="46"/>
                      <a:pt x="142" y="43"/>
                      <a:pt x="144" y="43"/>
                    </a:cubicBezTo>
                    <a:cubicBezTo>
                      <a:pt x="146" y="43"/>
                      <a:pt x="162" y="50"/>
                      <a:pt x="165" y="50"/>
                    </a:cubicBezTo>
                    <a:cubicBezTo>
                      <a:pt x="167" y="51"/>
                      <a:pt x="173" y="54"/>
                      <a:pt x="173" y="56"/>
                    </a:cubicBezTo>
                    <a:cubicBezTo>
                      <a:pt x="173" y="59"/>
                      <a:pt x="173" y="63"/>
                      <a:pt x="167" y="66"/>
                    </a:cubicBezTo>
                    <a:cubicBezTo>
                      <a:pt x="160" y="70"/>
                      <a:pt x="162" y="76"/>
                      <a:pt x="160" y="78"/>
                    </a:cubicBezTo>
                    <a:cubicBezTo>
                      <a:pt x="157" y="81"/>
                      <a:pt x="150" y="87"/>
                      <a:pt x="147" y="88"/>
                    </a:cubicBezTo>
                    <a:cubicBezTo>
                      <a:pt x="145" y="89"/>
                      <a:pt x="137" y="89"/>
                      <a:pt x="134" y="89"/>
                    </a:cubicBezTo>
                    <a:cubicBezTo>
                      <a:pt x="131" y="89"/>
                      <a:pt x="129" y="90"/>
                      <a:pt x="130" y="92"/>
                    </a:cubicBezTo>
                    <a:cubicBezTo>
                      <a:pt x="131" y="93"/>
                      <a:pt x="139" y="94"/>
                      <a:pt x="140" y="94"/>
                    </a:cubicBezTo>
                    <a:cubicBezTo>
                      <a:pt x="141" y="94"/>
                      <a:pt x="144" y="97"/>
                      <a:pt x="144" y="99"/>
                    </a:cubicBezTo>
                    <a:cubicBezTo>
                      <a:pt x="144" y="100"/>
                      <a:pt x="131" y="101"/>
                      <a:pt x="129" y="101"/>
                    </a:cubicBezTo>
                    <a:cubicBezTo>
                      <a:pt x="127" y="101"/>
                      <a:pt x="122" y="98"/>
                      <a:pt x="120" y="99"/>
                    </a:cubicBezTo>
                    <a:cubicBezTo>
                      <a:pt x="118" y="101"/>
                      <a:pt x="117" y="103"/>
                      <a:pt x="119" y="104"/>
                    </a:cubicBezTo>
                    <a:cubicBezTo>
                      <a:pt x="121" y="105"/>
                      <a:pt x="128" y="110"/>
                      <a:pt x="131" y="109"/>
                    </a:cubicBezTo>
                    <a:cubicBezTo>
                      <a:pt x="134" y="109"/>
                      <a:pt x="135" y="105"/>
                      <a:pt x="137" y="106"/>
                    </a:cubicBezTo>
                    <a:cubicBezTo>
                      <a:pt x="138" y="106"/>
                      <a:pt x="145" y="112"/>
                      <a:pt x="147" y="114"/>
                    </a:cubicBezTo>
                    <a:cubicBezTo>
                      <a:pt x="149" y="115"/>
                      <a:pt x="149" y="122"/>
                      <a:pt x="150" y="125"/>
                    </a:cubicBezTo>
                    <a:cubicBezTo>
                      <a:pt x="151" y="127"/>
                      <a:pt x="155" y="130"/>
                      <a:pt x="154" y="136"/>
                    </a:cubicBezTo>
                    <a:cubicBezTo>
                      <a:pt x="153" y="141"/>
                      <a:pt x="151" y="159"/>
                      <a:pt x="152" y="162"/>
                    </a:cubicBezTo>
                    <a:cubicBezTo>
                      <a:pt x="153" y="165"/>
                      <a:pt x="164" y="174"/>
                      <a:pt x="164" y="177"/>
                    </a:cubicBezTo>
                    <a:cubicBezTo>
                      <a:pt x="165" y="180"/>
                      <a:pt x="166" y="189"/>
                      <a:pt x="167" y="193"/>
                    </a:cubicBezTo>
                    <a:cubicBezTo>
                      <a:pt x="168" y="198"/>
                      <a:pt x="170" y="205"/>
                      <a:pt x="171" y="208"/>
                    </a:cubicBezTo>
                    <a:cubicBezTo>
                      <a:pt x="171" y="211"/>
                      <a:pt x="166" y="210"/>
                      <a:pt x="167" y="213"/>
                    </a:cubicBezTo>
                    <a:cubicBezTo>
                      <a:pt x="168" y="216"/>
                      <a:pt x="171" y="227"/>
                      <a:pt x="169" y="228"/>
                    </a:cubicBezTo>
                    <a:cubicBezTo>
                      <a:pt x="167" y="229"/>
                      <a:pt x="160" y="233"/>
                      <a:pt x="159" y="234"/>
                    </a:cubicBezTo>
                    <a:cubicBezTo>
                      <a:pt x="159" y="235"/>
                      <a:pt x="165" y="242"/>
                      <a:pt x="166" y="242"/>
                    </a:cubicBezTo>
                    <a:cubicBezTo>
                      <a:pt x="167" y="242"/>
                      <a:pt x="169" y="237"/>
                      <a:pt x="172" y="236"/>
                    </a:cubicBezTo>
                    <a:cubicBezTo>
                      <a:pt x="175" y="236"/>
                      <a:pt x="186" y="240"/>
                      <a:pt x="189" y="244"/>
                    </a:cubicBezTo>
                    <a:cubicBezTo>
                      <a:pt x="192" y="247"/>
                      <a:pt x="197" y="254"/>
                      <a:pt x="192" y="262"/>
                    </a:cubicBezTo>
                    <a:cubicBezTo>
                      <a:pt x="187" y="269"/>
                      <a:pt x="187" y="272"/>
                      <a:pt x="185" y="274"/>
                    </a:cubicBezTo>
                    <a:cubicBezTo>
                      <a:pt x="183" y="275"/>
                      <a:pt x="175" y="281"/>
                      <a:pt x="171" y="282"/>
                    </a:cubicBezTo>
                    <a:cubicBezTo>
                      <a:pt x="167" y="284"/>
                      <a:pt x="168" y="288"/>
                      <a:pt x="166" y="288"/>
                    </a:cubicBezTo>
                    <a:cubicBezTo>
                      <a:pt x="163" y="288"/>
                      <a:pt x="155" y="286"/>
                      <a:pt x="155" y="289"/>
                    </a:cubicBezTo>
                    <a:cubicBezTo>
                      <a:pt x="155" y="292"/>
                      <a:pt x="156" y="293"/>
                      <a:pt x="159" y="294"/>
                    </a:cubicBezTo>
                    <a:cubicBezTo>
                      <a:pt x="162" y="295"/>
                      <a:pt x="170" y="296"/>
                      <a:pt x="171" y="296"/>
                    </a:cubicBezTo>
                    <a:cubicBezTo>
                      <a:pt x="173" y="296"/>
                      <a:pt x="179" y="296"/>
                      <a:pt x="178" y="298"/>
                    </a:cubicBezTo>
                    <a:cubicBezTo>
                      <a:pt x="178" y="300"/>
                      <a:pt x="176" y="303"/>
                      <a:pt x="174" y="305"/>
                    </a:cubicBezTo>
                    <a:cubicBezTo>
                      <a:pt x="171" y="307"/>
                      <a:pt x="165" y="309"/>
                      <a:pt x="161" y="311"/>
                    </a:cubicBezTo>
                    <a:cubicBezTo>
                      <a:pt x="157" y="312"/>
                      <a:pt x="150" y="313"/>
                      <a:pt x="146" y="314"/>
                    </a:cubicBezTo>
                    <a:cubicBezTo>
                      <a:pt x="142" y="316"/>
                      <a:pt x="140" y="313"/>
                      <a:pt x="138" y="311"/>
                    </a:cubicBezTo>
                    <a:cubicBezTo>
                      <a:pt x="137" y="308"/>
                      <a:pt x="132" y="308"/>
                      <a:pt x="132" y="308"/>
                    </a:cubicBezTo>
                    <a:cubicBezTo>
                      <a:pt x="124" y="306"/>
                      <a:pt x="123" y="311"/>
                      <a:pt x="120" y="310"/>
                    </a:cubicBezTo>
                    <a:cubicBezTo>
                      <a:pt x="118" y="310"/>
                      <a:pt x="117" y="306"/>
                      <a:pt x="110" y="305"/>
                    </a:cubicBezTo>
                    <a:cubicBezTo>
                      <a:pt x="107" y="304"/>
                      <a:pt x="97" y="302"/>
                      <a:pt x="95" y="302"/>
                    </a:cubicBezTo>
                    <a:cubicBezTo>
                      <a:pt x="94" y="302"/>
                      <a:pt x="94" y="309"/>
                      <a:pt x="89" y="307"/>
                    </a:cubicBezTo>
                    <a:cubicBezTo>
                      <a:pt x="83" y="306"/>
                      <a:pt x="81" y="302"/>
                      <a:pt x="79" y="300"/>
                    </a:cubicBezTo>
                    <a:cubicBezTo>
                      <a:pt x="77" y="298"/>
                      <a:pt x="73" y="295"/>
                      <a:pt x="69" y="294"/>
                    </a:cubicBezTo>
                    <a:cubicBezTo>
                      <a:pt x="64" y="294"/>
                      <a:pt x="60" y="294"/>
                      <a:pt x="57" y="299"/>
                    </a:cubicBezTo>
                    <a:cubicBezTo>
                      <a:pt x="54" y="303"/>
                      <a:pt x="53" y="307"/>
                      <a:pt x="50" y="307"/>
                    </a:cubicBezTo>
                    <a:cubicBezTo>
                      <a:pt x="46" y="307"/>
                      <a:pt x="46" y="306"/>
                      <a:pt x="44" y="303"/>
                    </a:cubicBezTo>
                    <a:cubicBezTo>
                      <a:pt x="42" y="300"/>
                      <a:pt x="40" y="300"/>
                      <a:pt x="38" y="298"/>
                    </a:cubicBezTo>
                    <a:cubicBezTo>
                      <a:pt x="35" y="296"/>
                      <a:pt x="31" y="296"/>
                      <a:pt x="28" y="296"/>
                    </a:cubicBezTo>
                    <a:cubicBezTo>
                      <a:pt x="25" y="297"/>
                      <a:pt x="19" y="302"/>
                      <a:pt x="17" y="303"/>
                    </a:cubicBezTo>
                    <a:cubicBezTo>
                      <a:pt x="14" y="304"/>
                      <a:pt x="13" y="307"/>
                      <a:pt x="11" y="305"/>
                    </a:cubicBezTo>
                    <a:cubicBezTo>
                      <a:pt x="9" y="303"/>
                      <a:pt x="11" y="301"/>
                      <a:pt x="8" y="300"/>
                    </a:cubicBezTo>
                    <a:cubicBezTo>
                      <a:pt x="6" y="299"/>
                      <a:pt x="2" y="300"/>
                      <a:pt x="2" y="298"/>
                    </a:cubicBezTo>
                    <a:cubicBezTo>
                      <a:pt x="1" y="296"/>
                      <a:pt x="0" y="291"/>
                      <a:pt x="3" y="291"/>
                    </a:cubicBezTo>
                    <a:cubicBezTo>
                      <a:pt x="6" y="290"/>
                      <a:pt x="9" y="291"/>
                      <a:pt x="13" y="290"/>
                    </a:cubicBezTo>
                    <a:cubicBezTo>
                      <a:pt x="17" y="288"/>
                      <a:pt x="28" y="283"/>
                      <a:pt x="31" y="281"/>
                    </a:cubicBezTo>
                    <a:cubicBezTo>
                      <a:pt x="35" y="279"/>
                      <a:pt x="37" y="272"/>
                      <a:pt x="39" y="271"/>
                    </a:cubicBezTo>
                    <a:cubicBezTo>
                      <a:pt x="41" y="269"/>
                      <a:pt x="41" y="274"/>
                      <a:pt x="44" y="274"/>
                    </a:cubicBezTo>
                    <a:cubicBezTo>
                      <a:pt x="47" y="274"/>
                      <a:pt x="48" y="273"/>
                      <a:pt x="49" y="272"/>
                    </a:cubicBezTo>
                    <a:cubicBezTo>
                      <a:pt x="50" y="271"/>
                      <a:pt x="48" y="267"/>
                      <a:pt x="50" y="267"/>
                    </a:cubicBezTo>
                    <a:cubicBezTo>
                      <a:pt x="52" y="267"/>
                      <a:pt x="60" y="271"/>
                      <a:pt x="62" y="272"/>
                    </a:cubicBezTo>
                    <a:cubicBezTo>
                      <a:pt x="64" y="273"/>
                      <a:pt x="73" y="277"/>
                      <a:pt x="76" y="276"/>
                    </a:cubicBezTo>
                    <a:cubicBezTo>
                      <a:pt x="78" y="275"/>
                      <a:pt x="88" y="266"/>
                      <a:pt x="90" y="265"/>
                    </a:cubicBezTo>
                    <a:cubicBezTo>
                      <a:pt x="92" y="264"/>
                      <a:pt x="95" y="262"/>
                      <a:pt x="96" y="261"/>
                    </a:cubicBezTo>
                    <a:cubicBezTo>
                      <a:pt x="97" y="260"/>
                      <a:pt x="94" y="259"/>
                      <a:pt x="92" y="259"/>
                    </a:cubicBezTo>
                    <a:cubicBezTo>
                      <a:pt x="89" y="259"/>
                      <a:pt x="76" y="264"/>
                      <a:pt x="75" y="266"/>
                    </a:cubicBezTo>
                    <a:cubicBezTo>
                      <a:pt x="74" y="268"/>
                      <a:pt x="67" y="266"/>
                      <a:pt x="65" y="263"/>
                    </a:cubicBezTo>
                    <a:cubicBezTo>
                      <a:pt x="62" y="260"/>
                      <a:pt x="67" y="256"/>
                      <a:pt x="63" y="255"/>
                    </a:cubicBezTo>
                    <a:cubicBezTo>
                      <a:pt x="59" y="254"/>
                      <a:pt x="55" y="257"/>
                      <a:pt x="53" y="255"/>
                    </a:cubicBezTo>
                    <a:cubicBezTo>
                      <a:pt x="51" y="252"/>
                      <a:pt x="54" y="247"/>
                      <a:pt x="51" y="246"/>
                    </a:cubicBezTo>
                    <a:cubicBezTo>
                      <a:pt x="48" y="245"/>
                      <a:pt x="38" y="249"/>
                      <a:pt x="35" y="248"/>
                    </a:cubicBezTo>
                    <a:cubicBezTo>
                      <a:pt x="33" y="246"/>
                      <a:pt x="37" y="241"/>
                      <a:pt x="36" y="240"/>
                    </a:cubicBezTo>
                    <a:cubicBezTo>
                      <a:pt x="36" y="239"/>
                      <a:pt x="31" y="238"/>
                      <a:pt x="31" y="236"/>
                    </a:cubicBezTo>
                    <a:cubicBezTo>
                      <a:pt x="31" y="234"/>
                      <a:pt x="35" y="232"/>
                      <a:pt x="37" y="232"/>
                    </a:cubicBezTo>
                    <a:cubicBezTo>
                      <a:pt x="39" y="231"/>
                      <a:pt x="58" y="231"/>
                      <a:pt x="62" y="228"/>
                    </a:cubicBezTo>
                    <a:cubicBezTo>
                      <a:pt x="66" y="226"/>
                      <a:pt x="68" y="224"/>
                      <a:pt x="69" y="220"/>
                    </a:cubicBezTo>
                    <a:cubicBezTo>
                      <a:pt x="70" y="216"/>
                      <a:pt x="73" y="211"/>
                      <a:pt x="70" y="209"/>
                    </a:cubicBezTo>
                    <a:cubicBezTo>
                      <a:pt x="68" y="207"/>
                      <a:pt x="56" y="211"/>
                      <a:pt x="55" y="209"/>
                    </a:cubicBezTo>
                    <a:cubicBezTo>
                      <a:pt x="53" y="204"/>
                      <a:pt x="69" y="200"/>
                      <a:pt x="68" y="199"/>
                    </a:cubicBezTo>
                    <a:cubicBezTo>
                      <a:pt x="67" y="198"/>
                      <a:pt x="65" y="190"/>
                      <a:pt x="65" y="188"/>
                    </a:cubicBezTo>
                    <a:cubicBezTo>
                      <a:pt x="66" y="185"/>
                      <a:pt x="70" y="185"/>
                      <a:pt x="73" y="185"/>
                    </a:cubicBezTo>
                    <a:cubicBezTo>
                      <a:pt x="75" y="186"/>
                      <a:pt x="76" y="195"/>
                      <a:pt x="78" y="195"/>
                    </a:cubicBezTo>
                    <a:cubicBezTo>
                      <a:pt x="80" y="195"/>
                      <a:pt x="87" y="197"/>
                      <a:pt x="89" y="197"/>
                    </a:cubicBezTo>
                    <a:cubicBezTo>
                      <a:pt x="93" y="197"/>
                      <a:pt x="95" y="204"/>
                      <a:pt x="98" y="204"/>
                    </a:cubicBezTo>
                    <a:cubicBezTo>
                      <a:pt x="101" y="203"/>
                      <a:pt x="99" y="194"/>
                      <a:pt x="101" y="192"/>
                    </a:cubicBezTo>
                    <a:cubicBezTo>
                      <a:pt x="103" y="190"/>
                      <a:pt x="105" y="182"/>
                      <a:pt x="107" y="181"/>
                    </a:cubicBezTo>
                    <a:cubicBezTo>
                      <a:pt x="109" y="179"/>
                      <a:pt x="112" y="176"/>
                      <a:pt x="113" y="175"/>
                    </a:cubicBezTo>
                    <a:cubicBezTo>
                      <a:pt x="114" y="174"/>
                      <a:pt x="111" y="169"/>
                      <a:pt x="111" y="168"/>
                    </a:cubicBezTo>
                    <a:cubicBezTo>
                      <a:pt x="110" y="167"/>
                      <a:pt x="103" y="176"/>
                      <a:pt x="103" y="172"/>
                    </a:cubicBezTo>
                    <a:cubicBezTo>
                      <a:pt x="103" y="168"/>
                      <a:pt x="100" y="156"/>
                      <a:pt x="101" y="154"/>
                    </a:cubicBezTo>
                    <a:cubicBezTo>
                      <a:pt x="102" y="152"/>
                      <a:pt x="110" y="145"/>
                      <a:pt x="113" y="144"/>
                    </a:cubicBezTo>
                    <a:cubicBezTo>
                      <a:pt x="116" y="143"/>
                      <a:pt x="117" y="145"/>
                      <a:pt x="118" y="142"/>
                    </a:cubicBezTo>
                    <a:cubicBezTo>
                      <a:pt x="118" y="140"/>
                      <a:pt x="109" y="136"/>
                      <a:pt x="108" y="136"/>
                    </a:cubicBezTo>
                    <a:cubicBezTo>
                      <a:pt x="107" y="136"/>
                      <a:pt x="105" y="142"/>
                      <a:pt x="103" y="142"/>
                    </a:cubicBezTo>
                    <a:cubicBezTo>
                      <a:pt x="102" y="142"/>
                      <a:pt x="96" y="143"/>
                      <a:pt x="95" y="140"/>
                    </a:cubicBezTo>
                    <a:cubicBezTo>
                      <a:pt x="94" y="137"/>
                      <a:pt x="92" y="134"/>
                      <a:pt x="91" y="134"/>
                    </a:cubicBezTo>
                    <a:cubicBezTo>
                      <a:pt x="90" y="134"/>
                      <a:pt x="89" y="144"/>
                      <a:pt x="88" y="144"/>
                    </a:cubicBezTo>
                    <a:cubicBezTo>
                      <a:pt x="86" y="144"/>
                      <a:pt x="83" y="134"/>
                      <a:pt x="82" y="134"/>
                    </a:cubicBezTo>
                    <a:cubicBezTo>
                      <a:pt x="78" y="133"/>
                      <a:pt x="79" y="143"/>
                      <a:pt x="77" y="142"/>
                    </a:cubicBezTo>
                    <a:cubicBezTo>
                      <a:pt x="75" y="141"/>
                      <a:pt x="73" y="131"/>
                      <a:pt x="74" y="128"/>
                    </a:cubicBezTo>
                    <a:cubicBezTo>
                      <a:pt x="75" y="125"/>
                      <a:pt x="78" y="126"/>
                      <a:pt x="82" y="123"/>
                    </a:cubicBezTo>
                    <a:cubicBezTo>
                      <a:pt x="86" y="119"/>
                      <a:pt x="94" y="115"/>
                      <a:pt x="94" y="111"/>
                    </a:cubicBezTo>
                    <a:cubicBezTo>
                      <a:pt x="94" y="107"/>
                      <a:pt x="92" y="104"/>
                      <a:pt x="93" y="102"/>
                    </a:cubicBezTo>
                    <a:cubicBezTo>
                      <a:pt x="94" y="100"/>
                      <a:pt x="96" y="97"/>
                      <a:pt x="97" y="95"/>
                    </a:cubicBezTo>
                    <a:cubicBezTo>
                      <a:pt x="97" y="93"/>
                      <a:pt x="96" y="91"/>
                      <a:pt x="92" y="93"/>
                    </a:cubicBezTo>
                    <a:cubicBezTo>
                      <a:pt x="89" y="95"/>
                      <a:pt x="84" y="99"/>
                      <a:pt x="82" y="100"/>
                    </a:cubicBezTo>
                    <a:cubicBezTo>
                      <a:pt x="81" y="102"/>
                      <a:pt x="76" y="112"/>
                      <a:pt x="75" y="113"/>
                    </a:cubicBezTo>
                    <a:cubicBezTo>
                      <a:pt x="73" y="113"/>
                      <a:pt x="69" y="115"/>
                      <a:pt x="68" y="112"/>
                    </a:cubicBezTo>
                    <a:cubicBezTo>
                      <a:pt x="68" y="109"/>
                      <a:pt x="71" y="106"/>
                      <a:pt x="73" y="103"/>
                    </a:cubicBezTo>
                    <a:cubicBezTo>
                      <a:pt x="75" y="100"/>
                      <a:pt x="81" y="87"/>
                      <a:pt x="83" y="85"/>
                    </a:cubicBezTo>
                    <a:cubicBezTo>
                      <a:pt x="84" y="83"/>
                      <a:pt x="91" y="74"/>
                      <a:pt x="93" y="72"/>
                    </a:cubicBezTo>
                    <a:cubicBezTo>
                      <a:pt x="95" y="70"/>
                      <a:pt x="98" y="68"/>
                      <a:pt x="98" y="68"/>
                    </a:cubicBezTo>
                    <a:cubicBezTo>
                      <a:pt x="96" y="64"/>
                      <a:pt x="96" y="64"/>
                      <a:pt x="96" y="64"/>
                    </a:cubicBezTo>
                    <a:cubicBezTo>
                      <a:pt x="96" y="64"/>
                      <a:pt x="87" y="69"/>
                      <a:pt x="86" y="70"/>
                    </a:cubicBezTo>
                    <a:cubicBezTo>
                      <a:pt x="85" y="72"/>
                      <a:pt x="81" y="74"/>
                      <a:pt x="79" y="74"/>
                    </a:cubicBezTo>
                    <a:cubicBezTo>
                      <a:pt x="76" y="74"/>
                      <a:pt x="72" y="75"/>
                      <a:pt x="70" y="73"/>
                    </a:cubicBezTo>
                    <a:cubicBezTo>
                      <a:pt x="68" y="70"/>
                      <a:pt x="69" y="69"/>
                      <a:pt x="71" y="69"/>
                    </a:cubicBezTo>
                    <a:cubicBezTo>
                      <a:pt x="73" y="69"/>
                      <a:pt x="76" y="69"/>
                      <a:pt x="77" y="67"/>
                    </a:cubicBezTo>
                    <a:cubicBezTo>
                      <a:pt x="78" y="65"/>
                      <a:pt x="74" y="62"/>
                      <a:pt x="77" y="61"/>
                    </a:cubicBezTo>
                    <a:cubicBezTo>
                      <a:pt x="80" y="59"/>
                      <a:pt x="85" y="59"/>
                      <a:pt x="88" y="57"/>
                    </a:cubicBezTo>
                    <a:cubicBezTo>
                      <a:pt x="90" y="55"/>
                      <a:pt x="88" y="52"/>
                      <a:pt x="91" y="50"/>
                    </a:cubicBezTo>
                    <a:cubicBezTo>
                      <a:pt x="93" y="49"/>
                      <a:pt x="95" y="46"/>
                      <a:pt x="90" y="45"/>
                    </a:cubicBezTo>
                    <a:cubicBezTo>
                      <a:pt x="86" y="44"/>
                      <a:pt x="83" y="44"/>
                      <a:pt x="82" y="41"/>
                    </a:cubicBezTo>
                    <a:cubicBezTo>
                      <a:pt x="82" y="38"/>
                      <a:pt x="76" y="31"/>
                      <a:pt x="78" y="29"/>
                    </a:cubicBezTo>
                    <a:cubicBezTo>
                      <a:pt x="80" y="27"/>
                      <a:pt x="82" y="27"/>
                      <a:pt x="84" y="26"/>
                    </a:cubicBezTo>
                    <a:cubicBezTo>
                      <a:pt x="86" y="26"/>
                      <a:pt x="86" y="32"/>
                      <a:pt x="88" y="31"/>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3" name="Freeform 110"/>
              <p:cNvSpPr>
                <a:spLocks/>
              </p:cNvSpPr>
              <p:nvPr>
                <p:custDataLst>
                  <p:tags r:id="rId57"/>
                </p:custDataLst>
              </p:nvPr>
            </p:nvSpPr>
            <p:spPr bwMode="auto">
              <a:xfrm>
                <a:off x="2927351" y="3349626"/>
                <a:ext cx="69850" cy="92075"/>
              </a:xfrm>
              <a:custGeom>
                <a:avLst/>
                <a:gdLst>
                  <a:gd name="T0" fmla="*/ 48 w 24"/>
                  <a:gd name="T1" fmla="*/ 0 h 32"/>
                  <a:gd name="T2" fmla="*/ 64 w 24"/>
                  <a:gd name="T3" fmla="*/ 15 h 32"/>
                  <a:gd name="T4" fmla="*/ 64 w 24"/>
                  <a:gd name="T5" fmla="*/ 22 h 32"/>
                  <a:gd name="T6" fmla="*/ 42 w 24"/>
                  <a:gd name="T7" fmla="*/ 53 h 32"/>
                  <a:gd name="T8" fmla="*/ 31 w 24"/>
                  <a:gd name="T9" fmla="*/ 73 h 32"/>
                  <a:gd name="T10" fmla="*/ 6 w 24"/>
                  <a:gd name="T11" fmla="*/ 83 h 32"/>
                  <a:gd name="T12" fmla="*/ 22 w 24"/>
                  <a:gd name="T13" fmla="*/ 51 h 32"/>
                  <a:gd name="T14" fmla="*/ 35 w 24"/>
                  <a:gd name="T15" fmla="*/ 20 h 32"/>
                  <a:gd name="T16" fmla="*/ 35 w 24"/>
                  <a:gd name="T17" fmla="*/ 5 h 32"/>
                  <a:gd name="T18" fmla="*/ 48 w 24"/>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 h="32">
                    <a:moveTo>
                      <a:pt x="17" y="0"/>
                    </a:moveTo>
                    <a:cubicBezTo>
                      <a:pt x="18" y="0"/>
                      <a:pt x="23" y="3"/>
                      <a:pt x="23" y="5"/>
                    </a:cubicBezTo>
                    <a:cubicBezTo>
                      <a:pt x="24" y="6"/>
                      <a:pt x="23" y="8"/>
                      <a:pt x="23" y="8"/>
                    </a:cubicBezTo>
                    <a:cubicBezTo>
                      <a:pt x="21" y="9"/>
                      <a:pt x="15" y="17"/>
                      <a:pt x="15" y="19"/>
                    </a:cubicBezTo>
                    <a:cubicBezTo>
                      <a:pt x="14" y="21"/>
                      <a:pt x="12" y="25"/>
                      <a:pt x="11" y="26"/>
                    </a:cubicBezTo>
                    <a:cubicBezTo>
                      <a:pt x="10" y="27"/>
                      <a:pt x="3" y="32"/>
                      <a:pt x="2" y="30"/>
                    </a:cubicBezTo>
                    <a:cubicBezTo>
                      <a:pt x="0" y="28"/>
                      <a:pt x="7" y="21"/>
                      <a:pt x="8" y="18"/>
                    </a:cubicBezTo>
                    <a:cubicBezTo>
                      <a:pt x="9" y="16"/>
                      <a:pt x="12" y="9"/>
                      <a:pt x="12" y="7"/>
                    </a:cubicBezTo>
                    <a:cubicBezTo>
                      <a:pt x="11" y="5"/>
                      <a:pt x="10" y="3"/>
                      <a:pt x="12" y="2"/>
                    </a:cubicBezTo>
                    <a:cubicBezTo>
                      <a:pt x="13" y="0"/>
                      <a:pt x="16" y="0"/>
                      <a:pt x="17" y="0"/>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4" name="Freeform 111"/>
              <p:cNvSpPr>
                <a:spLocks/>
              </p:cNvSpPr>
              <p:nvPr>
                <p:custDataLst>
                  <p:tags r:id="rId58"/>
                </p:custDataLst>
              </p:nvPr>
            </p:nvSpPr>
            <p:spPr bwMode="auto">
              <a:xfrm>
                <a:off x="2563813" y="3589338"/>
                <a:ext cx="395288" cy="338138"/>
              </a:xfrm>
              <a:custGeom>
                <a:avLst/>
                <a:gdLst>
                  <a:gd name="T0" fmla="*/ 365 w 140"/>
                  <a:gd name="T1" fmla="*/ 133 h 120"/>
                  <a:gd name="T2" fmla="*/ 329 w 140"/>
                  <a:gd name="T3" fmla="*/ 149 h 120"/>
                  <a:gd name="T4" fmla="*/ 302 w 140"/>
                  <a:gd name="T5" fmla="*/ 158 h 120"/>
                  <a:gd name="T6" fmla="*/ 292 w 140"/>
                  <a:gd name="T7" fmla="*/ 252 h 120"/>
                  <a:gd name="T8" fmla="*/ 244 w 140"/>
                  <a:gd name="T9" fmla="*/ 318 h 120"/>
                  <a:gd name="T10" fmla="*/ 174 w 140"/>
                  <a:gd name="T11" fmla="*/ 296 h 120"/>
                  <a:gd name="T12" fmla="*/ 107 w 140"/>
                  <a:gd name="T13" fmla="*/ 318 h 120"/>
                  <a:gd name="T14" fmla="*/ 21 w 140"/>
                  <a:gd name="T15" fmla="*/ 302 h 120"/>
                  <a:gd name="T16" fmla="*/ 48 w 140"/>
                  <a:gd name="T17" fmla="*/ 284 h 120"/>
                  <a:gd name="T18" fmla="*/ 14 w 140"/>
                  <a:gd name="T19" fmla="*/ 263 h 120"/>
                  <a:gd name="T20" fmla="*/ 52 w 140"/>
                  <a:gd name="T21" fmla="*/ 247 h 120"/>
                  <a:gd name="T22" fmla="*/ 32 w 140"/>
                  <a:gd name="T23" fmla="*/ 217 h 120"/>
                  <a:gd name="T24" fmla="*/ 73 w 140"/>
                  <a:gd name="T25" fmla="*/ 211 h 120"/>
                  <a:gd name="T26" fmla="*/ 123 w 140"/>
                  <a:gd name="T27" fmla="*/ 206 h 120"/>
                  <a:gd name="T28" fmla="*/ 59 w 140"/>
                  <a:gd name="T29" fmla="*/ 199 h 120"/>
                  <a:gd name="T30" fmla="*/ 107 w 140"/>
                  <a:gd name="T31" fmla="*/ 172 h 120"/>
                  <a:gd name="T32" fmla="*/ 142 w 140"/>
                  <a:gd name="T33" fmla="*/ 169 h 120"/>
                  <a:gd name="T34" fmla="*/ 101 w 140"/>
                  <a:gd name="T35" fmla="*/ 144 h 120"/>
                  <a:gd name="T36" fmla="*/ 89 w 140"/>
                  <a:gd name="T37" fmla="*/ 101 h 120"/>
                  <a:gd name="T38" fmla="*/ 126 w 140"/>
                  <a:gd name="T39" fmla="*/ 99 h 120"/>
                  <a:gd name="T40" fmla="*/ 112 w 140"/>
                  <a:gd name="T41" fmla="*/ 73 h 120"/>
                  <a:gd name="T42" fmla="*/ 126 w 140"/>
                  <a:gd name="T43" fmla="*/ 37 h 120"/>
                  <a:gd name="T44" fmla="*/ 158 w 140"/>
                  <a:gd name="T45" fmla="*/ 53 h 120"/>
                  <a:gd name="T46" fmla="*/ 176 w 140"/>
                  <a:gd name="T47" fmla="*/ 62 h 120"/>
                  <a:gd name="T48" fmla="*/ 210 w 140"/>
                  <a:gd name="T49" fmla="*/ 69 h 120"/>
                  <a:gd name="T50" fmla="*/ 237 w 140"/>
                  <a:gd name="T51" fmla="*/ 51 h 120"/>
                  <a:gd name="T52" fmla="*/ 228 w 140"/>
                  <a:gd name="T53" fmla="*/ 21 h 120"/>
                  <a:gd name="T54" fmla="*/ 269 w 140"/>
                  <a:gd name="T55" fmla="*/ 0 h 120"/>
                  <a:gd name="T56" fmla="*/ 311 w 140"/>
                  <a:gd name="T57" fmla="*/ 4 h 120"/>
                  <a:gd name="T58" fmla="*/ 301 w 140"/>
                  <a:gd name="T59" fmla="*/ 27 h 120"/>
                  <a:gd name="T60" fmla="*/ 349 w 140"/>
                  <a:gd name="T61" fmla="*/ 30 h 120"/>
                  <a:gd name="T62" fmla="*/ 370 w 140"/>
                  <a:gd name="T63" fmla="*/ 80 h 120"/>
                  <a:gd name="T64" fmla="*/ 372 w 140"/>
                  <a:gd name="T65" fmla="*/ 101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0" h="120">
                    <a:moveTo>
                      <a:pt x="139" y="38"/>
                    </a:moveTo>
                    <a:cubicBezTo>
                      <a:pt x="140" y="40"/>
                      <a:pt x="140" y="49"/>
                      <a:pt x="136" y="50"/>
                    </a:cubicBezTo>
                    <a:cubicBezTo>
                      <a:pt x="132" y="52"/>
                      <a:pt x="130" y="48"/>
                      <a:pt x="127" y="50"/>
                    </a:cubicBezTo>
                    <a:cubicBezTo>
                      <a:pt x="124" y="51"/>
                      <a:pt x="127" y="56"/>
                      <a:pt x="123" y="56"/>
                    </a:cubicBezTo>
                    <a:cubicBezTo>
                      <a:pt x="119" y="57"/>
                      <a:pt x="117" y="54"/>
                      <a:pt x="114" y="55"/>
                    </a:cubicBezTo>
                    <a:cubicBezTo>
                      <a:pt x="112" y="57"/>
                      <a:pt x="113" y="56"/>
                      <a:pt x="113" y="59"/>
                    </a:cubicBezTo>
                    <a:cubicBezTo>
                      <a:pt x="113" y="61"/>
                      <a:pt x="115" y="66"/>
                      <a:pt x="114" y="70"/>
                    </a:cubicBezTo>
                    <a:cubicBezTo>
                      <a:pt x="113" y="74"/>
                      <a:pt x="109" y="92"/>
                      <a:pt x="109" y="94"/>
                    </a:cubicBezTo>
                    <a:cubicBezTo>
                      <a:pt x="108" y="96"/>
                      <a:pt x="93" y="112"/>
                      <a:pt x="92" y="114"/>
                    </a:cubicBezTo>
                    <a:cubicBezTo>
                      <a:pt x="92" y="116"/>
                      <a:pt x="93" y="119"/>
                      <a:pt x="91" y="119"/>
                    </a:cubicBezTo>
                    <a:cubicBezTo>
                      <a:pt x="90" y="120"/>
                      <a:pt x="86" y="118"/>
                      <a:pt x="83" y="116"/>
                    </a:cubicBezTo>
                    <a:cubicBezTo>
                      <a:pt x="80" y="115"/>
                      <a:pt x="67" y="110"/>
                      <a:pt x="65" y="111"/>
                    </a:cubicBezTo>
                    <a:cubicBezTo>
                      <a:pt x="63" y="112"/>
                      <a:pt x="63" y="117"/>
                      <a:pt x="58" y="117"/>
                    </a:cubicBezTo>
                    <a:cubicBezTo>
                      <a:pt x="53" y="118"/>
                      <a:pt x="45" y="119"/>
                      <a:pt x="40" y="119"/>
                    </a:cubicBezTo>
                    <a:cubicBezTo>
                      <a:pt x="35" y="119"/>
                      <a:pt x="16" y="118"/>
                      <a:pt x="14" y="117"/>
                    </a:cubicBezTo>
                    <a:cubicBezTo>
                      <a:pt x="11" y="117"/>
                      <a:pt x="8" y="115"/>
                      <a:pt x="8" y="113"/>
                    </a:cubicBezTo>
                    <a:cubicBezTo>
                      <a:pt x="9" y="111"/>
                      <a:pt x="16" y="112"/>
                      <a:pt x="18" y="111"/>
                    </a:cubicBezTo>
                    <a:cubicBezTo>
                      <a:pt x="21" y="110"/>
                      <a:pt x="19" y="106"/>
                      <a:pt x="18" y="106"/>
                    </a:cubicBezTo>
                    <a:cubicBezTo>
                      <a:pt x="17" y="105"/>
                      <a:pt x="4" y="106"/>
                      <a:pt x="2" y="105"/>
                    </a:cubicBezTo>
                    <a:cubicBezTo>
                      <a:pt x="0" y="103"/>
                      <a:pt x="5" y="100"/>
                      <a:pt x="5" y="98"/>
                    </a:cubicBezTo>
                    <a:cubicBezTo>
                      <a:pt x="5" y="96"/>
                      <a:pt x="4" y="92"/>
                      <a:pt x="8" y="92"/>
                    </a:cubicBezTo>
                    <a:cubicBezTo>
                      <a:pt x="12" y="92"/>
                      <a:pt x="18" y="94"/>
                      <a:pt x="19" y="92"/>
                    </a:cubicBezTo>
                    <a:cubicBezTo>
                      <a:pt x="21" y="90"/>
                      <a:pt x="4" y="87"/>
                      <a:pt x="3" y="85"/>
                    </a:cubicBezTo>
                    <a:cubicBezTo>
                      <a:pt x="3" y="82"/>
                      <a:pt x="9" y="81"/>
                      <a:pt x="12" y="81"/>
                    </a:cubicBezTo>
                    <a:cubicBezTo>
                      <a:pt x="14" y="81"/>
                      <a:pt x="17" y="85"/>
                      <a:pt x="19" y="85"/>
                    </a:cubicBezTo>
                    <a:cubicBezTo>
                      <a:pt x="20" y="84"/>
                      <a:pt x="25" y="79"/>
                      <a:pt x="27" y="79"/>
                    </a:cubicBezTo>
                    <a:cubicBezTo>
                      <a:pt x="29" y="79"/>
                      <a:pt x="37" y="81"/>
                      <a:pt x="41" y="81"/>
                    </a:cubicBezTo>
                    <a:cubicBezTo>
                      <a:pt x="44" y="81"/>
                      <a:pt x="46" y="79"/>
                      <a:pt x="46" y="77"/>
                    </a:cubicBezTo>
                    <a:cubicBezTo>
                      <a:pt x="46" y="75"/>
                      <a:pt x="45" y="75"/>
                      <a:pt x="43" y="75"/>
                    </a:cubicBezTo>
                    <a:cubicBezTo>
                      <a:pt x="41" y="75"/>
                      <a:pt x="23" y="75"/>
                      <a:pt x="22" y="74"/>
                    </a:cubicBezTo>
                    <a:cubicBezTo>
                      <a:pt x="20" y="73"/>
                      <a:pt x="31" y="70"/>
                      <a:pt x="34" y="69"/>
                    </a:cubicBezTo>
                    <a:cubicBezTo>
                      <a:pt x="37" y="68"/>
                      <a:pt x="37" y="67"/>
                      <a:pt x="40" y="64"/>
                    </a:cubicBezTo>
                    <a:cubicBezTo>
                      <a:pt x="43" y="61"/>
                      <a:pt x="43" y="61"/>
                      <a:pt x="45" y="62"/>
                    </a:cubicBezTo>
                    <a:cubicBezTo>
                      <a:pt x="48" y="64"/>
                      <a:pt x="52" y="65"/>
                      <a:pt x="53" y="63"/>
                    </a:cubicBezTo>
                    <a:cubicBezTo>
                      <a:pt x="54" y="61"/>
                      <a:pt x="54" y="57"/>
                      <a:pt x="51" y="57"/>
                    </a:cubicBezTo>
                    <a:cubicBezTo>
                      <a:pt x="48" y="56"/>
                      <a:pt x="41" y="56"/>
                      <a:pt x="38" y="54"/>
                    </a:cubicBezTo>
                    <a:cubicBezTo>
                      <a:pt x="35" y="52"/>
                      <a:pt x="31" y="46"/>
                      <a:pt x="31" y="43"/>
                    </a:cubicBezTo>
                    <a:cubicBezTo>
                      <a:pt x="30" y="40"/>
                      <a:pt x="31" y="38"/>
                      <a:pt x="33" y="38"/>
                    </a:cubicBezTo>
                    <a:cubicBezTo>
                      <a:pt x="35" y="37"/>
                      <a:pt x="39" y="35"/>
                      <a:pt x="41" y="35"/>
                    </a:cubicBezTo>
                    <a:cubicBezTo>
                      <a:pt x="43" y="35"/>
                      <a:pt x="45" y="37"/>
                      <a:pt x="47" y="37"/>
                    </a:cubicBezTo>
                    <a:cubicBezTo>
                      <a:pt x="49" y="36"/>
                      <a:pt x="50" y="35"/>
                      <a:pt x="50" y="32"/>
                    </a:cubicBezTo>
                    <a:cubicBezTo>
                      <a:pt x="50" y="30"/>
                      <a:pt x="43" y="29"/>
                      <a:pt x="42" y="27"/>
                    </a:cubicBezTo>
                    <a:cubicBezTo>
                      <a:pt x="42" y="25"/>
                      <a:pt x="44" y="22"/>
                      <a:pt x="44" y="20"/>
                    </a:cubicBezTo>
                    <a:cubicBezTo>
                      <a:pt x="44" y="18"/>
                      <a:pt x="44" y="14"/>
                      <a:pt x="47" y="14"/>
                    </a:cubicBezTo>
                    <a:cubicBezTo>
                      <a:pt x="49" y="14"/>
                      <a:pt x="51" y="14"/>
                      <a:pt x="53" y="15"/>
                    </a:cubicBezTo>
                    <a:cubicBezTo>
                      <a:pt x="54" y="16"/>
                      <a:pt x="58" y="18"/>
                      <a:pt x="59" y="20"/>
                    </a:cubicBezTo>
                    <a:cubicBezTo>
                      <a:pt x="61" y="22"/>
                      <a:pt x="58" y="26"/>
                      <a:pt x="62" y="28"/>
                    </a:cubicBezTo>
                    <a:cubicBezTo>
                      <a:pt x="65" y="29"/>
                      <a:pt x="65" y="23"/>
                      <a:pt x="66" y="23"/>
                    </a:cubicBezTo>
                    <a:cubicBezTo>
                      <a:pt x="68" y="23"/>
                      <a:pt x="72" y="28"/>
                      <a:pt x="73" y="28"/>
                    </a:cubicBezTo>
                    <a:cubicBezTo>
                      <a:pt x="74" y="29"/>
                      <a:pt x="77" y="27"/>
                      <a:pt x="78" y="26"/>
                    </a:cubicBezTo>
                    <a:cubicBezTo>
                      <a:pt x="79" y="25"/>
                      <a:pt x="82" y="22"/>
                      <a:pt x="83" y="22"/>
                    </a:cubicBezTo>
                    <a:cubicBezTo>
                      <a:pt x="85" y="22"/>
                      <a:pt x="88" y="19"/>
                      <a:pt x="88" y="19"/>
                    </a:cubicBezTo>
                    <a:cubicBezTo>
                      <a:pt x="88" y="19"/>
                      <a:pt x="75" y="16"/>
                      <a:pt x="75" y="12"/>
                    </a:cubicBezTo>
                    <a:cubicBezTo>
                      <a:pt x="76" y="8"/>
                      <a:pt x="84" y="8"/>
                      <a:pt x="85" y="8"/>
                    </a:cubicBezTo>
                    <a:cubicBezTo>
                      <a:pt x="87" y="8"/>
                      <a:pt x="87" y="2"/>
                      <a:pt x="89" y="1"/>
                    </a:cubicBezTo>
                    <a:cubicBezTo>
                      <a:pt x="90" y="0"/>
                      <a:pt x="97" y="0"/>
                      <a:pt x="100" y="0"/>
                    </a:cubicBezTo>
                    <a:cubicBezTo>
                      <a:pt x="103" y="0"/>
                      <a:pt x="108" y="0"/>
                      <a:pt x="110" y="0"/>
                    </a:cubicBezTo>
                    <a:cubicBezTo>
                      <a:pt x="111" y="0"/>
                      <a:pt x="115" y="0"/>
                      <a:pt x="116" y="1"/>
                    </a:cubicBezTo>
                    <a:cubicBezTo>
                      <a:pt x="117" y="2"/>
                      <a:pt x="119" y="5"/>
                      <a:pt x="119" y="6"/>
                    </a:cubicBezTo>
                    <a:cubicBezTo>
                      <a:pt x="119" y="7"/>
                      <a:pt x="114" y="9"/>
                      <a:pt x="112" y="10"/>
                    </a:cubicBezTo>
                    <a:cubicBezTo>
                      <a:pt x="109" y="11"/>
                      <a:pt x="106" y="13"/>
                      <a:pt x="110" y="14"/>
                    </a:cubicBezTo>
                    <a:cubicBezTo>
                      <a:pt x="117" y="15"/>
                      <a:pt x="128" y="10"/>
                      <a:pt x="130" y="11"/>
                    </a:cubicBezTo>
                    <a:cubicBezTo>
                      <a:pt x="132" y="12"/>
                      <a:pt x="136" y="15"/>
                      <a:pt x="136" y="18"/>
                    </a:cubicBezTo>
                    <a:cubicBezTo>
                      <a:pt x="136" y="20"/>
                      <a:pt x="138" y="28"/>
                      <a:pt x="138" y="30"/>
                    </a:cubicBezTo>
                    <a:cubicBezTo>
                      <a:pt x="138" y="31"/>
                      <a:pt x="131" y="33"/>
                      <a:pt x="131" y="36"/>
                    </a:cubicBezTo>
                    <a:cubicBezTo>
                      <a:pt x="131" y="39"/>
                      <a:pt x="138" y="36"/>
                      <a:pt x="139" y="38"/>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5" name="Freeform 112"/>
              <p:cNvSpPr>
                <a:spLocks/>
              </p:cNvSpPr>
              <p:nvPr>
                <p:custDataLst>
                  <p:tags r:id="rId59"/>
                </p:custDataLst>
              </p:nvPr>
            </p:nvSpPr>
            <p:spPr bwMode="auto">
              <a:xfrm>
                <a:off x="2946401" y="5407026"/>
                <a:ext cx="42863" cy="36513"/>
              </a:xfrm>
              <a:custGeom>
                <a:avLst/>
                <a:gdLst>
                  <a:gd name="T0" fmla="*/ 22 w 15"/>
                  <a:gd name="T1" fmla="*/ 0 h 13"/>
                  <a:gd name="T2" fmla="*/ 38 w 15"/>
                  <a:gd name="T3" fmla="*/ 4 h 13"/>
                  <a:gd name="T4" fmla="*/ 38 w 15"/>
                  <a:gd name="T5" fmla="*/ 16 h 13"/>
                  <a:gd name="T6" fmla="*/ 22 w 15"/>
                  <a:gd name="T7" fmla="*/ 27 h 13"/>
                  <a:gd name="T8" fmla="*/ 16 w 15"/>
                  <a:gd name="T9" fmla="*/ 35 h 13"/>
                  <a:gd name="T10" fmla="*/ 5 w 15"/>
                  <a:gd name="T11" fmla="*/ 25 h 13"/>
                  <a:gd name="T12" fmla="*/ 4 w 15"/>
                  <a:gd name="T13" fmla="*/ 14 h 13"/>
                  <a:gd name="T14" fmla="*/ 14 w 15"/>
                  <a:gd name="T15" fmla="*/ 11 h 13"/>
                  <a:gd name="T16" fmla="*/ 22 w 15"/>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 h="13">
                    <a:moveTo>
                      <a:pt x="8" y="0"/>
                    </a:moveTo>
                    <a:cubicBezTo>
                      <a:pt x="10" y="0"/>
                      <a:pt x="13" y="0"/>
                      <a:pt x="14" y="1"/>
                    </a:cubicBezTo>
                    <a:cubicBezTo>
                      <a:pt x="15" y="2"/>
                      <a:pt x="15" y="5"/>
                      <a:pt x="14" y="6"/>
                    </a:cubicBezTo>
                    <a:cubicBezTo>
                      <a:pt x="13" y="7"/>
                      <a:pt x="9" y="9"/>
                      <a:pt x="8" y="10"/>
                    </a:cubicBezTo>
                    <a:cubicBezTo>
                      <a:pt x="8" y="11"/>
                      <a:pt x="8" y="13"/>
                      <a:pt x="6" y="13"/>
                    </a:cubicBezTo>
                    <a:cubicBezTo>
                      <a:pt x="5" y="13"/>
                      <a:pt x="4" y="10"/>
                      <a:pt x="2" y="9"/>
                    </a:cubicBezTo>
                    <a:cubicBezTo>
                      <a:pt x="0" y="9"/>
                      <a:pt x="0" y="7"/>
                      <a:pt x="1" y="5"/>
                    </a:cubicBezTo>
                    <a:cubicBezTo>
                      <a:pt x="1" y="3"/>
                      <a:pt x="4" y="5"/>
                      <a:pt x="5" y="4"/>
                    </a:cubicBezTo>
                    <a:cubicBezTo>
                      <a:pt x="6" y="4"/>
                      <a:pt x="6" y="0"/>
                      <a:pt x="8" y="0"/>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6" name="Freeform 113"/>
              <p:cNvSpPr>
                <a:spLocks/>
              </p:cNvSpPr>
              <p:nvPr>
                <p:custDataLst>
                  <p:tags r:id="rId60"/>
                </p:custDataLst>
              </p:nvPr>
            </p:nvSpPr>
            <p:spPr bwMode="auto">
              <a:xfrm>
                <a:off x="3171826" y="5353051"/>
                <a:ext cx="47625" cy="39688"/>
              </a:xfrm>
              <a:custGeom>
                <a:avLst/>
                <a:gdLst>
                  <a:gd name="T0" fmla="*/ 7 w 17"/>
                  <a:gd name="T1" fmla="*/ 2 h 15"/>
                  <a:gd name="T2" fmla="*/ 26 w 17"/>
                  <a:gd name="T3" fmla="*/ 2 h 15"/>
                  <a:gd name="T4" fmla="*/ 42 w 17"/>
                  <a:gd name="T5" fmla="*/ 17 h 15"/>
                  <a:gd name="T6" fmla="*/ 39 w 17"/>
                  <a:gd name="T7" fmla="*/ 35 h 15"/>
                  <a:gd name="T8" fmla="*/ 18 w 17"/>
                  <a:gd name="T9" fmla="*/ 22 h 15"/>
                  <a:gd name="T10" fmla="*/ 2 w 17"/>
                  <a:gd name="T11" fmla="*/ 20 h 15"/>
                  <a:gd name="T12" fmla="*/ 2 w 17"/>
                  <a:gd name="T13" fmla="*/ 5 h 15"/>
                  <a:gd name="T14" fmla="*/ 7 w 17"/>
                  <a:gd name="T15" fmla="*/ 2 h 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 h="15">
                    <a:moveTo>
                      <a:pt x="3" y="1"/>
                    </a:moveTo>
                    <a:cubicBezTo>
                      <a:pt x="4" y="1"/>
                      <a:pt x="8" y="0"/>
                      <a:pt x="10" y="1"/>
                    </a:cubicBezTo>
                    <a:cubicBezTo>
                      <a:pt x="11" y="1"/>
                      <a:pt x="16" y="4"/>
                      <a:pt x="16" y="7"/>
                    </a:cubicBezTo>
                    <a:cubicBezTo>
                      <a:pt x="17" y="11"/>
                      <a:pt x="17" y="15"/>
                      <a:pt x="15" y="14"/>
                    </a:cubicBezTo>
                    <a:cubicBezTo>
                      <a:pt x="12" y="14"/>
                      <a:pt x="9" y="9"/>
                      <a:pt x="7" y="9"/>
                    </a:cubicBezTo>
                    <a:cubicBezTo>
                      <a:pt x="5" y="8"/>
                      <a:pt x="1" y="8"/>
                      <a:pt x="1" y="8"/>
                    </a:cubicBezTo>
                    <a:cubicBezTo>
                      <a:pt x="0" y="8"/>
                      <a:pt x="1" y="2"/>
                      <a:pt x="1" y="2"/>
                    </a:cubicBezTo>
                    <a:cubicBezTo>
                      <a:pt x="1" y="1"/>
                      <a:pt x="2" y="0"/>
                      <a:pt x="3" y="1"/>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7" name="Freeform 114"/>
              <p:cNvSpPr>
                <a:spLocks/>
              </p:cNvSpPr>
              <p:nvPr>
                <p:custDataLst>
                  <p:tags r:id="rId61"/>
                </p:custDataLst>
              </p:nvPr>
            </p:nvSpPr>
            <p:spPr bwMode="auto">
              <a:xfrm>
                <a:off x="3230563" y="3287713"/>
                <a:ext cx="33338" cy="46038"/>
              </a:xfrm>
              <a:custGeom>
                <a:avLst/>
                <a:gdLst>
                  <a:gd name="T0" fmla="*/ 5 w 12"/>
                  <a:gd name="T1" fmla="*/ 29 h 16"/>
                  <a:gd name="T2" fmla="*/ 0 w 12"/>
                  <a:gd name="T3" fmla="*/ 16 h 16"/>
                  <a:gd name="T4" fmla="*/ 9 w 12"/>
                  <a:gd name="T5" fmla="*/ 4 h 16"/>
                  <a:gd name="T6" fmla="*/ 25 w 12"/>
                  <a:gd name="T7" fmla="*/ 4 h 16"/>
                  <a:gd name="T8" fmla="*/ 21 w 12"/>
                  <a:gd name="T9" fmla="*/ 20 h 16"/>
                  <a:gd name="T10" fmla="*/ 32 w 12"/>
                  <a:gd name="T11" fmla="*/ 31 h 16"/>
                  <a:gd name="T12" fmla="*/ 21 w 12"/>
                  <a:gd name="T13" fmla="*/ 45 h 16"/>
                  <a:gd name="T14" fmla="*/ 14 w 12"/>
                  <a:gd name="T15" fmla="*/ 34 h 16"/>
                  <a:gd name="T16" fmla="*/ 5 w 12"/>
                  <a:gd name="T17" fmla="*/ 29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6">
                    <a:moveTo>
                      <a:pt x="2" y="10"/>
                    </a:moveTo>
                    <a:cubicBezTo>
                      <a:pt x="1" y="9"/>
                      <a:pt x="0" y="9"/>
                      <a:pt x="0" y="6"/>
                    </a:cubicBezTo>
                    <a:cubicBezTo>
                      <a:pt x="1" y="4"/>
                      <a:pt x="1" y="1"/>
                      <a:pt x="3" y="1"/>
                    </a:cubicBezTo>
                    <a:cubicBezTo>
                      <a:pt x="5" y="0"/>
                      <a:pt x="8" y="0"/>
                      <a:pt x="9" y="1"/>
                    </a:cubicBezTo>
                    <a:cubicBezTo>
                      <a:pt x="10" y="3"/>
                      <a:pt x="7" y="5"/>
                      <a:pt x="8" y="7"/>
                    </a:cubicBezTo>
                    <a:cubicBezTo>
                      <a:pt x="9" y="8"/>
                      <a:pt x="12" y="10"/>
                      <a:pt x="12" y="11"/>
                    </a:cubicBezTo>
                    <a:cubicBezTo>
                      <a:pt x="12" y="13"/>
                      <a:pt x="9" y="16"/>
                      <a:pt x="8" y="16"/>
                    </a:cubicBezTo>
                    <a:cubicBezTo>
                      <a:pt x="7" y="15"/>
                      <a:pt x="6" y="12"/>
                      <a:pt x="5" y="12"/>
                    </a:cubicBezTo>
                    <a:cubicBezTo>
                      <a:pt x="4" y="12"/>
                      <a:pt x="3" y="11"/>
                      <a:pt x="2" y="10"/>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8" name="Freeform 115"/>
              <p:cNvSpPr>
                <a:spLocks/>
              </p:cNvSpPr>
              <p:nvPr>
                <p:custDataLst>
                  <p:tags r:id="rId62"/>
                </p:custDataLst>
              </p:nvPr>
            </p:nvSpPr>
            <p:spPr bwMode="auto">
              <a:xfrm>
                <a:off x="3354388" y="3151188"/>
                <a:ext cx="71438" cy="84138"/>
              </a:xfrm>
              <a:custGeom>
                <a:avLst/>
                <a:gdLst>
                  <a:gd name="T0" fmla="*/ 9 w 25"/>
                  <a:gd name="T1" fmla="*/ 66 h 29"/>
                  <a:gd name="T2" fmla="*/ 4 w 25"/>
                  <a:gd name="T3" fmla="*/ 51 h 29"/>
                  <a:gd name="T4" fmla="*/ 16 w 25"/>
                  <a:gd name="T5" fmla="*/ 46 h 29"/>
                  <a:gd name="T6" fmla="*/ 16 w 25"/>
                  <a:gd name="T7" fmla="*/ 35 h 29"/>
                  <a:gd name="T8" fmla="*/ 22 w 25"/>
                  <a:gd name="T9" fmla="*/ 26 h 29"/>
                  <a:gd name="T10" fmla="*/ 32 w 25"/>
                  <a:gd name="T11" fmla="*/ 20 h 29"/>
                  <a:gd name="T12" fmla="*/ 38 w 25"/>
                  <a:gd name="T13" fmla="*/ 35 h 29"/>
                  <a:gd name="T14" fmla="*/ 49 w 25"/>
                  <a:gd name="T15" fmla="*/ 11 h 29"/>
                  <a:gd name="T16" fmla="*/ 65 w 25"/>
                  <a:gd name="T17" fmla="*/ 9 h 29"/>
                  <a:gd name="T18" fmla="*/ 59 w 25"/>
                  <a:gd name="T19" fmla="*/ 31 h 29"/>
                  <a:gd name="T20" fmla="*/ 36 w 25"/>
                  <a:gd name="T21" fmla="*/ 57 h 29"/>
                  <a:gd name="T22" fmla="*/ 27 w 25"/>
                  <a:gd name="T23" fmla="*/ 79 h 29"/>
                  <a:gd name="T24" fmla="*/ 16 w 25"/>
                  <a:gd name="T25" fmla="*/ 73 h 29"/>
                  <a:gd name="T26" fmla="*/ 20 w 25"/>
                  <a:gd name="T27" fmla="*/ 62 h 29"/>
                  <a:gd name="T28" fmla="*/ 9 w 25"/>
                  <a:gd name="T29" fmla="*/ 66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5" h="29">
                    <a:moveTo>
                      <a:pt x="3" y="23"/>
                    </a:moveTo>
                    <a:cubicBezTo>
                      <a:pt x="1" y="21"/>
                      <a:pt x="0" y="19"/>
                      <a:pt x="1" y="18"/>
                    </a:cubicBezTo>
                    <a:cubicBezTo>
                      <a:pt x="2" y="16"/>
                      <a:pt x="5" y="17"/>
                      <a:pt x="6" y="16"/>
                    </a:cubicBezTo>
                    <a:cubicBezTo>
                      <a:pt x="7" y="15"/>
                      <a:pt x="8" y="13"/>
                      <a:pt x="6" y="12"/>
                    </a:cubicBezTo>
                    <a:cubicBezTo>
                      <a:pt x="5" y="11"/>
                      <a:pt x="5" y="9"/>
                      <a:pt x="8" y="9"/>
                    </a:cubicBezTo>
                    <a:cubicBezTo>
                      <a:pt x="10" y="8"/>
                      <a:pt x="11" y="6"/>
                      <a:pt x="12" y="7"/>
                    </a:cubicBezTo>
                    <a:cubicBezTo>
                      <a:pt x="13" y="8"/>
                      <a:pt x="14" y="13"/>
                      <a:pt x="14" y="12"/>
                    </a:cubicBezTo>
                    <a:cubicBezTo>
                      <a:pt x="15" y="10"/>
                      <a:pt x="16" y="6"/>
                      <a:pt x="18" y="4"/>
                    </a:cubicBezTo>
                    <a:cubicBezTo>
                      <a:pt x="20" y="2"/>
                      <a:pt x="23" y="0"/>
                      <a:pt x="24" y="3"/>
                    </a:cubicBezTo>
                    <a:cubicBezTo>
                      <a:pt x="25" y="5"/>
                      <a:pt x="23" y="9"/>
                      <a:pt x="22" y="11"/>
                    </a:cubicBezTo>
                    <a:cubicBezTo>
                      <a:pt x="21" y="12"/>
                      <a:pt x="14" y="19"/>
                      <a:pt x="13" y="20"/>
                    </a:cubicBezTo>
                    <a:cubicBezTo>
                      <a:pt x="12" y="22"/>
                      <a:pt x="12" y="26"/>
                      <a:pt x="10" y="28"/>
                    </a:cubicBezTo>
                    <a:cubicBezTo>
                      <a:pt x="8" y="29"/>
                      <a:pt x="5" y="28"/>
                      <a:pt x="6" y="26"/>
                    </a:cubicBezTo>
                    <a:cubicBezTo>
                      <a:pt x="7" y="25"/>
                      <a:pt x="8" y="23"/>
                      <a:pt x="7" y="22"/>
                    </a:cubicBezTo>
                    <a:cubicBezTo>
                      <a:pt x="6" y="22"/>
                      <a:pt x="3" y="23"/>
                      <a:pt x="3" y="23"/>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9" name="Freeform 116"/>
              <p:cNvSpPr>
                <a:spLocks/>
              </p:cNvSpPr>
              <p:nvPr>
                <p:custDataLst>
                  <p:tags r:id="rId63"/>
                </p:custDataLst>
              </p:nvPr>
            </p:nvSpPr>
            <p:spPr bwMode="auto">
              <a:xfrm>
                <a:off x="5073651" y="5888038"/>
                <a:ext cx="30163" cy="61913"/>
              </a:xfrm>
              <a:custGeom>
                <a:avLst/>
                <a:gdLst>
                  <a:gd name="T0" fmla="*/ 10 w 10"/>
                  <a:gd name="T1" fmla="*/ 57 h 22"/>
                  <a:gd name="T2" fmla="*/ 6 w 10"/>
                  <a:gd name="T3" fmla="*/ 46 h 22"/>
                  <a:gd name="T4" fmla="*/ 0 w 10"/>
                  <a:gd name="T5" fmla="*/ 35 h 22"/>
                  <a:gd name="T6" fmla="*/ 15 w 10"/>
                  <a:gd name="T7" fmla="*/ 4 h 22"/>
                  <a:gd name="T8" fmla="*/ 21 w 10"/>
                  <a:gd name="T9" fmla="*/ 9 h 22"/>
                  <a:gd name="T10" fmla="*/ 21 w 10"/>
                  <a:gd name="T11" fmla="*/ 35 h 22"/>
                  <a:gd name="T12" fmla="*/ 25 w 10"/>
                  <a:gd name="T13" fmla="*/ 51 h 22"/>
                  <a:gd name="T14" fmla="*/ 10 w 10"/>
                  <a:gd name="T15" fmla="*/ 57 h 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22">
                    <a:moveTo>
                      <a:pt x="3" y="21"/>
                    </a:moveTo>
                    <a:cubicBezTo>
                      <a:pt x="2" y="21"/>
                      <a:pt x="3" y="18"/>
                      <a:pt x="2" y="17"/>
                    </a:cubicBezTo>
                    <a:cubicBezTo>
                      <a:pt x="2" y="15"/>
                      <a:pt x="0" y="15"/>
                      <a:pt x="0" y="13"/>
                    </a:cubicBezTo>
                    <a:cubicBezTo>
                      <a:pt x="1" y="12"/>
                      <a:pt x="3" y="1"/>
                      <a:pt x="5" y="1"/>
                    </a:cubicBezTo>
                    <a:cubicBezTo>
                      <a:pt x="6" y="0"/>
                      <a:pt x="7" y="0"/>
                      <a:pt x="7" y="3"/>
                    </a:cubicBezTo>
                    <a:cubicBezTo>
                      <a:pt x="7" y="5"/>
                      <a:pt x="6" y="13"/>
                      <a:pt x="7" y="13"/>
                    </a:cubicBezTo>
                    <a:cubicBezTo>
                      <a:pt x="8" y="14"/>
                      <a:pt x="10" y="17"/>
                      <a:pt x="8" y="19"/>
                    </a:cubicBezTo>
                    <a:cubicBezTo>
                      <a:pt x="5" y="21"/>
                      <a:pt x="5" y="22"/>
                      <a:pt x="3" y="21"/>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20" name="Freeform 117"/>
              <p:cNvSpPr>
                <a:spLocks/>
              </p:cNvSpPr>
              <p:nvPr>
                <p:custDataLst>
                  <p:tags r:id="rId64"/>
                </p:custDataLst>
              </p:nvPr>
            </p:nvSpPr>
            <p:spPr bwMode="auto">
              <a:xfrm>
                <a:off x="4997451" y="5818188"/>
                <a:ext cx="26988" cy="26988"/>
              </a:xfrm>
              <a:custGeom>
                <a:avLst/>
                <a:gdLst>
                  <a:gd name="T0" fmla="*/ 9 w 9"/>
                  <a:gd name="T1" fmla="*/ 6 h 9"/>
                  <a:gd name="T2" fmla="*/ 4 w 9"/>
                  <a:gd name="T3" fmla="*/ 17 h 9"/>
                  <a:gd name="T4" fmla="*/ 11 w 9"/>
                  <a:gd name="T5" fmla="*/ 26 h 9"/>
                  <a:gd name="T6" fmla="*/ 26 w 9"/>
                  <a:gd name="T7" fmla="*/ 17 h 9"/>
                  <a:gd name="T8" fmla="*/ 23 w 9"/>
                  <a:gd name="T9" fmla="*/ 6 h 9"/>
                  <a:gd name="T10" fmla="*/ 17 w 9"/>
                  <a:gd name="T11" fmla="*/ 4 h 9"/>
                  <a:gd name="T12" fmla="*/ 9 w 9"/>
                  <a:gd name="T13" fmla="*/ 6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9">
                    <a:moveTo>
                      <a:pt x="3" y="2"/>
                    </a:moveTo>
                    <a:cubicBezTo>
                      <a:pt x="2" y="3"/>
                      <a:pt x="0" y="5"/>
                      <a:pt x="1" y="6"/>
                    </a:cubicBezTo>
                    <a:cubicBezTo>
                      <a:pt x="1" y="7"/>
                      <a:pt x="2" y="9"/>
                      <a:pt x="4" y="9"/>
                    </a:cubicBezTo>
                    <a:cubicBezTo>
                      <a:pt x="6" y="9"/>
                      <a:pt x="8" y="7"/>
                      <a:pt x="9" y="6"/>
                    </a:cubicBezTo>
                    <a:cubicBezTo>
                      <a:pt x="9" y="5"/>
                      <a:pt x="8" y="2"/>
                      <a:pt x="8" y="2"/>
                    </a:cubicBezTo>
                    <a:cubicBezTo>
                      <a:pt x="8" y="2"/>
                      <a:pt x="7" y="0"/>
                      <a:pt x="6" y="1"/>
                    </a:cubicBezTo>
                    <a:cubicBezTo>
                      <a:pt x="5" y="1"/>
                      <a:pt x="3" y="2"/>
                      <a:pt x="3" y="2"/>
                    </a:cubicBezTo>
                    <a:close/>
                  </a:path>
                </a:pathLst>
              </a:custGeom>
              <a:grpFill/>
              <a:ln>
                <a:noFill/>
              </a:ln>
              <a:extLst>
                <a:ext uri="{91240B29-F687-4F45-9708-019B960494DF}">
                  <a14:hiddenLine xmlns:a14="http://schemas.microsoft.com/office/drawing/2010/main" w="9525" cap="flat">
                    <a:solidFill>
                      <a:srgbClr val="969696"/>
                    </a:solidFill>
                    <a:prstDash val="solid"/>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grpSp>
        <p:pic>
          <p:nvPicPr>
            <p:cNvPr id="68" name="Grafik 67"/>
            <p:cNvPicPr>
              <a:picLocks noChangeAspect="1"/>
            </p:cNvPicPr>
            <p:nvPr/>
          </p:nvPicPr>
          <p:blipFill>
            <a:blip r:embed="rId67" cstate="email">
              <a:extLst>
                <a:ext uri="{28A0092B-C50C-407E-A947-70E740481C1C}">
                  <a14:useLocalDpi xmlns:a14="http://schemas.microsoft.com/office/drawing/2010/main"/>
                </a:ext>
              </a:extLst>
            </a:blip>
            <a:stretch>
              <a:fillRect/>
            </a:stretch>
          </p:blipFill>
          <p:spPr>
            <a:xfrm>
              <a:off x="5245873" y="1802960"/>
              <a:ext cx="1224411" cy="381976"/>
            </a:xfrm>
            <a:prstGeom prst="rect">
              <a:avLst/>
            </a:prstGeom>
          </p:spPr>
        </p:pic>
        <p:pic>
          <p:nvPicPr>
            <p:cNvPr id="70" name="Grafik 69"/>
            <p:cNvPicPr>
              <a:picLocks noChangeAspect="1"/>
            </p:cNvPicPr>
            <p:nvPr/>
          </p:nvPicPr>
          <p:blipFill rotWithShape="1">
            <a:blip r:embed="rId68" cstate="screen">
              <a:extLst>
                <a:ext uri="{28A0092B-C50C-407E-A947-70E740481C1C}">
                  <a14:useLocalDpi xmlns:a14="http://schemas.microsoft.com/office/drawing/2010/main"/>
                </a:ext>
              </a:extLst>
            </a:blip>
            <a:srcRect l="-1"/>
            <a:stretch/>
          </p:blipFill>
          <p:spPr>
            <a:xfrm>
              <a:off x="4187683" y="5235215"/>
              <a:ext cx="1370769" cy="478829"/>
            </a:xfrm>
            <a:prstGeom prst="rect">
              <a:avLst/>
            </a:prstGeom>
          </p:spPr>
        </p:pic>
        <p:pic>
          <p:nvPicPr>
            <p:cNvPr id="72" name="Grafik 71"/>
            <p:cNvPicPr>
              <a:picLocks noChangeAspect="1"/>
            </p:cNvPicPr>
            <p:nvPr/>
          </p:nvPicPr>
          <p:blipFill>
            <a:blip r:embed="rId69" cstate="email">
              <a:extLst>
                <a:ext uri="{28A0092B-C50C-407E-A947-70E740481C1C}">
                  <a14:useLocalDpi xmlns:a14="http://schemas.microsoft.com/office/drawing/2010/main"/>
                </a:ext>
              </a:extLst>
            </a:blip>
            <a:stretch>
              <a:fillRect/>
            </a:stretch>
          </p:blipFill>
          <p:spPr>
            <a:xfrm>
              <a:off x="8603545" y="5116481"/>
              <a:ext cx="863462" cy="371660"/>
            </a:xfrm>
            <a:prstGeom prst="rect">
              <a:avLst/>
            </a:prstGeom>
          </p:spPr>
        </p:pic>
        <p:pic>
          <p:nvPicPr>
            <p:cNvPr id="75" name="Grafik 74"/>
            <p:cNvPicPr>
              <a:picLocks noChangeAspect="1"/>
            </p:cNvPicPr>
            <p:nvPr/>
          </p:nvPicPr>
          <p:blipFill>
            <a:blip r:embed="rId70" cstate="email">
              <a:extLst>
                <a:ext uri="{28A0092B-C50C-407E-A947-70E740481C1C}">
                  <a14:useLocalDpi xmlns:a14="http://schemas.microsoft.com/office/drawing/2010/main"/>
                </a:ext>
              </a:extLst>
            </a:blip>
            <a:stretch>
              <a:fillRect/>
            </a:stretch>
          </p:blipFill>
          <p:spPr>
            <a:xfrm>
              <a:off x="3877782" y="4377133"/>
              <a:ext cx="510816" cy="316790"/>
            </a:xfrm>
            <a:prstGeom prst="rect">
              <a:avLst/>
            </a:prstGeom>
          </p:spPr>
        </p:pic>
        <p:pic>
          <p:nvPicPr>
            <p:cNvPr id="76" name="Grafik 75"/>
            <p:cNvPicPr>
              <a:picLocks noChangeAspect="1"/>
            </p:cNvPicPr>
            <p:nvPr/>
          </p:nvPicPr>
          <p:blipFill>
            <a:blip r:embed="rId71" cstate="email">
              <a:extLst>
                <a:ext uri="{28A0092B-C50C-407E-A947-70E740481C1C}">
                  <a14:useLocalDpi xmlns:a14="http://schemas.microsoft.com/office/drawing/2010/main"/>
                </a:ext>
              </a:extLst>
            </a:blip>
            <a:stretch>
              <a:fillRect/>
            </a:stretch>
          </p:blipFill>
          <p:spPr>
            <a:xfrm>
              <a:off x="5456191" y="4912768"/>
              <a:ext cx="792000" cy="508329"/>
            </a:xfrm>
            <a:prstGeom prst="rect">
              <a:avLst/>
            </a:prstGeom>
          </p:spPr>
        </p:pic>
        <p:pic>
          <p:nvPicPr>
            <p:cNvPr id="77" name="Grafik 76"/>
            <p:cNvPicPr>
              <a:picLocks noChangeAspect="1"/>
            </p:cNvPicPr>
            <p:nvPr/>
          </p:nvPicPr>
          <p:blipFill rotWithShape="1">
            <a:blip r:embed="rId72" cstate="email">
              <a:extLst>
                <a:ext uri="{28A0092B-C50C-407E-A947-70E740481C1C}">
                  <a14:useLocalDpi xmlns:a14="http://schemas.microsoft.com/office/drawing/2010/main"/>
                </a:ext>
              </a:extLst>
            </a:blip>
            <a:srcRect/>
            <a:stretch/>
          </p:blipFill>
          <p:spPr>
            <a:xfrm>
              <a:off x="6383593" y="5505599"/>
              <a:ext cx="1225468" cy="324221"/>
            </a:xfrm>
            <a:prstGeom prst="rect">
              <a:avLst/>
            </a:prstGeom>
          </p:spPr>
        </p:pic>
        <p:pic>
          <p:nvPicPr>
            <p:cNvPr id="73" name="Grafik 72"/>
            <p:cNvPicPr>
              <a:picLocks noChangeAspect="1"/>
            </p:cNvPicPr>
            <p:nvPr/>
          </p:nvPicPr>
          <p:blipFill rotWithShape="1">
            <a:blip r:embed="rId73" cstate="email">
              <a:extLst>
                <a:ext uri="{28A0092B-C50C-407E-A947-70E740481C1C}">
                  <a14:useLocalDpi xmlns:a14="http://schemas.microsoft.com/office/drawing/2010/main"/>
                </a:ext>
              </a:extLst>
            </a:blip>
            <a:srcRect/>
            <a:stretch/>
          </p:blipFill>
          <p:spPr>
            <a:xfrm>
              <a:off x="4459798" y="2244749"/>
              <a:ext cx="1288350" cy="436994"/>
            </a:xfrm>
            <a:prstGeom prst="rect">
              <a:avLst/>
            </a:prstGeom>
          </p:spPr>
        </p:pic>
        <p:sp>
          <p:nvSpPr>
            <p:cNvPr id="180" name="Ellipse 179"/>
            <p:cNvSpPr/>
            <p:nvPr/>
          </p:nvSpPr>
          <p:spPr bwMode="auto">
            <a:xfrm>
              <a:off x="4498038" y="4424003"/>
              <a:ext cx="144000" cy="144000"/>
            </a:xfrm>
            <a:prstGeom prst="ellipse">
              <a:avLst/>
            </a:prstGeom>
            <a:solidFill>
              <a:schemeClr val="accent1">
                <a:lumMod val="75000"/>
              </a:schemeClr>
            </a:solidFill>
            <a:ln w="2857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a:latin typeface="Calibri" panose="020F0502020204030204" pitchFamily="34" charset="0"/>
                <a:cs typeface="Calibri" panose="020F0502020204030204" pitchFamily="34" charset="0"/>
              </a:endParaRPr>
            </a:p>
          </p:txBody>
        </p:sp>
        <p:sp>
          <p:nvSpPr>
            <p:cNvPr id="181" name="Ellipse 180"/>
            <p:cNvSpPr/>
            <p:nvPr/>
          </p:nvSpPr>
          <p:spPr bwMode="auto">
            <a:xfrm>
              <a:off x="4868284" y="4731500"/>
              <a:ext cx="144000" cy="144000"/>
            </a:xfrm>
            <a:prstGeom prst="ellipse">
              <a:avLst/>
            </a:prstGeom>
            <a:solidFill>
              <a:schemeClr val="accent1">
                <a:lumMod val="75000"/>
              </a:schemeClr>
            </a:solidFill>
            <a:ln w="2857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a:latin typeface="Calibri" panose="020F0502020204030204" pitchFamily="34" charset="0"/>
                <a:cs typeface="Calibri" panose="020F0502020204030204" pitchFamily="34" charset="0"/>
              </a:endParaRPr>
            </a:p>
          </p:txBody>
        </p:sp>
        <p:sp>
          <p:nvSpPr>
            <p:cNvPr id="182" name="Ellipse 181"/>
            <p:cNvSpPr/>
            <p:nvPr/>
          </p:nvSpPr>
          <p:spPr bwMode="auto">
            <a:xfrm>
              <a:off x="5640784" y="3558896"/>
              <a:ext cx="144000" cy="144000"/>
            </a:xfrm>
            <a:prstGeom prst="ellipse">
              <a:avLst/>
            </a:prstGeom>
            <a:solidFill>
              <a:schemeClr val="accent1">
                <a:lumMod val="75000"/>
              </a:schemeClr>
            </a:solidFill>
            <a:ln w="2857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a:latin typeface="Calibri" panose="020F0502020204030204" pitchFamily="34" charset="0"/>
                <a:cs typeface="Calibri" panose="020F0502020204030204" pitchFamily="34" charset="0"/>
              </a:endParaRPr>
            </a:p>
          </p:txBody>
        </p:sp>
        <p:cxnSp>
          <p:nvCxnSpPr>
            <p:cNvPr id="183" name="Gerader Verbinder 182"/>
            <p:cNvCxnSpPr/>
            <p:nvPr/>
          </p:nvCxnSpPr>
          <p:spPr bwMode="auto">
            <a:xfrm>
              <a:off x="4940284" y="3452946"/>
              <a:ext cx="704694" cy="177951"/>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5" name="Ellipse 184"/>
            <p:cNvSpPr/>
            <p:nvPr/>
          </p:nvSpPr>
          <p:spPr bwMode="auto">
            <a:xfrm>
              <a:off x="6361662" y="3469920"/>
              <a:ext cx="144000" cy="144000"/>
            </a:xfrm>
            <a:prstGeom prst="ellipse">
              <a:avLst/>
            </a:prstGeom>
            <a:solidFill>
              <a:schemeClr val="accent1">
                <a:lumMod val="75000"/>
              </a:schemeClr>
            </a:solidFill>
            <a:ln w="2857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a:latin typeface="Calibri" panose="020F0502020204030204" pitchFamily="34" charset="0"/>
                <a:cs typeface="Calibri" panose="020F0502020204030204" pitchFamily="34" charset="0"/>
              </a:endParaRPr>
            </a:p>
          </p:txBody>
        </p:sp>
        <p:sp>
          <p:nvSpPr>
            <p:cNvPr id="186" name="Ellipse 185"/>
            <p:cNvSpPr/>
            <p:nvPr/>
          </p:nvSpPr>
          <p:spPr bwMode="auto">
            <a:xfrm>
              <a:off x="6162101" y="3589557"/>
              <a:ext cx="144000" cy="144000"/>
            </a:xfrm>
            <a:prstGeom prst="ellipse">
              <a:avLst/>
            </a:prstGeom>
            <a:solidFill>
              <a:schemeClr val="accent1">
                <a:lumMod val="75000"/>
              </a:schemeClr>
            </a:solidFill>
            <a:ln w="2857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a:latin typeface="Calibri" panose="020F0502020204030204" pitchFamily="34" charset="0"/>
                <a:cs typeface="Calibri" panose="020F0502020204030204" pitchFamily="34" charset="0"/>
              </a:endParaRPr>
            </a:p>
          </p:txBody>
        </p:sp>
        <p:cxnSp>
          <p:nvCxnSpPr>
            <p:cNvPr id="187" name="Gerader Verbinder 186"/>
            <p:cNvCxnSpPr/>
            <p:nvPr/>
          </p:nvCxnSpPr>
          <p:spPr bwMode="auto">
            <a:xfrm>
              <a:off x="6092444" y="2327541"/>
              <a:ext cx="322228" cy="1151027"/>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9" name="Gerader Verbinder 188"/>
            <p:cNvCxnSpPr>
              <a:stCxn id="73" idx="2"/>
              <a:endCxn id="186" idx="1"/>
            </p:cNvCxnSpPr>
            <p:nvPr/>
          </p:nvCxnSpPr>
          <p:spPr bwMode="auto">
            <a:xfrm>
              <a:off x="5103973" y="2681743"/>
              <a:ext cx="1079216" cy="928902"/>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1" name="Ellipse 190"/>
            <p:cNvSpPr/>
            <p:nvPr/>
          </p:nvSpPr>
          <p:spPr bwMode="auto">
            <a:xfrm>
              <a:off x="7664752" y="4832218"/>
              <a:ext cx="144000" cy="144000"/>
            </a:xfrm>
            <a:prstGeom prst="ellipse">
              <a:avLst/>
            </a:prstGeom>
            <a:solidFill>
              <a:schemeClr val="accent3">
                <a:lumMod val="75000"/>
              </a:schemeClr>
            </a:solidFill>
            <a:ln w="28575"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a:latin typeface="Calibri" panose="020F0502020204030204" pitchFamily="34" charset="0"/>
                <a:cs typeface="Calibri" panose="020F0502020204030204" pitchFamily="34" charset="0"/>
              </a:endParaRPr>
            </a:p>
          </p:txBody>
        </p:sp>
        <p:cxnSp>
          <p:nvCxnSpPr>
            <p:cNvPr id="192" name="Gerader Verbinder 191"/>
            <p:cNvCxnSpPr>
              <a:endCxn id="72" idx="1"/>
            </p:cNvCxnSpPr>
            <p:nvPr/>
          </p:nvCxnSpPr>
          <p:spPr bwMode="auto">
            <a:xfrm>
              <a:off x="7805039" y="4927125"/>
              <a:ext cx="798506" cy="375186"/>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6" name="Gerader Verbinder 195"/>
            <p:cNvCxnSpPr>
              <a:stCxn id="181" idx="4"/>
              <a:endCxn id="70" idx="0"/>
            </p:cNvCxnSpPr>
            <p:nvPr/>
          </p:nvCxnSpPr>
          <p:spPr bwMode="auto">
            <a:xfrm flipH="1">
              <a:off x="4873068" y="4875500"/>
              <a:ext cx="67217" cy="359714"/>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6" name="Gerader Verbinder 205"/>
            <p:cNvCxnSpPr>
              <a:stCxn id="75" idx="3"/>
            </p:cNvCxnSpPr>
            <p:nvPr/>
          </p:nvCxnSpPr>
          <p:spPr bwMode="auto">
            <a:xfrm flipV="1">
              <a:off x="4388598" y="4508868"/>
              <a:ext cx="112278" cy="26660"/>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7" name="Ellipse 216"/>
            <p:cNvSpPr/>
            <p:nvPr/>
          </p:nvSpPr>
          <p:spPr bwMode="auto">
            <a:xfrm>
              <a:off x="6433662" y="3920598"/>
              <a:ext cx="144000" cy="144000"/>
            </a:xfrm>
            <a:prstGeom prst="ellipse">
              <a:avLst/>
            </a:prstGeom>
            <a:solidFill>
              <a:schemeClr val="accent1">
                <a:lumMod val="75000"/>
              </a:schemeClr>
            </a:solidFill>
            <a:ln w="2857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a:latin typeface="Calibri" panose="020F0502020204030204" pitchFamily="34" charset="0"/>
                <a:cs typeface="Calibri" panose="020F0502020204030204" pitchFamily="34" charset="0"/>
              </a:endParaRPr>
            </a:p>
          </p:txBody>
        </p:sp>
        <p:sp>
          <p:nvSpPr>
            <p:cNvPr id="218" name="Ellipse 217"/>
            <p:cNvSpPr/>
            <p:nvPr/>
          </p:nvSpPr>
          <p:spPr bwMode="auto">
            <a:xfrm>
              <a:off x="6697678" y="4001022"/>
              <a:ext cx="144000" cy="144000"/>
            </a:xfrm>
            <a:prstGeom prst="ellipse">
              <a:avLst/>
            </a:prstGeom>
            <a:solidFill>
              <a:schemeClr val="accent1">
                <a:lumMod val="75000"/>
              </a:schemeClr>
            </a:solidFill>
            <a:ln w="2857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a:latin typeface="Calibri" panose="020F0502020204030204" pitchFamily="34" charset="0"/>
                <a:cs typeface="Calibri" panose="020F0502020204030204" pitchFamily="34" charset="0"/>
              </a:endParaRPr>
            </a:p>
          </p:txBody>
        </p:sp>
        <p:cxnSp>
          <p:nvCxnSpPr>
            <p:cNvPr id="219" name="Gerader Verbinder 218"/>
            <p:cNvCxnSpPr/>
            <p:nvPr/>
          </p:nvCxnSpPr>
          <p:spPr bwMode="auto">
            <a:xfrm flipH="1">
              <a:off x="5974652" y="4063617"/>
              <a:ext cx="512331" cy="955713"/>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1" name="Gerader Verbinder 220"/>
            <p:cNvCxnSpPr>
              <a:endCxn id="77" idx="0"/>
            </p:cNvCxnSpPr>
            <p:nvPr/>
          </p:nvCxnSpPr>
          <p:spPr bwMode="auto">
            <a:xfrm>
              <a:off x="6765677" y="4142774"/>
              <a:ext cx="230651" cy="1362825"/>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feld 9"/>
            <p:cNvSpPr txBox="1"/>
            <p:nvPr/>
          </p:nvSpPr>
          <p:spPr>
            <a:xfrm>
              <a:off x="5405292" y="2012566"/>
              <a:ext cx="1184154" cy="261610"/>
            </a:xfrm>
            <a:prstGeom prst="rect">
              <a:avLst/>
            </a:prstGeom>
            <a:noFill/>
          </p:spPr>
          <p:txBody>
            <a:bodyPr wrap="square" rtlCol="0">
              <a:spAutoFit/>
            </a:bodyPr>
            <a:lstStyle/>
            <a:p>
              <a:r>
                <a:rPr lang="en-GB" sz="1050" b="1" i="1" dirty="0">
                  <a:solidFill>
                    <a:srgbClr val="FFC000"/>
                  </a:solidFill>
                  <a:latin typeface="Calibri" panose="020F0502020204030204" pitchFamily="34" charset="0"/>
                  <a:cs typeface="Calibri" panose="020F0502020204030204" pitchFamily="34" charset="0"/>
                </a:rPr>
                <a:t>Coordinator</a:t>
              </a:r>
            </a:p>
          </p:txBody>
        </p:sp>
        <p:sp>
          <p:nvSpPr>
            <p:cNvPr id="121" name="Textfeld 120"/>
            <p:cNvSpPr txBox="1"/>
            <p:nvPr/>
          </p:nvSpPr>
          <p:spPr>
            <a:xfrm>
              <a:off x="6768156" y="3354966"/>
              <a:ext cx="1484509" cy="461665"/>
            </a:xfrm>
            <a:prstGeom prst="rect">
              <a:avLst/>
            </a:prstGeom>
            <a:noFill/>
          </p:spPr>
          <p:txBody>
            <a:bodyPr wrap="none" rtlCol="0">
              <a:spAutoFit/>
            </a:bodyPr>
            <a:lstStyle/>
            <a:p>
              <a:r>
                <a:rPr lang="de-DE" sz="2400" b="1" dirty="0">
                  <a:solidFill>
                    <a:schemeClr val="accent3">
                      <a:lumMod val="75000"/>
                    </a:schemeClr>
                  </a:solidFill>
                  <a:latin typeface="Calibri" panose="020F0502020204030204" pitchFamily="34" charset="0"/>
                  <a:cs typeface="Calibri" panose="020F0502020204030204" pitchFamily="34" charset="0"/>
                </a:rPr>
                <a:t>8 Partners</a:t>
              </a:r>
            </a:p>
          </p:txBody>
        </p:sp>
        <p:pic>
          <p:nvPicPr>
            <p:cNvPr id="71" name="Grafik 70"/>
            <p:cNvPicPr>
              <a:picLocks noChangeAspect="1"/>
            </p:cNvPicPr>
            <p:nvPr/>
          </p:nvPicPr>
          <p:blipFill>
            <a:blip r:embed="rId74" cstate="email">
              <a:extLst>
                <a:ext uri="{28A0092B-C50C-407E-A947-70E740481C1C}">
                  <a14:useLocalDpi xmlns:a14="http://schemas.microsoft.com/office/drawing/2010/main"/>
                </a:ext>
              </a:extLst>
            </a:blip>
            <a:stretch>
              <a:fillRect/>
            </a:stretch>
          </p:blipFill>
          <p:spPr>
            <a:xfrm>
              <a:off x="4396697" y="3209288"/>
              <a:ext cx="576000" cy="284812"/>
            </a:xfrm>
            <a:prstGeom prst="rect">
              <a:avLst/>
            </a:prstGeom>
          </p:spPr>
        </p:pic>
      </p:grpSp>
      <p:grpSp>
        <p:nvGrpSpPr>
          <p:cNvPr id="5" name="Group 230"/>
          <p:cNvGrpSpPr/>
          <p:nvPr/>
        </p:nvGrpSpPr>
        <p:grpSpPr>
          <a:xfrm>
            <a:off x="862497" y="2808210"/>
            <a:ext cx="3183476" cy="3497341"/>
            <a:chOff x="636789" y="2573637"/>
            <a:chExt cx="3305634" cy="3514846"/>
          </a:xfrm>
        </p:grpSpPr>
        <p:grpSp>
          <p:nvGrpSpPr>
            <p:cNvPr id="6" name="Group 123"/>
            <p:cNvGrpSpPr/>
            <p:nvPr/>
          </p:nvGrpSpPr>
          <p:grpSpPr>
            <a:xfrm>
              <a:off x="636789" y="2573637"/>
              <a:ext cx="3305634" cy="3514846"/>
              <a:chOff x="1028832" y="2344794"/>
              <a:chExt cx="3305634" cy="3514846"/>
            </a:xfrm>
          </p:grpSpPr>
          <p:grpSp>
            <p:nvGrpSpPr>
              <p:cNvPr id="7" name="Group 2"/>
              <p:cNvGrpSpPr>
                <a:grpSpLocks noChangeAspect="1"/>
              </p:cNvGrpSpPr>
              <p:nvPr/>
            </p:nvGrpSpPr>
            <p:grpSpPr>
              <a:xfrm>
                <a:off x="1428774" y="2344794"/>
                <a:ext cx="2905692" cy="3090744"/>
                <a:chOff x="2515032" y="1549899"/>
                <a:chExt cx="4113936" cy="4570412"/>
              </a:xfrm>
              <a:solidFill>
                <a:schemeClr val="bg1">
                  <a:lumMod val="85000"/>
                </a:schemeClr>
              </a:solidFill>
            </p:grpSpPr>
            <p:sp>
              <p:nvSpPr>
                <p:cNvPr id="40" name="ee4p_BR_1"/>
                <p:cNvSpPr>
                  <a:spLocks/>
                </p:cNvSpPr>
                <p:nvPr>
                  <p:custDataLst>
                    <p:tags r:id="rId2"/>
                  </p:custDataLst>
                </p:nvPr>
              </p:nvSpPr>
              <p:spPr bwMode="auto">
                <a:xfrm>
                  <a:off x="2515032" y="2994896"/>
                  <a:ext cx="771832" cy="478959"/>
                </a:xfrm>
                <a:custGeom>
                  <a:avLst/>
                  <a:gdLst/>
                  <a:ahLst/>
                  <a:cxnLst>
                    <a:cxn ang="0">
                      <a:pos x="1473" y="430"/>
                    </a:cxn>
                    <a:cxn ang="0">
                      <a:pos x="2818" y="1087"/>
                    </a:cxn>
                    <a:cxn ang="0">
                      <a:pos x="2980" y="1189"/>
                    </a:cxn>
                    <a:cxn ang="0">
                      <a:pos x="2929" y="1220"/>
                    </a:cxn>
                    <a:cxn ang="0">
                      <a:pos x="2890" y="1256"/>
                    </a:cxn>
                    <a:cxn ang="0">
                      <a:pos x="2862" y="1289"/>
                    </a:cxn>
                    <a:cxn ang="0">
                      <a:pos x="2840" y="1313"/>
                    </a:cxn>
                    <a:cxn ang="0">
                      <a:pos x="2796" y="1333"/>
                    </a:cxn>
                    <a:cxn ang="0">
                      <a:pos x="2727" y="1343"/>
                    </a:cxn>
                    <a:cxn ang="0">
                      <a:pos x="2683" y="1369"/>
                    </a:cxn>
                    <a:cxn ang="0">
                      <a:pos x="2622" y="1415"/>
                    </a:cxn>
                    <a:cxn ang="0">
                      <a:pos x="2542" y="1507"/>
                    </a:cxn>
                    <a:cxn ang="0">
                      <a:pos x="2497" y="1481"/>
                    </a:cxn>
                    <a:cxn ang="0">
                      <a:pos x="2434" y="1484"/>
                    </a:cxn>
                    <a:cxn ang="0">
                      <a:pos x="2393" y="1520"/>
                    </a:cxn>
                    <a:cxn ang="0">
                      <a:pos x="2351" y="1578"/>
                    </a:cxn>
                    <a:cxn ang="0">
                      <a:pos x="2296" y="1630"/>
                    </a:cxn>
                    <a:cxn ang="0">
                      <a:pos x="2216" y="1675"/>
                    </a:cxn>
                    <a:cxn ang="0">
                      <a:pos x="2131" y="1639"/>
                    </a:cxn>
                    <a:cxn ang="0">
                      <a:pos x="2109" y="1630"/>
                    </a:cxn>
                    <a:cxn ang="0">
                      <a:pos x="2078" y="1633"/>
                    </a:cxn>
                    <a:cxn ang="0">
                      <a:pos x="2032" y="1633"/>
                    </a:cxn>
                    <a:cxn ang="0">
                      <a:pos x="1984" y="1617"/>
                    </a:cxn>
                    <a:cxn ang="0">
                      <a:pos x="1927" y="1606"/>
                    </a:cxn>
                    <a:cxn ang="0">
                      <a:pos x="1887" y="1609"/>
                    </a:cxn>
                    <a:cxn ang="0">
                      <a:pos x="1846" y="1609"/>
                    </a:cxn>
                    <a:cxn ang="0">
                      <a:pos x="1791" y="1606"/>
                    </a:cxn>
                    <a:cxn ang="0">
                      <a:pos x="1728" y="1614"/>
                    </a:cxn>
                    <a:cxn ang="0">
                      <a:pos x="1675" y="1600"/>
                    </a:cxn>
                    <a:cxn ang="0">
                      <a:pos x="1618" y="1617"/>
                    </a:cxn>
                    <a:cxn ang="0">
                      <a:pos x="1582" y="1627"/>
                    </a:cxn>
                    <a:cxn ang="0">
                      <a:pos x="1546" y="1647"/>
                    </a:cxn>
                    <a:cxn ang="0">
                      <a:pos x="1471" y="1655"/>
                    </a:cxn>
                    <a:cxn ang="0">
                      <a:pos x="1413" y="1609"/>
                    </a:cxn>
                    <a:cxn ang="0">
                      <a:pos x="1404" y="1111"/>
                    </a:cxn>
                    <a:cxn ang="0">
                      <a:pos x="1383" y="1037"/>
                    </a:cxn>
                    <a:cxn ang="0">
                      <a:pos x="1396" y="1016"/>
                    </a:cxn>
                    <a:cxn ang="0">
                      <a:pos x="1419" y="977"/>
                    </a:cxn>
                    <a:cxn ang="0">
                      <a:pos x="1385" y="977"/>
                    </a:cxn>
                    <a:cxn ang="0">
                      <a:pos x="1358" y="1004"/>
                    </a:cxn>
                    <a:cxn ang="0">
                      <a:pos x="1322" y="1024"/>
                    </a:cxn>
                    <a:cxn ang="0">
                      <a:pos x="1299" y="1057"/>
                    </a:cxn>
                    <a:cxn ang="0">
                      <a:pos x="1247" y="1101"/>
                    </a:cxn>
                    <a:cxn ang="0">
                      <a:pos x="1186" y="1136"/>
                    </a:cxn>
                    <a:cxn ang="0">
                      <a:pos x="1087" y="1205"/>
                    </a:cxn>
                    <a:cxn ang="0">
                      <a:pos x="742" y="1164"/>
                    </a:cxn>
                    <a:cxn ang="0">
                      <a:pos x="703" y="1095"/>
                    </a:cxn>
                    <a:cxn ang="0">
                      <a:pos x="660" y="1010"/>
                    </a:cxn>
                    <a:cxn ang="0">
                      <a:pos x="618" y="993"/>
                    </a:cxn>
                    <a:cxn ang="0">
                      <a:pos x="571" y="988"/>
                    </a:cxn>
                    <a:cxn ang="0">
                      <a:pos x="532" y="980"/>
                    </a:cxn>
                    <a:cxn ang="0">
                      <a:pos x="317" y="963"/>
                    </a:cxn>
                    <a:cxn ang="0">
                      <a:pos x="394" y="886"/>
                    </a:cxn>
                    <a:cxn ang="0">
                      <a:pos x="425" y="791"/>
                    </a:cxn>
                    <a:cxn ang="0">
                      <a:pos x="356" y="679"/>
                    </a:cxn>
                    <a:cxn ang="0">
                      <a:pos x="287" y="632"/>
                    </a:cxn>
                    <a:cxn ang="0">
                      <a:pos x="223" y="543"/>
                    </a:cxn>
                    <a:cxn ang="0">
                      <a:pos x="165" y="444"/>
                    </a:cxn>
                    <a:cxn ang="0">
                      <a:pos x="99" y="353"/>
                    </a:cxn>
                    <a:cxn ang="0">
                      <a:pos x="105" y="265"/>
                    </a:cxn>
                    <a:cxn ang="0">
                      <a:pos x="24" y="160"/>
                    </a:cxn>
                    <a:cxn ang="0">
                      <a:pos x="72" y="93"/>
                    </a:cxn>
                    <a:cxn ang="0">
                      <a:pos x="80" y="8"/>
                    </a:cxn>
                  </a:cxnLst>
                  <a:rect l="0" t="0" r="r" b="b"/>
                  <a:pathLst>
                    <a:path w="2997" h="1691">
                      <a:moveTo>
                        <a:pt x="77" y="0"/>
                      </a:moveTo>
                      <a:lnTo>
                        <a:pt x="102" y="14"/>
                      </a:lnTo>
                      <a:lnTo>
                        <a:pt x="270" y="88"/>
                      </a:lnTo>
                      <a:lnTo>
                        <a:pt x="458" y="174"/>
                      </a:lnTo>
                      <a:lnTo>
                        <a:pt x="530" y="210"/>
                      </a:lnTo>
                      <a:lnTo>
                        <a:pt x="543" y="215"/>
                      </a:lnTo>
                      <a:lnTo>
                        <a:pt x="734" y="254"/>
                      </a:lnTo>
                      <a:lnTo>
                        <a:pt x="739" y="257"/>
                      </a:lnTo>
                      <a:lnTo>
                        <a:pt x="800" y="276"/>
                      </a:lnTo>
                      <a:lnTo>
                        <a:pt x="808" y="279"/>
                      </a:lnTo>
                      <a:lnTo>
                        <a:pt x="816" y="279"/>
                      </a:lnTo>
                      <a:lnTo>
                        <a:pt x="985" y="320"/>
                      </a:lnTo>
                      <a:lnTo>
                        <a:pt x="1010" y="326"/>
                      </a:lnTo>
                      <a:lnTo>
                        <a:pt x="1118" y="351"/>
                      </a:lnTo>
                      <a:lnTo>
                        <a:pt x="1242" y="381"/>
                      </a:lnTo>
                      <a:lnTo>
                        <a:pt x="1391" y="411"/>
                      </a:lnTo>
                      <a:lnTo>
                        <a:pt x="1435" y="422"/>
                      </a:lnTo>
                      <a:lnTo>
                        <a:pt x="1473" y="430"/>
                      </a:lnTo>
                      <a:lnTo>
                        <a:pt x="1504" y="449"/>
                      </a:lnTo>
                      <a:lnTo>
                        <a:pt x="1570" y="486"/>
                      </a:lnTo>
                      <a:lnTo>
                        <a:pt x="1722" y="568"/>
                      </a:lnTo>
                      <a:lnTo>
                        <a:pt x="1805" y="615"/>
                      </a:lnTo>
                      <a:lnTo>
                        <a:pt x="1851" y="640"/>
                      </a:lnTo>
                      <a:lnTo>
                        <a:pt x="1956" y="696"/>
                      </a:lnTo>
                      <a:lnTo>
                        <a:pt x="2034" y="734"/>
                      </a:lnTo>
                      <a:lnTo>
                        <a:pt x="2117" y="781"/>
                      </a:lnTo>
                      <a:lnTo>
                        <a:pt x="2131" y="786"/>
                      </a:lnTo>
                      <a:lnTo>
                        <a:pt x="2142" y="791"/>
                      </a:lnTo>
                      <a:lnTo>
                        <a:pt x="2186" y="811"/>
                      </a:lnTo>
                      <a:lnTo>
                        <a:pt x="2362" y="888"/>
                      </a:lnTo>
                      <a:lnTo>
                        <a:pt x="2462" y="932"/>
                      </a:lnTo>
                      <a:lnTo>
                        <a:pt x="2710" y="1040"/>
                      </a:lnTo>
                      <a:lnTo>
                        <a:pt x="2776" y="1067"/>
                      </a:lnTo>
                      <a:lnTo>
                        <a:pt x="2788" y="1075"/>
                      </a:lnTo>
                      <a:lnTo>
                        <a:pt x="2801" y="1079"/>
                      </a:lnTo>
                      <a:lnTo>
                        <a:pt x="2818" y="1087"/>
                      </a:lnTo>
                      <a:lnTo>
                        <a:pt x="2923" y="1131"/>
                      </a:lnTo>
                      <a:lnTo>
                        <a:pt x="2997" y="1164"/>
                      </a:lnTo>
                      <a:lnTo>
                        <a:pt x="2995" y="1167"/>
                      </a:lnTo>
                      <a:lnTo>
                        <a:pt x="2995" y="1172"/>
                      </a:lnTo>
                      <a:lnTo>
                        <a:pt x="2992" y="1172"/>
                      </a:lnTo>
                      <a:lnTo>
                        <a:pt x="2995" y="1178"/>
                      </a:lnTo>
                      <a:lnTo>
                        <a:pt x="2992" y="1178"/>
                      </a:lnTo>
                      <a:lnTo>
                        <a:pt x="2992" y="1180"/>
                      </a:lnTo>
                      <a:lnTo>
                        <a:pt x="2995" y="1180"/>
                      </a:lnTo>
                      <a:lnTo>
                        <a:pt x="2995" y="1184"/>
                      </a:lnTo>
                      <a:lnTo>
                        <a:pt x="2992" y="1184"/>
                      </a:lnTo>
                      <a:lnTo>
                        <a:pt x="2989" y="1189"/>
                      </a:lnTo>
                      <a:lnTo>
                        <a:pt x="2986" y="1187"/>
                      </a:lnTo>
                      <a:lnTo>
                        <a:pt x="2983" y="1184"/>
                      </a:lnTo>
                      <a:lnTo>
                        <a:pt x="2983" y="1187"/>
                      </a:lnTo>
                      <a:lnTo>
                        <a:pt x="2983" y="1184"/>
                      </a:lnTo>
                      <a:lnTo>
                        <a:pt x="2978" y="1187"/>
                      </a:lnTo>
                      <a:lnTo>
                        <a:pt x="2980" y="1189"/>
                      </a:lnTo>
                      <a:lnTo>
                        <a:pt x="2978" y="1195"/>
                      </a:lnTo>
                      <a:lnTo>
                        <a:pt x="2975" y="1192"/>
                      </a:lnTo>
                      <a:lnTo>
                        <a:pt x="2975" y="1197"/>
                      </a:lnTo>
                      <a:lnTo>
                        <a:pt x="2967" y="1197"/>
                      </a:lnTo>
                      <a:lnTo>
                        <a:pt x="2959" y="1200"/>
                      </a:lnTo>
                      <a:lnTo>
                        <a:pt x="2956" y="1203"/>
                      </a:lnTo>
                      <a:lnTo>
                        <a:pt x="2954" y="1203"/>
                      </a:lnTo>
                      <a:lnTo>
                        <a:pt x="2950" y="1203"/>
                      </a:lnTo>
                      <a:lnTo>
                        <a:pt x="2950" y="1205"/>
                      </a:lnTo>
                      <a:lnTo>
                        <a:pt x="2947" y="1208"/>
                      </a:lnTo>
                      <a:lnTo>
                        <a:pt x="2945" y="1208"/>
                      </a:lnTo>
                      <a:lnTo>
                        <a:pt x="2942" y="1211"/>
                      </a:lnTo>
                      <a:lnTo>
                        <a:pt x="2939" y="1211"/>
                      </a:lnTo>
                      <a:lnTo>
                        <a:pt x="2939" y="1213"/>
                      </a:lnTo>
                      <a:lnTo>
                        <a:pt x="2937" y="1213"/>
                      </a:lnTo>
                      <a:lnTo>
                        <a:pt x="2937" y="1220"/>
                      </a:lnTo>
                      <a:lnTo>
                        <a:pt x="2934" y="1216"/>
                      </a:lnTo>
                      <a:lnTo>
                        <a:pt x="2929" y="1220"/>
                      </a:lnTo>
                      <a:lnTo>
                        <a:pt x="2929" y="1223"/>
                      </a:lnTo>
                      <a:lnTo>
                        <a:pt x="2923" y="1225"/>
                      </a:lnTo>
                      <a:lnTo>
                        <a:pt x="2923" y="1228"/>
                      </a:lnTo>
                      <a:lnTo>
                        <a:pt x="2923" y="1231"/>
                      </a:lnTo>
                      <a:lnTo>
                        <a:pt x="2917" y="1231"/>
                      </a:lnTo>
                      <a:lnTo>
                        <a:pt x="2914" y="1236"/>
                      </a:lnTo>
                      <a:lnTo>
                        <a:pt x="2909" y="1236"/>
                      </a:lnTo>
                      <a:lnTo>
                        <a:pt x="2909" y="1239"/>
                      </a:lnTo>
                      <a:lnTo>
                        <a:pt x="2909" y="1244"/>
                      </a:lnTo>
                      <a:lnTo>
                        <a:pt x="2903" y="1247"/>
                      </a:lnTo>
                      <a:lnTo>
                        <a:pt x="2903" y="1244"/>
                      </a:lnTo>
                      <a:lnTo>
                        <a:pt x="2898" y="1244"/>
                      </a:lnTo>
                      <a:lnTo>
                        <a:pt x="2895" y="1244"/>
                      </a:lnTo>
                      <a:lnTo>
                        <a:pt x="2893" y="1244"/>
                      </a:lnTo>
                      <a:lnTo>
                        <a:pt x="2895" y="1249"/>
                      </a:lnTo>
                      <a:lnTo>
                        <a:pt x="2895" y="1253"/>
                      </a:lnTo>
                      <a:lnTo>
                        <a:pt x="2893" y="1249"/>
                      </a:lnTo>
                      <a:lnTo>
                        <a:pt x="2890" y="1256"/>
                      </a:lnTo>
                      <a:lnTo>
                        <a:pt x="2890" y="1253"/>
                      </a:lnTo>
                      <a:lnTo>
                        <a:pt x="2890" y="1258"/>
                      </a:lnTo>
                      <a:lnTo>
                        <a:pt x="2887" y="1256"/>
                      </a:lnTo>
                      <a:lnTo>
                        <a:pt x="2884" y="1258"/>
                      </a:lnTo>
                      <a:lnTo>
                        <a:pt x="2884" y="1261"/>
                      </a:lnTo>
                      <a:lnTo>
                        <a:pt x="2884" y="1264"/>
                      </a:lnTo>
                      <a:lnTo>
                        <a:pt x="2878" y="1264"/>
                      </a:lnTo>
                      <a:lnTo>
                        <a:pt x="2878" y="1266"/>
                      </a:lnTo>
                      <a:lnTo>
                        <a:pt x="2878" y="1264"/>
                      </a:lnTo>
                      <a:lnTo>
                        <a:pt x="2876" y="1266"/>
                      </a:lnTo>
                      <a:lnTo>
                        <a:pt x="2878" y="1269"/>
                      </a:lnTo>
                      <a:lnTo>
                        <a:pt x="2878" y="1272"/>
                      </a:lnTo>
                      <a:lnTo>
                        <a:pt x="2873" y="1269"/>
                      </a:lnTo>
                      <a:lnTo>
                        <a:pt x="2870" y="1272"/>
                      </a:lnTo>
                      <a:lnTo>
                        <a:pt x="2870" y="1274"/>
                      </a:lnTo>
                      <a:lnTo>
                        <a:pt x="2868" y="1274"/>
                      </a:lnTo>
                      <a:lnTo>
                        <a:pt x="2865" y="1277"/>
                      </a:lnTo>
                      <a:lnTo>
                        <a:pt x="2862" y="1289"/>
                      </a:lnTo>
                      <a:lnTo>
                        <a:pt x="2860" y="1291"/>
                      </a:lnTo>
                      <a:lnTo>
                        <a:pt x="2860" y="1285"/>
                      </a:lnTo>
                      <a:lnTo>
                        <a:pt x="2857" y="1291"/>
                      </a:lnTo>
                      <a:lnTo>
                        <a:pt x="2854" y="1291"/>
                      </a:lnTo>
                      <a:lnTo>
                        <a:pt x="2854" y="1289"/>
                      </a:lnTo>
                      <a:lnTo>
                        <a:pt x="2851" y="1291"/>
                      </a:lnTo>
                      <a:lnTo>
                        <a:pt x="2854" y="1291"/>
                      </a:lnTo>
                      <a:lnTo>
                        <a:pt x="2851" y="1291"/>
                      </a:lnTo>
                      <a:lnTo>
                        <a:pt x="2845" y="1297"/>
                      </a:lnTo>
                      <a:lnTo>
                        <a:pt x="2845" y="1294"/>
                      </a:lnTo>
                      <a:lnTo>
                        <a:pt x="2845" y="1300"/>
                      </a:lnTo>
                      <a:lnTo>
                        <a:pt x="2842" y="1302"/>
                      </a:lnTo>
                      <a:lnTo>
                        <a:pt x="2848" y="1302"/>
                      </a:lnTo>
                      <a:lnTo>
                        <a:pt x="2845" y="1305"/>
                      </a:lnTo>
                      <a:lnTo>
                        <a:pt x="2842" y="1308"/>
                      </a:lnTo>
                      <a:lnTo>
                        <a:pt x="2842" y="1305"/>
                      </a:lnTo>
                      <a:lnTo>
                        <a:pt x="2840" y="1308"/>
                      </a:lnTo>
                      <a:lnTo>
                        <a:pt x="2840" y="1313"/>
                      </a:lnTo>
                      <a:lnTo>
                        <a:pt x="2837" y="1316"/>
                      </a:lnTo>
                      <a:lnTo>
                        <a:pt x="2837" y="1318"/>
                      </a:lnTo>
                      <a:lnTo>
                        <a:pt x="2834" y="1316"/>
                      </a:lnTo>
                      <a:lnTo>
                        <a:pt x="2834" y="1318"/>
                      </a:lnTo>
                      <a:lnTo>
                        <a:pt x="2832" y="1318"/>
                      </a:lnTo>
                      <a:lnTo>
                        <a:pt x="2829" y="1321"/>
                      </a:lnTo>
                      <a:lnTo>
                        <a:pt x="2826" y="1318"/>
                      </a:lnTo>
                      <a:lnTo>
                        <a:pt x="2826" y="1321"/>
                      </a:lnTo>
                      <a:lnTo>
                        <a:pt x="2824" y="1321"/>
                      </a:lnTo>
                      <a:lnTo>
                        <a:pt x="2821" y="1325"/>
                      </a:lnTo>
                      <a:lnTo>
                        <a:pt x="2824" y="1325"/>
                      </a:lnTo>
                      <a:lnTo>
                        <a:pt x="2812" y="1330"/>
                      </a:lnTo>
                      <a:lnTo>
                        <a:pt x="2809" y="1333"/>
                      </a:lnTo>
                      <a:lnTo>
                        <a:pt x="2807" y="1333"/>
                      </a:lnTo>
                      <a:lnTo>
                        <a:pt x="2807" y="1330"/>
                      </a:lnTo>
                      <a:lnTo>
                        <a:pt x="2804" y="1330"/>
                      </a:lnTo>
                      <a:lnTo>
                        <a:pt x="2801" y="1330"/>
                      </a:lnTo>
                      <a:lnTo>
                        <a:pt x="2796" y="1333"/>
                      </a:lnTo>
                      <a:lnTo>
                        <a:pt x="2791" y="1333"/>
                      </a:lnTo>
                      <a:lnTo>
                        <a:pt x="2788" y="1335"/>
                      </a:lnTo>
                      <a:lnTo>
                        <a:pt x="2788" y="1341"/>
                      </a:lnTo>
                      <a:lnTo>
                        <a:pt x="2791" y="1343"/>
                      </a:lnTo>
                      <a:lnTo>
                        <a:pt x="2788" y="1343"/>
                      </a:lnTo>
                      <a:lnTo>
                        <a:pt x="2785" y="1346"/>
                      </a:lnTo>
                      <a:lnTo>
                        <a:pt x="2781" y="1346"/>
                      </a:lnTo>
                      <a:lnTo>
                        <a:pt x="2776" y="1349"/>
                      </a:lnTo>
                      <a:lnTo>
                        <a:pt x="2773" y="1351"/>
                      </a:lnTo>
                      <a:lnTo>
                        <a:pt x="2768" y="1351"/>
                      </a:lnTo>
                      <a:lnTo>
                        <a:pt x="2763" y="1346"/>
                      </a:lnTo>
                      <a:lnTo>
                        <a:pt x="2755" y="1346"/>
                      </a:lnTo>
                      <a:lnTo>
                        <a:pt x="2752" y="1343"/>
                      </a:lnTo>
                      <a:lnTo>
                        <a:pt x="2746" y="1343"/>
                      </a:lnTo>
                      <a:lnTo>
                        <a:pt x="2743" y="1346"/>
                      </a:lnTo>
                      <a:lnTo>
                        <a:pt x="2735" y="1349"/>
                      </a:lnTo>
                      <a:lnTo>
                        <a:pt x="2732" y="1346"/>
                      </a:lnTo>
                      <a:lnTo>
                        <a:pt x="2727" y="1343"/>
                      </a:lnTo>
                      <a:lnTo>
                        <a:pt x="2724" y="1346"/>
                      </a:lnTo>
                      <a:lnTo>
                        <a:pt x="2721" y="1343"/>
                      </a:lnTo>
                      <a:lnTo>
                        <a:pt x="2721" y="1346"/>
                      </a:lnTo>
                      <a:lnTo>
                        <a:pt x="2716" y="1343"/>
                      </a:lnTo>
                      <a:lnTo>
                        <a:pt x="2712" y="1346"/>
                      </a:lnTo>
                      <a:lnTo>
                        <a:pt x="2710" y="1349"/>
                      </a:lnTo>
                      <a:lnTo>
                        <a:pt x="2716" y="1354"/>
                      </a:lnTo>
                      <a:lnTo>
                        <a:pt x="2712" y="1360"/>
                      </a:lnTo>
                      <a:lnTo>
                        <a:pt x="2716" y="1366"/>
                      </a:lnTo>
                      <a:lnTo>
                        <a:pt x="2716" y="1369"/>
                      </a:lnTo>
                      <a:lnTo>
                        <a:pt x="2712" y="1369"/>
                      </a:lnTo>
                      <a:lnTo>
                        <a:pt x="2710" y="1371"/>
                      </a:lnTo>
                      <a:lnTo>
                        <a:pt x="2704" y="1369"/>
                      </a:lnTo>
                      <a:lnTo>
                        <a:pt x="2699" y="1369"/>
                      </a:lnTo>
                      <a:lnTo>
                        <a:pt x="2699" y="1374"/>
                      </a:lnTo>
                      <a:lnTo>
                        <a:pt x="2694" y="1369"/>
                      </a:lnTo>
                      <a:lnTo>
                        <a:pt x="2688" y="1371"/>
                      </a:lnTo>
                      <a:lnTo>
                        <a:pt x="2683" y="1369"/>
                      </a:lnTo>
                      <a:lnTo>
                        <a:pt x="2680" y="1366"/>
                      </a:lnTo>
                      <a:lnTo>
                        <a:pt x="2677" y="1366"/>
                      </a:lnTo>
                      <a:lnTo>
                        <a:pt x="2671" y="1374"/>
                      </a:lnTo>
                      <a:lnTo>
                        <a:pt x="2674" y="1379"/>
                      </a:lnTo>
                      <a:lnTo>
                        <a:pt x="2674" y="1390"/>
                      </a:lnTo>
                      <a:lnTo>
                        <a:pt x="2671" y="1390"/>
                      </a:lnTo>
                      <a:lnTo>
                        <a:pt x="2669" y="1390"/>
                      </a:lnTo>
                      <a:lnTo>
                        <a:pt x="2666" y="1394"/>
                      </a:lnTo>
                      <a:lnTo>
                        <a:pt x="2666" y="1399"/>
                      </a:lnTo>
                      <a:lnTo>
                        <a:pt x="2663" y="1402"/>
                      </a:lnTo>
                      <a:lnTo>
                        <a:pt x="2652" y="1404"/>
                      </a:lnTo>
                      <a:lnTo>
                        <a:pt x="2650" y="1407"/>
                      </a:lnTo>
                      <a:lnTo>
                        <a:pt x="2643" y="1410"/>
                      </a:lnTo>
                      <a:lnTo>
                        <a:pt x="2638" y="1407"/>
                      </a:lnTo>
                      <a:lnTo>
                        <a:pt x="2633" y="1410"/>
                      </a:lnTo>
                      <a:lnTo>
                        <a:pt x="2633" y="1415"/>
                      </a:lnTo>
                      <a:lnTo>
                        <a:pt x="2625" y="1415"/>
                      </a:lnTo>
                      <a:lnTo>
                        <a:pt x="2622" y="1415"/>
                      </a:lnTo>
                      <a:lnTo>
                        <a:pt x="2617" y="1418"/>
                      </a:lnTo>
                      <a:lnTo>
                        <a:pt x="2608" y="1420"/>
                      </a:lnTo>
                      <a:lnTo>
                        <a:pt x="2605" y="1423"/>
                      </a:lnTo>
                      <a:lnTo>
                        <a:pt x="2597" y="1438"/>
                      </a:lnTo>
                      <a:lnTo>
                        <a:pt x="2594" y="1446"/>
                      </a:lnTo>
                      <a:lnTo>
                        <a:pt x="2586" y="1454"/>
                      </a:lnTo>
                      <a:lnTo>
                        <a:pt x="2583" y="1459"/>
                      </a:lnTo>
                      <a:lnTo>
                        <a:pt x="2574" y="1468"/>
                      </a:lnTo>
                      <a:lnTo>
                        <a:pt x="2566" y="1463"/>
                      </a:lnTo>
                      <a:lnTo>
                        <a:pt x="2556" y="1509"/>
                      </a:lnTo>
                      <a:lnTo>
                        <a:pt x="2553" y="1507"/>
                      </a:lnTo>
                      <a:lnTo>
                        <a:pt x="2550" y="1509"/>
                      </a:lnTo>
                      <a:lnTo>
                        <a:pt x="2548" y="1507"/>
                      </a:lnTo>
                      <a:lnTo>
                        <a:pt x="2548" y="1509"/>
                      </a:lnTo>
                      <a:lnTo>
                        <a:pt x="2545" y="1509"/>
                      </a:lnTo>
                      <a:lnTo>
                        <a:pt x="2545" y="1507"/>
                      </a:lnTo>
                      <a:lnTo>
                        <a:pt x="2542" y="1509"/>
                      </a:lnTo>
                      <a:lnTo>
                        <a:pt x="2542" y="1507"/>
                      </a:lnTo>
                      <a:lnTo>
                        <a:pt x="2539" y="1501"/>
                      </a:lnTo>
                      <a:lnTo>
                        <a:pt x="2536" y="1501"/>
                      </a:lnTo>
                      <a:lnTo>
                        <a:pt x="2533" y="1499"/>
                      </a:lnTo>
                      <a:lnTo>
                        <a:pt x="2531" y="1499"/>
                      </a:lnTo>
                      <a:lnTo>
                        <a:pt x="2528" y="1499"/>
                      </a:lnTo>
                      <a:lnTo>
                        <a:pt x="2528" y="1495"/>
                      </a:lnTo>
                      <a:lnTo>
                        <a:pt x="2523" y="1495"/>
                      </a:lnTo>
                      <a:lnTo>
                        <a:pt x="2523" y="1492"/>
                      </a:lnTo>
                      <a:lnTo>
                        <a:pt x="2520" y="1495"/>
                      </a:lnTo>
                      <a:lnTo>
                        <a:pt x="2520" y="1489"/>
                      </a:lnTo>
                      <a:lnTo>
                        <a:pt x="2515" y="1489"/>
                      </a:lnTo>
                      <a:lnTo>
                        <a:pt x="2515" y="1487"/>
                      </a:lnTo>
                      <a:lnTo>
                        <a:pt x="2512" y="1489"/>
                      </a:lnTo>
                      <a:lnTo>
                        <a:pt x="2512" y="1487"/>
                      </a:lnTo>
                      <a:lnTo>
                        <a:pt x="2509" y="1484"/>
                      </a:lnTo>
                      <a:lnTo>
                        <a:pt x="2503" y="1481"/>
                      </a:lnTo>
                      <a:lnTo>
                        <a:pt x="2500" y="1484"/>
                      </a:lnTo>
                      <a:lnTo>
                        <a:pt x="2497" y="1481"/>
                      </a:lnTo>
                      <a:lnTo>
                        <a:pt x="2495" y="1481"/>
                      </a:lnTo>
                      <a:lnTo>
                        <a:pt x="2492" y="1479"/>
                      </a:lnTo>
                      <a:lnTo>
                        <a:pt x="2487" y="1479"/>
                      </a:lnTo>
                      <a:lnTo>
                        <a:pt x="2481" y="1479"/>
                      </a:lnTo>
                      <a:lnTo>
                        <a:pt x="2479" y="1481"/>
                      </a:lnTo>
                      <a:lnTo>
                        <a:pt x="2479" y="1479"/>
                      </a:lnTo>
                      <a:lnTo>
                        <a:pt x="2473" y="1479"/>
                      </a:lnTo>
                      <a:lnTo>
                        <a:pt x="2470" y="1484"/>
                      </a:lnTo>
                      <a:lnTo>
                        <a:pt x="2467" y="1481"/>
                      </a:lnTo>
                      <a:lnTo>
                        <a:pt x="2464" y="1484"/>
                      </a:lnTo>
                      <a:lnTo>
                        <a:pt x="2459" y="1484"/>
                      </a:lnTo>
                      <a:lnTo>
                        <a:pt x="2459" y="1481"/>
                      </a:lnTo>
                      <a:lnTo>
                        <a:pt x="2459" y="1484"/>
                      </a:lnTo>
                      <a:lnTo>
                        <a:pt x="2454" y="1481"/>
                      </a:lnTo>
                      <a:lnTo>
                        <a:pt x="2446" y="1487"/>
                      </a:lnTo>
                      <a:lnTo>
                        <a:pt x="2440" y="1484"/>
                      </a:lnTo>
                      <a:lnTo>
                        <a:pt x="2434" y="1481"/>
                      </a:lnTo>
                      <a:lnTo>
                        <a:pt x="2434" y="1484"/>
                      </a:lnTo>
                      <a:lnTo>
                        <a:pt x="2431" y="1481"/>
                      </a:lnTo>
                      <a:lnTo>
                        <a:pt x="2431" y="1484"/>
                      </a:lnTo>
                      <a:lnTo>
                        <a:pt x="2428" y="1481"/>
                      </a:lnTo>
                      <a:lnTo>
                        <a:pt x="2426" y="1484"/>
                      </a:lnTo>
                      <a:lnTo>
                        <a:pt x="2423" y="1484"/>
                      </a:lnTo>
                      <a:lnTo>
                        <a:pt x="2423" y="1489"/>
                      </a:lnTo>
                      <a:lnTo>
                        <a:pt x="2420" y="1489"/>
                      </a:lnTo>
                      <a:lnTo>
                        <a:pt x="2415" y="1489"/>
                      </a:lnTo>
                      <a:lnTo>
                        <a:pt x="2410" y="1492"/>
                      </a:lnTo>
                      <a:lnTo>
                        <a:pt x="2410" y="1499"/>
                      </a:lnTo>
                      <a:lnTo>
                        <a:pt x="2407" y="1495"/>
                      </a:lnTo>
                      <a:lnTo>
                        <a:pt x="2403" y="1501"/>
                      </a:lnTo>
                      <a:lnTo>
                        <a:pt x="2401" y="1504"/>
                      </a:lnTo>
                      <a:lnTo>
                        <a:pt x="2398" y="1507"/>
                      </a:lnTo>
                      <a:lnTo>
                        <a:pt x="2395" y="1507"/>
                      </a:lnTo>
                      <a:lnTo>
                        <a:pt x="2393" y="1512"/>
                      </a:lnTo>
                      <a:lnTo>
                        <a:pt x="2393" y="1515"/>
                      </a:lnTo>
                      <a:lnTo>
                        <a:pt x="2393" y="1520"/>
                      </a:lnTo>
                      <a:lnTo>
                        <a:pt x="2395" y="1520"/>
                      </a:lnTo>
                      <a:lnTo>
                        <a:pt x="2398" y="1523"/>
                      </a:lnTo>
                      <a:lnTo>
                        <a:pt x="2395" y="1525"/>
                      </a:lnTo>
                      <a:lnTo>
                        <a:pt x="2395" y="1528"/>
                      </a:lnTo>
                      <a:lnTo>
                        <a:pt x="2393" y="1531"/>
                      </a:lnTo>
                      <a:lnTo>
                        <a:pt x="2395" y="1534"/>
                      </a:lnTo>
                      <a:lnTo>
                        <a:pt x="2393" y="1537"/>
                      </a:lnTo>
                      <a:lnTo>
                        <a:pt x="2387" y="1540"/>
                      </a:lnTo>
                      <a:lnTo>
                        <a:pt x="2385" y="1545"/>
                      </a:lnTo>
                      <a:lnTo>
                        <a:pt x="2379" y="1548"/>
                      </a:lnTo>
                      <a:lnTo>
                        <a:pt x="2379" y="1550"/>
                      </a:lnTo>
                      <a:lnTo>
                        <a:pt x="2374" y="1553"/>
                      </a:lnTo>
                      <a:lnTo>
                        <a:pt x="2367" y="1561"/>
                      </a:lnTo>
                      <a:lnTo>
                        <a:pt x="2365" y="1561"/>
                      </a:lnTo>
                      <a:lnTo>
                        <a:pt x="2362" y="1570"/>
                      </a:lnTo>
                      <a:lnTo>
                        <a:pt x="2357" y="1570"/>
                      </a:lnTo>
                      <a:lnTo>
                        <a:pt x="2354" y="1578"/>
                      </a:lnTo>
                      <a:lnTo>
                        <a:pt x="2351" y="1578"/>
                      </a:lnTo>
                      <a:lnTo>
                        <a:pt x="2354" y="1581"/>
                      </a:lnTo>
                      <a:lnTo>
                        <a:pt x="2351" y="1589"/>
                      </a:lnTo>
                      <a:lnTo>
                        <a:pt x="2346" y="1592"/>
                      </a:lnTo>
                      <a:lnTo>
                        <a:pt x="2343" y="1597"/>
                      </a:lnTo>
                      <a:lnTo>
                        <a:pt x="2343" y="1600"/>
                      </a:lnTo>
                      <a:lnTo>
                        <a:pt x="2343" y="1606"/>
                      </a:lnTo>
                      <a:lnTo>
                        <a:pt x="2341" y="1611"/>
                      </a:lnTo>
                      <a:lnTo>
                        <a:pt x="2334" y="1614"/>
                      </a:lnTo>
                      <a:lnTo>
                        <a:pt x="2332" y="1617"/>
                      </a:lnTo>
                      <a:lnTo>
                        <a:pt x="2326" y="1619"/>
                      </a:lnTo>
                      <a:lnTo>
                        <a:pt x="2324" y="1625"/>
                      </a:lnTo>
                      <a:lnTo>
                        <a:pt x="2321" y="1625"/>
                      </a:lnTo>
                      <a:lnTo>
                        <a:pt x="2318" y="1625"/>
                      </a:lnTo>
                      <a:lnTo>
                        <a:pt x="2310" y="1625"/>
                      </a:lnTo>
                      <a:lnTo>
                        <a:pt x="2308" y="1627"/>
                      </a:lnTo>
                      <a:lnTo>
                        <a:pt x="2305" y="1633"/>
                      </a:lnTo>
                      <a:lnTo>
                        <a:pt x="2302" y="1637"/>
                      </a:lnTo>
                      <a:lnTo>
                        <a:pt x="2296" y="1630"/>
                      </a:lnTo>
                      <a:lnTo>
                        <a:pt x="2293" y="1630"/>
                      </a:lnTo>
                      <a:lnTo>
                        <a:pt x="2280" y="1637"/>
                      </a:lnTo>
                      <a:lnTo>
                        <a:pt x="2277" y="1642"/>
                      </a:lnTo>
                      <a:lnTo>
                        <a:pt x="2280" y="1645"/>
                      </a:lnTo>
                      <a:lnTo>
                        <a:pt x="2277" y="1647"/>
                      </a:lnTo>
                      <a:lnTo>
                        <a:pt x="2274" y="1650"/>
                      </a:lnTo>
                      <a:lnTo>
                        <a:pt x="2274" y="1653"/>
                      </a:lnTo>
                      <a:lnTo>
                        <a:pt x="2272" y="1650"/>
                      </a:lnTo>
                      <a:lnTo>
                        <a:pt x="2269" y="1647"/>
                      </a:lnTo>
                      <a:lnTo>
                        <a:pt x="2265" y="1647"/>
                      </a:lnTo>
                      <a:lnTo>
                        <a:pt x="2260" y="1642"/>
                      </a:lnTo>
                      <a:lnTo>
                        <a:pt x="2255" y="1647"/>
                      </a:lnTo>
                      <a:lnTo>
                        <a:pt x="2238" y="1650"/>
                      </a:lnTo>
                      <a:lnTo>
                        <a:pt x="2229" y="1655"/>
                      </a:lnTo>
                      <a:lnTo>
                        <a:pt x="2229" y="1661"/>
                      </a:lnTo>
                      <a:lnTo>
                        <a:pt x="2224" y="1666"/>
                      </a:lnTo>
                      <a:lnTo>
                        <a:pt x="2216" y="1672"/>
                      </a:lnTo>
                      <a:lnTo>
                        <a:pt x="2216" y="1675"/>
                      </a:lnTo>
                      <a:lnTo>
                        <a:pt x="2188" y="1680"/>
                      </a:lnTo>
                      <a:lnTo>
                        <a:pt x="2144" y="1691"/>
                      </a:lnTo>
                      <a:lnTo>
                        <a:pt x="2147" y="1683"/>
                      </a:lnTo>
                      <a:lnTo>
                        <a:pt x="2142" y="1678"/>
                      </a:lnTo>
                      <a:lnTo>
                        <a:pt x="2144" y="1672"/>
                      </a:lnTo>
                      <a:lnTo>
                        <a:pt x="2139" y="1669"/>
                      </a:lnTo>
                      <a:lnTo>
                        <a:pt x="2136" y="1669"/>
                      </a:lnTo>
                      <a:lnTo>
                        <a:pt x="2134" y="1669"/>
                      </a:lnTo>
                      <a:lnTo>
                        <a:pt x="2131" y="1666"/>
                      </a:lnTo>
                      <a:lnTo>
                        <a:pt x="2127" y="1663"/>
                      </a:lnTo>
                      <a:lnTo>
                        <a:pt x="2127" y="1661"/>
                      </a:lnTo>
                      <a:lnTo>
                        <a:pt x="2125" y="1658"/>
                      </a:lnTo>
                      <a:lnTo>
                        <a:pt x="2127" y="1653"/>
                      </a:lnTo>
                      <a:lnTo>
                        <a:pt x="2125" y="1650"/>
                      </a:lnTo>
                      <a:lnTo>
                        <a:pt x="2127" y="1645"/>
                      </a:lnTo>
                      <a:lnTo>
                        <a:pt x="2131" y="1645"/>
                      </a:lnTo>
                      <a:lnTo>
                        <a:pt x="2131" y="1642"/>
                      </a:lnTo>
                      <a:lnTo>
                        <a:pt x="2131" y="1639"/>
                      </a:lnTo>
                      <a:lnTo>
                        <a:pt x="2134" y="1633"/>
                      </a:lnTo>
                      <a:lnTo>
                        <a:pt x="2131" y="1633"/>
                      </a:lnTo>
                      <a:lnTo>
                        <a:pt x="2127" y="1637"/>
                      </a:lnTo>
                      <a:lnTo>
                        <a:pt x="2125" y="1633"/>
                      </a:lnTo>
                      <a:lnTo>
                        <a:pt x="2127" y="1633"/>
                      </a:lnTo>
                      <a:lnTo>
                        <a:pt x="2127" y="1630"/>
                      </a:lnTo>
                      <a:lnTo>
                        <a:pt x="2122" y="1633"/>
                      </a:lnTo>
                      <a:lnTo>
                        <a:pt x="2119" y="1630"/>
                      </a:lnTo>
                      <a:lnTo>
                        <a:pt x="2119" y="1627"/>
                      </a:lnTo>
                      <a:lnTo>
                        <a:pt x="2117" y="1630"/>
                      </a:lnTo>
                      <a:lnTo>
                        <a:pt x="2117" y="1637"/>
                      </a:lnTo>
                      <a:lnTo>
                        <a:pt x="2117" y="1630"/>
                      </a:lnTo>
                      <a:lnTo>
                        <a:pt x="2111" y="1627"/>
                      </a:lnTo>
                      <a:lnTo>
                        <a:pt x="2114" y="1625"/>
                      </a:lnTo>
                      <a:lnTo>
                        <a:pt x="2111" y="1625"/>
                      </a:lnTo>
                      <a:lnTo>
                        <a:pt x="2111" y="1627"/>
                      </a:lnTo>
                      <a:lnTo>
                        <a:pt x="2106" y="1627"/>
                      </a:lnTo>
                      <a:lnTo>
                        <a:pt x="2109" y="1630"/>
                      </a:lnTo>
                      <a:lnTo>
                        <a:pt x="2106" y="1630"/>
                      </a:lnTo>
                      <a:lnTo>
                        <a:pt x="2103" y="1630"/>
                      </a:lnTo>
                      <a:lnTo>
                        <a:pt x="2101" y="1633"/>
                      </a:lnTo>
                      <a:lnTo>
                        <a:pt x="2098" y="1630"/>
                      </a:lnTo>
                      <a:lnTo>
                        <a:pt x="2101" y="1627"/>
                      </a:lnTo>
                      <a:lnTo>
                        <a:pt x="2098" y="1627"/>
                      </a:lnTo>
                      <a:lnTo>
                        <a:pt x="2095" y="1630"/>
                      </a:lnTo>
                      <a:lnTo>
                        <a:pt x="2091" y="1627"/>
                      </a:lnTo>
                      <a:lnTo>
                        <a:pt x="2095" y="1627"/>
                      </a:lnTo>
                      <a:lnTo>
                        <a:pt x="2091" y="1627"/>
                      </a:lnTo>
                      <a:lnTo>
                        <a:pt x="2086" y="1630"/>
                      </a:lnTo>
                      <a:lnTo>
                        <a:pt x="2086" y="1637"/>
                      </a:lnTo>
                      <a:lnTo>
                        <a:pt x="2083" y="1637"/>
                      </a:lnTo>
                      <a:lnTo>
                        <a:pt x="2081" y="1633"/>
                      </a:lnTo>
                      <a:lnTo>
                        <a:pt x="2078" y="1633"/>
                      </a:lnTo>
                      <a:lnTo>
                        <a:pt x="2075" y="1637"/>
                      </a:lnTo>
                      <a:lnTo>
                        <a:pt x="2078" y="1637"/>
                      </a:lnTo>
                      <a:lnTo>
                        <a:pt x="2078" y="1633"/>
                      </a:lnTo>
                      <a:lnTo>
                        <a:pt x="2081" y="1639"/>
                      </a:lnTo>
                      <a:lnTo>
                        <a:pt x="2078" y="1639"/>
                      </a:lnTo>
                      <a:lnTo>
                        <a:pt x="2075" y="1637"/>
                      </a:lnTo>
                      <a:lnTo>
                        <a:pt x="2075" y="1633"/>
                      </a:lnTo>
                      <a:lnTo>
                        <a:pt x="2073" y="1633"/>
                      </a:lnTo>
                      <a:lnTo>
                        <a:pt x="2067" y="1639"/>
                      </a:lnTo>
                      <a:lnTo>
                        <a:pt x="2062" y="1637"/>
                      </a:lnTo>
                      <a:lnTo>
                        <a:pt x="2056" y="1630"/>
                      </a:lnTo>
                      <a:lnTo>
                        <a:pt x="2050" y="1633"/>
                      </a:lnTo>
                      <a:lnTo>
                        <a:pt x="2050" y="1630"/>
                      </a:lnTo>
                      <a:lnTo>
                        <a:pt x="2048" y="1630"/>
                      </a:lnTo>
                      <a:lnTo>
                        <a:pt x="2050" y="1625"/>
                      </a:lnTo>
                      <a:lnTo>
                        <a:pt x="2045" y="1625"/>
                      </a:lnTo>
                      <a:lnTo>
                        <a:pt x="2042" y="1625"/>
                      </a:lnTo>
                      <a:lnTo>
                        <a:pt x="2037" y="1627"/>
                      </a:lnTo>
                      <a:lnTo>
                        <a:pt x="2034" y="1627"/>
                      </a:lnTo>
                      <a:lnTo>
                        <a:pt x="2037" y="1633"/>
                      </a:lnTo>
                      <a:lnTo>
                        <a:pt x="2032" y="1633"/>
                      </a:lnTo>
                      <a:lnTo>
                        <a:pt x="2032" y="1630"/>
                      </a:lnTo>
                      <a:lnTo>
                        <a:pt x="2029" y="1633"/>
                      </a:lnTo>
                      <a:lnTo>
                        <a:pt x="2025" y="1630"/>
                      </a:lnTo>
                      <a:lnTo>
                        <a:pt x="2022" y="1630"/>
                      </a:lnTo>
                      <a:lnTo>
                        <a:pt x="2025" y="1627"/>
                      </a:lnTo>
                      <a:lnTo>
                        <a:pt x="2025" y="1625"/>
                      </a:lnTo>
                      <a:lnTo>
                        <a:pt x="2020" y="1625"/>
                      </a:lnTo>
                      <a:lnTo>
                        <a:pt x="2020" y="1622"/>
                      </a:lnTo>
                      <a:lnTo>
                        <a:pt x="2017" y="1622"/>
                      </a:lnTo>
                      <a:lnTo>
                        <a:pt x="2014" y="1619"/>
                      </a:lnTo>
                      <a:lnTo>
                        <a:pt x="2012" y="1622"/>
                      </a:lnTo>
                      <a:lnTo>
                        <a:pt x="2009" y="1619"/>
                      </a:lnTo>
                      <a:lnTo>
                        <a:pt x="2004" y="1622"/>
                      </a:lnTo>
                      <a:lnTo>
                        <a:pt x="2001" y="1614"/>
                      </a:lnTo>
                      <a:lnTo>
                        <a:pt x="1998" y="1619"/>
                      </a:lnTo>
                      <a:lnTo>
                        <a:pt x="1996" y="1617"/>
                      </a:lnTo>
                      <a:lnTo>
                        <a:pt x="1989" y="1619"/>
                      </a:lnTo>
                      <a:lnTo>
                        <a:pt x="1984" y="1617"/>
                      </a:lnTo>
                      <a:lnTo>
                        <a:pt x="1981" y="1622"/>
                      </a:lnTo>
                      <a:lnTo>
                        <a:pt x="1979" y="1617"/>
                      </a:lnTo>
                      <a:lnTo>
                        <a:pt x="1973" y="1617"/>
                      </a:lnTo>
                      <a:lnTo>
                        <a:pt x="1973" y="1614"/>
                      </a:lnTo>
                      <a:lnTo>
                        <a:pt x="1971" y="1617"/>
                      </a:lnTo>
                      <a:lnTo>
                        <a:pt x="1968" y="1617"/>
                      </a:lnTo>
                      <a:lnTo>
                        <a:pt x="1971" y="1614"/>
                      </a:lnTo>
                      <a:lnTo>
                        <a:pt x="1968" y="1614"/>
                      </a:lnTo>
                      <a:lnTo>
                        <a:pt x="1968" y="1611"/>
                      </a:lnTo>
                      <a:lnTo>
                        <a:pt x="1963" y="1614"/>
                      </a:lnTo>
                      <a:lnTo>
                        <a:pt x="1956" y="1611"/>
                      </a:lnTo>
                      <a:lnTo>
                        <a:pt x="1953" y="1609"/>
                      </a:lnTo>
                      <a:lnTo>
                        <a:pt x="1948" y="1609"/>
                      </a:lnTo>
                      <a:lnTo>
                        <a:pt x="1943" y="1611"/>
                      </a:lnTo>
                      <a:lnTo>
                        <a:pt x="1940" y="1609"/>
                      </a:lnTo>
                      <a:lnTo>
                        <a:pt x="1935" y="1603"/>
                      </a:lnTo>
                      <a:lnTo>
                        <a:pt x="1932" y="1609"/>
                      </a:lnTo>
                      <a:lnTo>
                        <a:pt x="1927" y="1606"/>
                      </a:lnTo>
                      <a:lnTo>
                        <a:pt x="1929" y="1606"/>
                      </a:lnTo>
                      <a:lnTo>
                        <a:pt x="1929" y="1603"/>
                      </a:lnTo>
                      <a:lnTo>
                        <a:pt x="1920" y="1606"/>
                      </a:lnTo>
                      <a:lnTo>
                        <a:pt x="1918" y="1609"/>
                      </a:lnTo>
                      <a:lnTo>
                        <a:pt x="1920" y="1609"/>
                      </a:lnTo>
                      <a:lnTo>
                        <a:pt x="1918" y="1611"/>
                      </a:lnTo>
                      <a:lnTo>
                        <a:pt x="1915" y="1606"/>
                      </a:lnTo>
                      <a:lnTo>
                        <a:pt x="1912" y="1606"/>
                      </a:lnTo>
                      <a:lnTo>
                        <a:pt x="1912" y="1609"/>
                      </a:lnTo>
                      <a:lnTo>
                        <a:pt x="1910" y="1606"/>
                      </a:lnTo>
                      <a:lnTo>
                        <a:pt x="1907" y="1609"/>
                      </a:lnTo>
                      <a:lnTo>
                        <a:pt x="1899" y="1606"/>
                      </a:lnTo>
                      <a:lnTo>
                        <a:pt x="1899" y="1603"/>
                      </a:lnTo>
                      <a:lnTo>
                        <a:pt x="1896" y="1609"/>
                      </a:lnTo>
                      <a:lnTo>
                        <a:pt x="1894" y="1609"/>
                      </a:lnTo>
                      <a:lnTo>
                        <a:pt x="1894" y="1606"/>
                      </a:lnTo>
                      <a:lnTo>
                        <a:pt x="1891" y="1609"/>
                      </a:lnTo>
                      <a:lnTo>
                        <a:pt x="1887" y="1609"/>
                      </a:lnTo>
                      <a:lnTo>
                        <a:pt x="1891" y="1603"/>
                      </a:lnTo>
                      <a:lnTo>
                        <a:pt x="1885" y="1603"/>
                      </a:lnTo>
                      <a:lnTo>
                        <a:pt x="1885" y="1606"/>
                      </a:lnTo>
                      <a:lnTo>
                        <a:pt x="1879" y="1603"/>
                      </a:lnTo>
                      <a:lnTo>
                        <a:pt x="1876" y="1609"/>
                      </a:lnTo>
                      <a:lnTo>
                        <a:pt x="1876" y="1606"/>
                      </a:lnTo>
                      <a:lnTo>
                        <a:pt x="1874" y="1606"/>
                      </a:lnTo>
                      <a:lnTo>
                        <a:pt x="1871" y="1600"/>
                      </a:lnTo>
                      <a:lnTo>
                        <a:pt x="1868" y="1603"/>
                      </a:lnTo>
                      <a:lnTo>
                        <a:pt x="1871" y="1606"/>
                      </a:lnTo>
                      <a:lnTo>
                        <a:pt x="1868" y="1606"/>
                      </a:lnTo>
                      <a:lnTo>
                        <a:pt x="1866" y="1600"/>
                      </a:lnTo>
                      <a:lnTo>
                        <a:pt x="1863" y="1603"/>
                      </a:lnTo>
                      <a:lnTo>
                        <a:pt x="1860" y="1597"/>
                      </a:lnTo>
                      <a:lnTo>
                        <a:pt x="1858" y="1597"/>
                      </a:lnTo>
                      <a:lnTo>
                        <a:pt x="1855" y="1603"/>
                      </a:lnTo>
                      <a:lnTo>
                        <a:pt x="1846" y="1603"/>
                      </a:lnTo>
                      <a:lnTo>
                        <a:pt x="1846" y="1609"/>
                      </a:lnTo>
                      <a:lnTo>
                        <a:pt x="1843" y="1606"/>
                      </a:lnTo>
                      <a:lnTo>
                        <a:pt x="1843" y="1609"/>
                      </a:lnTo>
                      <a:lnTo>
                        <a:pt x="1841" y="1609"/>
                      </a:lnTo>
                      <a:lnTo>
                        <a:pt x="1838" y="1606"/>
                      </a:lnTo>
                      <a:lnTo>
                        <a:pt x="1835" y="1609"/>
                      </a:lnTo>
                      <a:lnTo>
                        <a:pt x="1835" y="1611"/>
                      </a:lnTo>
                      <a:lnTo>
                        <a:pt x="1833" y="1609"/>
                      </a:lnTo>
                      <a:lnTo>
                        <a:pt x="1827" y="1609"/>
                      </a:lnTo>
                      <a:lnTo>
                        <a:pt x="1827" y="1603"/>
                      </a:lnTo>
                      <a:lnTo>
                        <a:pt x="1825" y="1606"/>
                      </a:lnTo>
                      <a:lnTo>
                        <a:pt x="1818" y="1603"/>
                      </a:lnTo>
                      <a:lnTo>
                        <a:pt x="1810" y="1603"/>
                      </a:lnTo>
                      <a:lnTo>
                        <a:pt x="1810" y="1609"/>
                      </a:lnTo>
                      <a:lnTo>
                        <a:pt x="1807" y="1609"/>
                      </a:lnTo>
                      <a:lnTo>
                        <a:pt x="1805" y="1609"/>
                      </a:lnTo>
                      <a:lnTo>
                        <a:pt x="1805" y="1606"/>
                      </a:lnTo>
                      <a:lnTo>
                        <a:pt x="1791" y="1603"/>
                      </a:lnTo>
                      <a:lnTo>
                        <a:pt x="1791" y="1606"/>
                      </a:lnTo>
                      <a:lnTo>
                        <a:pt x="1791" y="1609"/>
                      </a:lnTo>
                      <a:lnTo>
                        <a:pt x="1786" y="1606"/>
                      </a:lnTo>
                      <a:lnTo>
                        <a:pt x="1780" y="1606"/>
                      </a:lnTo>
                      <a:lnTo>
                        <a:pt x="1780" y="1611"/>
                      </a:lnTo>
                      <a:lnTo>
                        <a:pt x="1777" y="1609"/>
                      </a:lnTo>
                      <a:lnTo>
                        <a:pt x="1772" y="1611"/>
                      </a:lnTo>
                      <a:lnTo>
                        <a:pt x="1761" y="1609"/>
                      </a:lnTo>
                      <a:lnTo>
                        <a:pt x="1758" y="1614"/>
                      </a:lnTo>
                      <a:lnTo>
                        <a:pt x="1755" y="1611"/>
                      </a:lnTo>
                      <a:lnTo>
                        <a:pt x="1749" y="1614"/>
                      </a:lnTo>
                      <a:lnTo>
                        <a:pt x="1746" y="1617"/>
                      </a:lnTo>
                      <a:lnTo>
                        <a:pt x="1744" y="1614"/>
                      </a:lnTo>
                      <a:lnTo>
                        <a:pt x="1738" y="1619"/>
                      </a:lnTo>
                      <a:lnTo>
                        <a:pt x="1736" y="1614"/>
                      </a:lnTo>
                      <a:lnTo>
                        <a:pt x="1730" y="1619"/>
                      </a:lnTo>
                      <a:lnTo>
                        <a:pt x="1728" y="1617"/>
                      </a:lnTo>
                      <a:lnTo>
                        <a:pt x="1730" y="1614"/>
                      </a:lnTo>
                      <a:lnTo>
                        <a:pt x="1728" y="1614"/>
                      </a:lnTo>
                      <a:lnTo>
                        <a:pt x="1725" y="1609"/>
                      </a:lnTo>
                      <a:lnTo>
                        <a:pt x="1722" y="1603"/>
                      </a:lnTo>
                      <a:lnTo>
                        <a:pt x="1720" y="1603"/>
                      </a:lnTo>
                      <a:lnTo>
                        <a:pt x="1720" y="1606"/>
                      </a:lnTo>
                      <a:lnTo>
                        <a:pt x="1717" y="1603"/>
                      </a:lnTo>
                      <a:lnTo>
                        <a:pt x="1717" y="1600"/>
                      </a:lnTo>
                      <a:lnTo>
                        <a:pt x="1711" y="1603"/>
                      </a:lnTo>
                      <a:lnTo>
                        <a:pt x="1708" y="1600"/>
                      </a:lnTo>
                      <a:lnTo>
                        <a:pt x="1705" y="1600"/>
                      </a:lnTo>
                      <a:lnTo>
                        <a:pt x="1705" y="1597"/>
                      </a:lnTo>
                      <a:lnTo>
                        <a:pt x="1700" y="1597"/>
                      </a:lnTo>
                      <a:lnTo>
                        <a:pt x="1700" y="1600"/>
                      </a:lnTo>
                      <a:lnTo>
                        <a:pt x="1692" y="1600"/>
                      </a:lnTo>
                      <a:lnTo>
                        <a:pt x="1689" y="1600"/>
                      </a:lnTo>
                      <a:lnTo>
                        <a:pt x="1684" y="1597"/>
                      </a:lnTo>
                      <a:lnTo>
                        <a:pt x="1680" y="1600"/>
                      </a:lnTo>
                      <a:lnTo>
                        <a:pt x="1677" y="1597"/>
                      </a:lnTo>
                      <a:lnTo>
                        <a:pt x="1675" y="1600"/>
                      </a:lnTo>
                      <a:lnTo>
                        <a:pt x="1672" y="1597"/>
                      </a:lnTo>
                      <a:lnTo>
                        <a:pt x="1664" y="1594"/>
                      </a:lnTo>
                      <a:lnTo>
                        <a:pt x="1659" y="1597"/>
                      </a:lnTo>
                      <a:lnTo>
                        <a:pt x="1656" y="1600"/>
                      </a:lnTo>
                      <a:lnTo>
                        <a:pt x="1653" y="1597"/>
                      </a:lnTo>
                      <a:lnTo>
                        <a:pt x="1651" y="1597"/>
                      </a:lnTo>
                      <a:lnTo>
                        <a:pt x="1642" y="1597"/>
                      </a:lnTo>
                      <a:lnTo>
                        <a:pt x="1642" y="1603"/>
                      </a:lnTo>
                      <a:lnTo>
                        <a:pt x="1639" y="1603"/>
                      </a:lnTo>
                      <a:lnTo>
                        <a:pt x="1636" y="1603"/>
                      </a:lnTo>
                      <a:lnTo>
                        <a:pt x="1634" y="1609"/>
                      </a:lnTo>
                      <a:lnTo>
                        <a:pt x="1631" y="1606"/>
                      </a:lnTo>
                      <a:lnTo>
                        <a:pt x="1628" y="1611"/>
                      </a:lnTo>
                      <a:lnTo>
                        <a:pt x="1626" y="1609"/>
                      </a:lnTo>
                      <a:lnTo>
                        <a:pt x="1623" y="1614"/>
                      </a:lnTo>
                      <a:lnTo>
                        <a:pt x="1623" y="1611"/>
                      </a:lnTo>
                      <a:lnTo>
                        <a:pt x="1620" y="1614"/>
                      </a:lnTo>
                      <a:lnTo>
                        <a:pt x="1618" y="1617"/>
                      </a:lnTo>
                      <a:lnTo>
                        <a:pt x="1611" y="1617"/>
                      </a:lnTo>
                      <a:lnTo>
                        <a:pt x="1611" y="1619"/>
                      </a:lnTo>
                      <a:lnTo>
                        <a:pt x="1608" y="1617"/>
                      </a:lnTo>
                      <a:lnTo>
                        <a:pt x="1608" y="1619"/>
                      </a:lnTo>
                      <a:lnTo>
                        <a:pt x="1603" y="1619"/>
                      </a:lnTo>
                      <a:lnTo>
                        <a:pt x="1606" y="1622"/>
                      </a:lnTo>
                      <a:lnTo>
                        <a:pt x="1603" y="1619"/>
                      </a:lnTo>
                      <a:lnTo>
                        <a:pt x="1600" y="1622"/>
                      </a:lnTo>
                      <a:lnTo>
                        <a:pt x="1598" y="1622"/>
                      </a:lnTo>
                      <a:lnTo>
                        <a:pt x="1598" y="1625"/>
                      </a:lnTo>
                      <a:lnTo>
                        <a:pt x="1595" y="1625"/>
                      </a:lnTo>
                      <a:lnTo>
                        <a:pt x="1592" y="1625"/>
                      </a:lnTo>
                      <a:lnTo>
                        <a:pt x="1590" y="1625"/>
                      </a:lnTo>
                      <a:lnTo>
                        <a:pt x="1590" y="1622"/>
                      </a:lnTo>
                      <a:lnTo>
                        <a:pt x="1587" y="1625"/>
                      </a:lnTo>
                      <a:lnTo>
                        <a:pt x="1587" y="1622"/>
                      </a:lnTo>
                      <a:lnTo>
                        <a:pt x="1584" y="1627"/>
                      </a:lnTo>
                      <a:lnTo>
                        <a:pt x="1582" y="1627"/>
                      </a:lnTo>
                      <a:lnTo>
                        <a:pt x="1584" y="1625"/>
                      </a:lnTo>
                      <a:lnTo>
                        <a:pt x="1578" y="1627"/>
                      </a:lnTo>
                      <a:lnTo>
                        <a:pt x="1578" y="1633"/>
                      </a:lnTo>
                      <a:lnTo>
                        <a:pt x="1578" y="1630"/>
                      </a:lnTo>
                      <a:lnTo>
                        <a:pt x="1575" y="1630"/>
                      </a:lnTo>
                      <a:lnTo>
                        <a:pt x="1575" y="1633"/>
                      </a:lnTo>
                      <a:lnTo>
                        <a:pt x="1573" y="1633"/>
                      </a:lnTo>
                      <a:lnTo>
                        <a:pt x="1570" y="1639"/>
                      </a:lnTo>
                      <a:lnTo>
                        <a:pt x="1567" y="1639"/>
                      </a:lnTo>
                      <a:lnTo>
                        <a:pt x="1565" y="1642"/>
                      </a:lnTo>
                      <a:lnTo>
                        <a:pt x="1559" y="1645"/>
                      </a:lnTo>
                      <a:lnTo>
                        <a:pt x="1559" y="1647"/>
                      </a:lnTo>
                      <a:lnTo>
                        <a:pt x="1557" y="1645"/>
                      </a:lnTo>
                      <a:lnTo>
                        <a:pt x="1557" y="1647"/>
                      </a:lnTo>
                      <a:lnTo>
                        <a:pt x="1554" y="1647"/>
                      </a:lnTo>
                      <a:lnTo>
                        <a:pt x="1551" y="1645"/>
                      </a:lnTo>
                      <a:lnTo>
                        <a:pt x="1551" y="1647"/>
                      </a:lnTo>
                      <a:lnTo>
                        <a:pt x="1546" y="1647"/>
                      </a:lnTo>
                      <a:lnTo>
                        <a:pt x="1546" y="1650"/>
                      </a:lnTo>
                      <a:lnTo>
                        <a:pt x="1542" y="1653"/>
                      </a:lnTo>
                      <a:lnTo>
                        <a:pt x="1537" y="1650"/>
                      </a:lnTo>
                      <a:lnTo>
                        <a:pt x="1531" y="1650"/>
                      </a:lnTo>
                      <a:lnTo>
                        <a:pt x="1529" y="1650"/>
                      </a:lnTo>
                      <a:lnTo>
                        <a:pt x="1526" y="1647"/>
                      </a:lnTo>
                      <a:lnTo>
                        <a:pt x="1518" y="1650"/>
                      </a:lnTo>
                      <a:lnTo>
                        <a:pt x="1515" y="1650"/>
                      </a:lnTo>
                      <a:lnTo>
                        <a:pt x="1513" y="1655"/>
                      </a:lnTo>
                      <a:lnTo>
                        <a:pt x="1509" y="1653"/>
                      </a:lnTo>
                      <a:lnTo>
                        <a:pt x="1506" y="1653"/>
                      </a:lnTo>
                      <a:lnTo>
                        <a:pt x="1504" y="1655"/>
                      </a:lnTo>
                      <a:lnTo>
                        <a:pt x="1496" y="1658"/>
                      </a:lnTo>
                      <a:lnTo>
                        <a:pt x="1490" y="1655"/>
                      </a:lnTo>
                      <a:lnTo>
                        <a:pt x="1485" y="1658"/>
                      </a:lnTo>
                      <a:lnTo>
                        <a:pt x="1482" y="1655"/>
                      </a:lnTo>
                      <a:lnTo>
                        <a:pt x="1480" y="1653"/>
                      </a:lnTo>
                      <a:lnTo>
                        <a:pt x="1471" y="1655"/>
                      </a:lnTo>
                      <a:lnTo>
                        <a:pt x="1468" y="1653"/>
                      </a:lnTo>
                      <a:lnTo>
                        <a:pt x="1468" y="1650"/>
                      </a:lnTo>
                      <a:lnTo>
                        <a:pt x="1465" y="1650"/>
                      </a:lnTo>
                      <a:lnTo>
                        <a:pt x="1460" y="1647"/>
                      </a:lnTo>
                      <a:lnTo>
                        <a:pt x="1457" y="1650"/>
                      </a:lnTo>
                      <a:lnTo>
                        <a:pt x="1457" y="1647"/>
                      </a:lnTo>
                      <a:lnTo>
                        <a:pt x="1452" y="1645"/>
                      </a:lnTo>
                      <a:lnTo>
                        <a:pt x="1449" y="1647"/>
                      </a:lnTo>
                      <a:lnTo>
                        <a:pt x="1446" y="1645"/>
                      </a:lnTo>
                      <a:lnTo>
                        <a:pt x="1444" y="1645"/>
                      </a:lnTo>
                      <a:lnTo>
                        <a:pt x="1446" y="1642"/>
                      </a:lnTo>
                      <a:lnTo>
                        <a:pt x="1440" y="1630"/>
                      </a:lnTo>
                      <a:lnTo>
                        <a:pt x="1432" y="1625"/>
                      </a:lnTo>
                      <a:lnTo>
                        <a:pt x="1429" y="1617"/>
                      </a:lnTo>
                      <a:lnTo>
                        <a:pt x="1424" y="1614"/>
                      </a:lnTo>
                      <a:lnTo>
                        <a:pt x="1421" y="1614"/>
                      </a:lnTo>
                      <a:lnTo>
                        <a:pt x="1419" y="1609"/>
                      </a:lnTo>
                      <a:lnTo>
                        <a:pt x="1413" y="1609"/>
                      </a:lnTo>
                      <a:lnTo>
                        <a:pt x="1413" y="1606"/>
                      </a:lnTo>
                      <a:lnTo>
                        <a:pt x="1408" y="1603"/>
                      </a:lnTo>
                      <a:lnTo>
                        <a:pt x="1371" y="1627"/>
                      </a:lnTo>
                      <a:lnTo>
                        <a:pt x="1368" y="1509"/>
                      </a:lnTo>
                      <a:lnTo>
                        <a:pt x="1368" y="1404"/>
                      </a:lnTo>
                      <a:lnTo>
                        <a:pt x="1368" y="1363"/>
                      </a:lnTo>
                      <a:lnTo>
                        <a:pt x="1368" y="1241"/>
                      </a:lnTo>
                      <a:lnTo>
                        <a:pt x="1371" y="1195"/>
                      </a:lnTo>
                      <a:lnTo>
                        <a:pt x="1371" y="1136"/>
                      </a:lnTo>
                      <a:lnTo>
                        <a:pt x="1371" y="1134"/>
                      </a:lnTo>
                      <a:lnTo>
                        <a:pt x="1375" y="1126"/>
                      </a:lnTo>
                      <a:lnTo>
                        <a:pt x="1380" y="1126"/>
                      </a:lnTo>
                      <a:lnTo>
                        <a:pt x="1383" y="1128"/>
                      </a:lnTo>
                      <a:lnTo>
                        <a:pt x="1385" y="1120"/>
                      </a:lnTo>
                      <a:lnTo>
                        <a:pt x="1388" y="1118"/>
                      </a:lnTo>
                      <a:lnTo>
                        <a:pt x="1396" y="1120"/>
                      </a:lnTo>
                      <a:lnTo>
                        <a:pt x="1402" y="1118"/>
                      </a:lnTo>
                      <a:lnTo>
                        <a:pt x="1404" y="1111"/>
                      </a:lnTo>
                      <a:lnTo>
                        <a:pt x="1404" y="1103"/>
                      </a:lnTo>
                      <a:lnTo>
                        <a:pt x="1408" y="1103"/>
                      </a:lnTo>
                      <a:lnTo>
                        <a:pt x="1408" y="1098"/>
                      </a:lnTo>
                      <a:lnTo>
                        <a:pt x="1411" y="1095"/>
                      </a:lnTo>
                      <a:lnTo>
                        <a:pt x="1408" y="1093"/>
                      </a:lnTo>
                      <a:lnTo>
                        <a:pt x="1411" y="1090"/>
                      </a:lnTo>
                      <a:lnTo>
                        <a:pt x="1408" y="1090"/>
                      </a:lnTo>
                      <a:lnTo>
                        <a:pt x="1402" y="1075"/>
                      </a:lnTo>
                      <a:lnTo>
                        <a:pt x="1399" y="1075"/>
                      </a:lnTo>
                      <a:lnTo>
                        <a:pt x="1399" y="1070"/>
                      </a:lnTo>
                      <a:lnTo>
                        <a:pt x="1393" y="1070"/>
                      </a:lnTo>
                      <a:lnTo>
                        <a:pt x="1388" y="1065"/>
                      </a:lnTo>
                      <a:lnTo>
                        <a:pt x="1391" y="1062"/>
                      </a:lnTo>
                      <a:lnTo>
                        <a:pt x="1385" y="1059"/>
                      </a:lnTo>
                      <a:lnTo>
                        <a:pt x="1380" y="1046"/>
                      </a:lnTo>
                      <a:lnTo>
                        <a:pt x="1383" y="1042"/>
                      </a:lnTo>
                      <a:lnTo>
                        <a:pt x="1385" y="1037"/>
                      </a:lnTo>
                      <a:lnTo>
                        <a:pt x="1383" y="1037"/>
                      </a:lnTo>
                      <a:lnTo>
                        <a:pt x="1385" y="1034"/>
                      </a:lnTo>
                      <a:lnTo>
                        <a:pt x="1385" y="1029"/>
                      </a:lnTo>
                      <a:lnTo>
                        <a:pt x="1380" y="1026"/>
                      </a:lnTo>
                      <a:lnTo>
                        <a:pt x="1380" y="1024"/>
                      </a:lnTo>
                      <a:lnTo>
                        <a:pt x="1385" y="1021"/>
                      </a:lnTo>
                      <a:lnTo>
                        <a:pt x="1383" y="1029"/>
                      </a:lnTo>
                      <a:lnTo>
                        <a:pt x="1385" y="1029"/>
                      </a:lnTo>
                      <a:lnTo>
                        <a:pt x="1388" y="1026"/>
                      </a:lnTo>
                      <a:lnTo>
                        <a:pt x="1393" y="1032"/>
                      </a:lnTo>
                      <a:lnTo>
                        <a:pt x="1396" y="1032"/>
                      </a:lnTo>
                      <a:lnTo>
                        <a:pt x="1399" y="1029"/>
                      </a:lnTo>
                      <a:lnTo>
                        <a:pt x="1396" y="1024"/>
                      </a:lnTo>
                      <a:lnTo>
                        <a:pt x="1391" y="1024"/>
                      </a:lnTo>
                      <a:lnTo>
                        <a:pt x="1391" y="1021"/>
                      </a:lnTo>
                      <a:lnTo>
                        <a:pt x="1393" y="1018"/>
                      </a:lnTo>
                      <a:lnTo>
                        <a:pt x="1391" y="1013"/>
                      </a:lnTo>
                      <a:lnTo>
                        <a:pt x="1393" y="1013"/>
                      </a:lnTo>
                      <a:lnTo>
                        <a:pt x="1396" y="1016"/>
                      </a:lnTo>
                      <a:lnTo>
                        <a:pt x="1402" y="1016"/>
                      </a:lnTo>
                      <a:lnTo>
                        <a:pt x="1404" y="1016"/>
                      </a:lnTo>
                      <a:lnTo>
                        <a:pt x="1404" y="1013"/>
                      </a:lnTo>
                      <a:lnTo>
                        <a:pt x="1402" y="1013"/>
                      </a:lnTo>
                      <a:lnTo>
                        <a:pt x="1402" y="1004"/>
                      </a:lnTo>
                      <a:lnTo>
                        <a:pt x="1408" y="1007"/>
                      </a:lnTo>
                      <a:lnTo>
                        <a:pt x="1408" y="1001"/>
                      </a:lnTo>
                      <a:lnTo>
                        <a:pt x="1411" y="1001"/>
                      </a:lnTo>
                      <a:lnTo>
                        <a:pt x="1416" y="996"/>
                      </a:lnTo>
                      <a:lnTo>
                        <a:pt x="1419" y="1001"/>
                      </a:lnTo>
                      <a:lnTo>
                        <a:pt x="1419" y="998"/>
                      </a:lnTo>
                      <a:lnTo>
                        <a:pt x="1413" y="990"/>
                      </a:lnTo>
                      <a:lnTo>
                        <a:pt x="1411" y="985"/>
                      </a:lnTo>
                      <a:lnTo>
                        <a:pt x="1413" y="982"/>
                      </a:lnTo>
                      <a:lnTo>
                        <a:pt x="1416" y="985"/>
                      </a:lnTo>
                      <a:lnTo>
                        <a:pt x="1419" y="985"/>
                      </a:lnTo>
                      <a:lnTo>
                        <a:pt x="1416" y="977"/>
                      </a:lnTo>
                      <a:lnTo>
                        <a:pt x="1419" y="977"/>
                      </a:lnTo>
                      <a:lnTo>
                        <a:pt x="1421" y="977"/>
                      </a:lnTo>
                      <a:lnTo>
                        <a:pt x="1424" y="968"/>
                      </a:lnTo>
                      <a:lnTo>
                        <a:pt x="1421" y="971"/>
                      </a:lnTo>
                      <a:lnTo>
                        <a:pt x="1419" y="968"/>
                      </a:lnTo>
                      <a:lnTo>
                        <a:pt x="1413" y="971"/>
                      </a:lnTo>
                      <a:lnTo>
                        <a:pt x="1413" y="974"/>
                      </a:lnTo>
                      <a:lnTo>
                        <a:pt x="1411" y="974"/>
                      </a:lnTo>
                      <a:lnTo>
                        <a:pt x="1411" y="971"/>
                      </a:lnTo>
                      <a:lnTo>
                        <a:pt x="1404" y="974"/>
                      </a:lnTo>
                      <a:lnTo>
                        <a:pt x="1404" y="971"/>
                      </a:lnTo>
                      <a:lnTo>
                        <a:pt x="1402" y="968"/>
                      </a:lnTo>
                      <a:lnTo>
                        <a:pt x="1399" y="974"/>
                      </a:lnTo>
                      <a:lnTo>
                        <a:pt x="1396" y="974"/>
                      </a:lnTo>
                      <a:lnTo>
                        <a:pt x="1396" y="971"/>
                      </a:lnTo>
                      <a:lnTo>
                        <a:pt x="1393" y="971"/>
                      </a:lnTo>
                      <a:lnTo>
                        <a:pt x="1391" y="971"/>
                      </a:lnTo>
                      <a:lnTo>
                        <a:pt x="1391" y="974"/>
                      </a:lnTo>
                      <a:lnTo>
                        <a:pt x="1385" y="977"/>
                      </a:lnTo>
                      <a:lnTo>
                        <a:pt x="1383" y="977"/>
                      </a:lnTo>
                      <a:lnTo>
                        <a:pt x="1380" y="982"/>
                      </a:lnTo>
                      <a:lnTo>
                        <a:pt x="1377" y="982"/>
                      </a:lnTo>
                      <a:lnTo>
                        <a:pt x="1375" y="982"/>
                      </a:lnTo>
                      <a:lnTo>
                        <a:pt x="1375" y="988"/>
                      </a:lnTo>
                      <a:lnTo>
                        <a:pt x="1375" y="990"/>
                      </a:lnTo>
                      <a:lnTo>
                        <a:pt x="1371" y="988"/>
                      </a:lnTo>
                      <a:lnTo>
                        <a:pt x="1368" y="990"/>
                      </a:lnTo>
                      <a:lnTo>
                        <a:pt x="1366" y="993"/>
                      </a:lnTo>
                      <a:lnTo>
                        <a:pt x="1366" y="996"/>
                      </a:lnTo>
                      <a:lnTo>
                        <a:pt x="1366" y="998"/>
                      </a:lnTo>
                      <a:lnTo>
                        <a:pt x="1366" y="1001"/>
                      </a:lnTo>
                      <a:lnTo>
                        <a:pt x="1360" y="998"/>
                      </a:lnTo>
                      <a:lnTo>
                        <a:pt x="1363" y="1001"/>
                      </a:lnTo>
                      <a:lnTo>
                        <a:pt x="1358" y="1001"/>
                      </a:lnTo>
                      <a:lnTo>
                        <a:pt x="1358" y="1004"/>
                      </a:lnTo>
                      <a:lnTo>
                        <a:pt x="1358" y="1007"/>
                      </a:lnTo>
                      <a:lnTo>
                        <a:pt x="1358" y="1004"/>
                      </a:lnTo>
                      <a:lnTo>
                        <a:pt x="1355" y="1007"/>
                      </a:lnTo>
                      <a:lnTo>
                        <a:pt x="1358" y="1007"/>
                      </a:lnTo>
                      <a:lnTo>
                        <a:pt x="1355" y="1007"/>
                      </a:lnTo>
                      <a:lnTo>
                        <a:pt x="1355" y="1010"/>
                      </a:lnTo>
                      <a:lnTo>
                        <a:pt x="1352" y="1007"/>
                      </a:lnTo>
                      <a:lnTo>
                        <a:pt x="1350" y="1013"/>
                      </a:lnTo>
                      <a:lnTo>
                        <a:pt x="1347" y="1013"/>
                      </a:lnTo>
                      <a:lnTo>
                        <a:pt x="1347" y="1016"/>
                      </a:lnTo>
                      <a:lnTo>
                        <a:pt x="1344" y="1013"/>
                      </a:lnTo>
                      <a:lnTo>
                        <a:pt x="1339" y="1018"/>
                      </a:lnTo>
                      <a:lnTo>
                        <a:pt x="1335" y="1018"/>
                      </a:lnTo>
                      <a:lnTo>
                        <a:pt x="1332" y="1021"/>
                      </a:lnTo>
                      <a:lnTo>
                        <a:pt x="1330" y="1024"/>
                      </a:lnTo>
                      <a:lnTo>
                        <a:pt x="1327" y="1024"/>
                      </a:lnTo>
                      <a:lnTo>
                        <a:pt x="1330" y="1024"/>
                      </a:lnTo>
                      <a:lnTo>
                        <a:pt x="1330" y="1026"/>
                      </a:lnTo>
                      <a:lnTo>
                        <a:pt x="1327" y="1029"/>
                      </a:lnTo>
                      <a:lnTo>
                        <a:pt x="1322" y="1024"/>
                      </a:lnTo>
                      <a:lnTo>
                        <a:pt x="1319" y="1026"/>
                      </a:lnTo>
                      <a:lnTo>
                        <a:pt x="1316" y="1029"/>
                      </a:lnTo>
                      <a:lnTo>
                        <a:pt x="1319" y="1029"/>
                      </a:lnTo>
                      <a:lnTo>
                        <a:pt x="1316" y="1032"/>
                      </a:lnTo>
                      <a:lnTo>
                        <a:pt x="1316" y="1034"/>
                      </a:lnTo>
                      <a:lnTo>
                        <a:pt x="1314" y="1032"/>
                      </a:lnTo>
                      <a:lnTo>
                        <a:pt x="1316" y="1034"/>
                      </a:lnTo>
                      <a:lnTo>
                        <a:pt x="1314" y="1034"/>
                      </a:lnTo>
                      <a:lnTo>
                        <a:pt x="1316" y="1037"/>
                      </a:lnTo>
                      <a:lnTo>
                        <a:pt x="1316" y="1042"/>
                      </a:lnTo>
                      <a:lnTo>
                        <a:pt x="1314" y="1042"/>
                      </a:lnTo>
                      <a:lnTo>
                        <a:pt x="1311" y="1042"/>
                      </a:lnTo>
                      <a:lnTo>
                        <a:pt x="1311" y="1046"/>
                      </a:lnTo>
                      <a:lnTo>
                        <a:pt x="1302" y="1049"/>
                      </a:lnTo>
                      <a:lnTo>
                        <a:pt x="1302" y="1051"/>
                      </a:lnTo>
                      <a:lnTo>
                        <a:pt x="1306" y="1051"/>
                      </a:lnTo>
                      <a:lnTo>
                        <a:pt x="1302" y="1054"/>
                      </a:lnTo>
                      <a:lnTo>
                        <a:pt x="1299" y="1057"/>
                      </a:lnTo>
                      <a:lnTo>
                        <a:pt x="1297" y="1059"/>
                      </a:lnTo>
                      <a:lnTo>
                        <a:pt x="1291" y="1059"/>
                      </a:lnTo>
                      <a:lnTo>
                        <a:pt x="1289" y="1062"/>
                      </a:lnTo>
                      <a:lnTo>
                        <a:pt x="1286" y="1059"/>
                      </a:lnTo>
                      <a:lnTo>
                        <a:pt x="1286" y="1062"/>
                      </a:lnTo>
                      <a:lnTo>
                        <a:pt x="1283" y="1059"/>
                      </a:lnTo>
                      <a:lnTo>
                        <a:pt x="1283" y="1065"/>
                      </a:lnTo>
                      <a:lnTo>
                        <a:pt x="1278" y="1067"/>
                      </a:lnTo>
                      <a:lnTo>
                        <a:pt x="1278" y="1065"/>
                      </a:lnTo>
                      <a:lnTo>
                        <a:pt x="1269" y="1070"/>
                      </a:lnTo>
                      <a:lnTo>
                        <a:pt x="1263" y="1075"/>
                      </a:lnTo>
                      <a:lnTo>
                        <a:pt x="1263" y="1079"/>
                      </a:lnTo>
                      <a:lnTo>
                        <a:pt x="1261" y="1079"/>
                      </a:lnTo>
                      <a:lnTo>
                        <a:pt x="1258" y="1090"/>
                      </a:lnTo>
                      <a:lnTo>
                        <a:pt x="1255" y="1090"/>
                      </a:lnTo>
                      <a:lnTo>
                        <a:pt x="1253" y="1095"/>
                      </a:lnTo>
                      <a:lnTo>
                        <a:pt x="1250" y="1095"/>
                      </a:lnTo>
                      <a:lnTo>
                        <a:pt x="1247" y="1101"/>
                      </a:lnTo>
                      <a:lnTo>
                        <a:pt x="1237" y="1101"/>
                      </a:lnTo>
                      <a:lnTo>
                        <a:pt x="1237" y="1103"/>
                      </a:lnTo>
                      <a:lnTo>
                        <a:pt x="1237" y="1101"/>
                      </a:lnTo>
                      <a:lnTo>
                        <a:pt x="1233" y="1106"/>
                      </a:lnTo>
                      <a:lnTo>
                        <a:pt x="1230" y="1103"/>
                      </a:lnTo>
                      <a:lnTo>
                        <a:pt x="1230" y="1106"/>
                      </a:lnTo>
                      <a:lnTo>
                        <a:pt x="1228" y="1109"/>
                      </a:lnTo>
                      <a:lnTo>
                        <a:pt x="1222" y="1123"/>
                      </a:lnTo>
                      <a:lnTo>
                        <a:pt x="1220" y="1120"/>
                      </a:lnTo>
                      <a:lnTo>
                        <a:pt x="1220" y="1128"/>
                      </a:lnTo>
                      <a:lnTo>
                        <a:pt x="1220" y="1131"/>
                      </a:lnTo>
                      <a:lnTo>
                        <a:pt x="1220" y="1134"/>
                      </a:lnTo>
                      <a:lnTo>
                        <a:pt x="1209" y="1134"/>
                      </a:lnTo>
                      <a:lnTo>
                        <a:pt x="1204" y="1131"/>
                      </a:lnTo>
                      <a:lnTo>
                        <a:pt x="1200" y="1134"/>
                      </a:lnTo>
                      <a:lnTo>
                        <a:pt x="1194" y="1134"/>
                      </a:lnTo>
                      <a:lnTo>
                        <a:pt x="1192" y="1136"/>
                      </a:lnTo>
                      <a:lnTo>
                        <a:pt x="1186" y="1136"/>
                      </a:lnTo>
                      <a:lnTo>
                        <a:pt x="1181" y="1142"/>
                      </a:lnTo>
                      <a:lnTo>
                        <a:pt x="1173" y="1147"/>
                      </a:lnTo>
                      <a:lnTo>
                        <a:pt x="1159" y="1154"/>
                      </a:lnTo>
                      <a:lnTo>
                        <a:pt x="1151" y="1159"/>
                      </a:lnTo>
                      <a:lnTo>
                        <a:pt x="1148" y="1162"/>
                      </a:lnTo>
                      <a:lnTo>
                        <a:pt x="1145" y="1164"/>
                      </a:lnTo>
                      <a:lnTo>
                        <a:pt x="1143" y="1175"/>
                      </a:lnTo>
                      <a:lnTo>
                        <a:pt x="1140" y="1178"/>
                      </a:lnTo>
                      <a:lnTo>
                        <a:pt x="1137" y="1184"/>
                      </a:lnTo>
                      <a:lnTo>
                        <a:pt x="1131" y="1189"/>
                      </a:lnTo>
                      <a:lnTo>
                        <a:pt x="1131" y="1197"/>
                      </a:lnTo>
                      <a:lnTo>
                        <a:pt x="1123" y="1197"/>
                      </a:lnTo>
                      <a:lnTo>
                        <a:pt x="1115" y="1195"/>
                      </a:lnTo>
                      <a:lnTo>
                        <a:pt x="1112" y="1195"/>
                      </a:lnTo>
                      <a:lnTo>
                        <a:pt x="1112" y="1200"/>
                      </a:lnTo>
                      <a:lnTo>
                        <a:pt x="1107" y="1200"/>
                      </a:lnTo>
                      <a:lnTo>
                        <a:pt x="1090" y="1205"/>
                      </a:lnTo>
                      <a:lnTo>
                        <a:pt x="1087" y="1205"/>
                      </a:lnTo>
                      <a:lnTo>
                        <a:pt x="1079" y="1197"/>
                      </a:lnTo>
                      <a:lnTo>
                        <a:pt x="1074" y="1200"/>
                      </a:lnTo>
                      <a:lnTo>
                        <a:pt x="1074" y="1205"/>
                      </a:lnTo>
                      <a:lnTo>
                        <a:pt x="1071" y="1205"/>
                      </a:lnTo>
                      <a:lnTo>
                        <a:pt x="1068" y="1203"/>
                      </a:lnTo>
                      <a:lnTo>
                        <a:pt x="1062" y="1211"/>
                      </a:lnTo>
                      <a:lnTo>
                        <a:pt x="949" y="1211"/>
                      </a:lnTo>
                      <a:lnTo>
                        <a:pt x="729" y="1211"/>
                      </a:lnTo>
                      <a:lnTo>
                        <a:pt x="729" y="1205"/>
                      </a:lnTo>
                      <a:lnTo>
                        <a:pt x="737" y="1203"/>
                      </a:lnTo>
                      <a:lnTo>
                        <a:pt x="739" y="1197"/>
                      </a:lnTo>
                      <a:lnTo>
                        <a:pt x="739" y="1192"/>
                      </a:lnTo>
                      <a:lnTo>
                        <a:pt x="739" y="1187"/>
                      </a:lnTo>
                      <a:lnTo>
                        <a:pt x="734" y="1184"/>
                      </a:lnTo>
                      <a:lnTo>
                        <a:pt x="731" y="1180"/>
                      </a:lnTo>
                      <a:lnTo>
                        <a:pt x="734" y="1175"/>
                      </a:lnTo>
                      <a:lnTo>
                        <a:pt x="739" y="1172"/>
                      </a:lnTo>
                      <a:lnTo>
                        <a:pt x="742" y="1164"/>
                      </a:lnTo>
                      <a:lnTo>
                        <a:pt x="747" y="1162"/>
                      </a:lnTo>
                      <a:lnTo>
                        <a:pt x="745" y="1159"/>
                      </a:lnTo>
                      <a:lnTo>
                        <a:pt x="739" y="1154"/>
                      </a:lnTo>
                      <a:lnTo>
                        <a:pt x="739" y="1142"/>
                      </a:lnTo>
                      <a:lnTo>
                        <a:pt x="737" y="1139"/>
                      </a:lnTo>
                      <a:lnTo>
                        <a:pt x="737" y="1136"/>
                      </a:lnTo>
                      <a:lnTo>
                        <a:pt x="745" y="1128"/>
                      </a:lnTo>
                      <a:lnTo>
                        <a:pt x="750" y="1126"/>
                      </a:lnTo>
                      <a:lnTo>
                        <a:pt x="739" y="1120"/>
                      </a:lnTo>
                      <a:lnTo>
                        <a:pt x="729" y="1115"/>
                      </a:lnTo>
                      <a:lnTo>
                        <a:pt x="723" y="1115"/>
                      </a:lnTo>
                      <a:lnTo>
                        <a:pt x="717" y="1111"/>
                      </a:lnTo>
                      <a:lnTo>
                        <a:pt x="714" y="1109"/>
                      </a:lnTo>
                      <a:lnTo>
                        <a:pt x="711" y="1111"/>
                      </a:lnTo>
                      <a:lnTo>
                        <a:pt x="706" y="1106"/>
                      </a:lnTo>
                      <a:lnTo>
                        <a:pt x="701" y="1106"/>
                      </a:lnTo>
                      <a:lnTo>
                        <a:pt x="701" y="1103"/>
                      </a:lnTo>
                      <a:lnTo>
                        <a:pt x="703" y="1095"/>
                      </a:lnTo>
                      <a:lnTo>
                        <a:pt x="703" y="1090"/>
                      </a:lnTo>
                      <a:lnTo>
                        <a:pt x="706" y="1082"/>
                      </a:lnTo>
                      <a:lnTo>
                        <a:pt x="706" y="1073"/>
                      </a:lnTo>
                      <a:lnTo>
                        <a:pt x="709" y="1067"/>
                      </a:lnTo>
                      <a:lnTo>
                        <a:pt x="703" y="1059"/>
                      </a:lnTo>
                      <a:lnTo>
                        <a:pt x="706" y="1049"/>
                      </a:lnTo>
                      <a:lnTo>
                        <a:pt x="703" y="1049"/>
                      </a:lnTo>
                      <a:lnTo>
                        <a:pt x="701" y="1049"/>
                      </a:lnTo>
                      <a:lnTo>
                        <a:pt x="693" y="1042"/>
                      </a:lnTo>
                      <a:lnTo>
                        <a:pt x="695" y="1018"/>
                      </a:lnTo>
                      <a:lnTo>
                        <a:pt x="690" y="1016"/>
                      </a:lnTo>
                      <a:lnTo>
                        <a:pt x="681" y="1018"/>
                      </a:lnTo>
                      <a:lnTo>
                        <a:pt x="676" y="1016"/>
                      </a:lnTo>
                      <a:lnTo>
                        <a:pt x="670" y="1018"/>
                      </a:lnTo>
                      <a:lnTo>
                        <a:pt x="668" y="1018"/>
                      </a:lnTo>
                      <a:lnTo>
                        <a:pt x="662" y="1013"/>
                      </a:lnTo>
                      <a:lnTo>
                        <a:pt x="662" y="1010"/>
                      </a:lnTo>
                      <a:lnTo>
                        <a:pt x="660" y="1010"/>
                      </a:lnTo>
                      <a:lnTo>
                        <a:pt x="660" y="1007"/>
                      </a:lnTo>
                      <a:lnTo>
                        <a:pt x="660" y="1001"/>
                      </a:lnTo>
                      <a:lnTo>
                        <a:pt x="657" y="1001"/>
                      </a:lnTo>
                      <a:lnTo>
                        <a:pt x="654" y="998"/>
                      </a:lnTo>
                      <a:lnTo>
                        <a:pt x="652" y="998"/>
                      </a:lnTo>
                      <a:lnTo>
                        <a:pt x="648" y="996"/>
                      </a:lnTo>
                      <a:lnTo>
                        <a:pt x="645" y="998"/>
                      </a:lnTo>
                      <a:lnTo>
                        <a:pt x="643" y="998"/>
                      </a:lnTo>
                      <a:lnTo>
                        <a:pt x="640" y="996"/>
                      </a:lnTo>
                      <a:lnTo>
                        <a:pt x="637" y="996"/>
                      </a:lnTo>
                      <a:lnTo>
                        <a:pt x="632" y="990"/>
                      </a:lnTo>
                      <a:lnTo>
                        <a:pt x="629" y="993"/>
                      </a:lnTo>
                      <a:lnTo>
                        <a:pt x="626" y="993"/>
                      </a:lnTo>
                      <a:lnTo>
                        <a:pt x="624" y="993"/>
                      </a:lnTo>
                      <a:lnTo>
                        <a:pt x="621" y="993"/>
                      </a:lnTo>
                      <a:lnTo>
                        <a:pt x="618" y="993"/>
                      </a:lnTo>
                      <a:lnTo>
                        <a:pt x="618" y="990"/>
                      </a:lnTo>
                      <a:lnTo>
                        <a:pt x="618" y="993"/>
                      </a:lnTo>
                      <a:lnTo>
                        <a:pt x="615" y="993"/>
                      </a:lnTo>
                      <a:lnTo>
                        <a:pt x="612" y="996"/>
                      </a:lnTo>
                      <a:lnTo>
                        <a:pt x="604" y="993"/>
                      </a:lnTo>
                      <a:lnTo>
                        <a:pt x="604" y="996"/>
                      </a:lnTo>
                      <a:lnTo>
                        <a:pt x="601" y="993"/>
                      </a:lnTo>
                      <a:lnTo>
                        <a:pt x="599" y="993"/>
                      </a:lnTo>
                      <a:lnTo>
                        <a:pt x="588" y="996"/>
                      </a:lnTo>
                      <a:lnTo>
                        <a:pt x="585" y="996"/>
                      </a:lnTo>
                      <a:lnTo>
                        <a:pt x="583" y="993"/>
                      </a:lnTo>
                      <a:lnTo>
                        <a:pt x="585" y="993"/>
                      </a:lnTo>
                      <a:lnTo>
                        <a:pt x="583" y="993"/>
                      </a:lnTo>
                      <a:lnTo>
                        <a:pt x="583" y="990"/>
                      </a:lnTo>
                      <a:lnTo>
                        <a:pt x="579" y="990"/>
                      </a:lnTo>
                      <a:lnTo>
                        <a:pt x="579" y="988"/>
                      </a:lnTo>
                      <a:lnTo>
                        <a:pt x="579" y="990"/>
                      </a:lnTo>
                      <a:lnTo>
                        <a:pt x="576" y="988"/>
                      </a:lnTo>
                      <a:lnTo>
                        <a:pt x="574" y="988"/>
                      </a:lnTo>
                      <a:lnTo>
                        <a:pt x="571" y="988"/>
                      </a:lnTo>
                      <a:lnTo>
                        <a:pt x="571" y="990"/>
                      </a:lnTo>
                      <a:lnTo>
                        <a:pt x="571" y="985"/>
                      </a:lnTo>
                      <a:lnTo>
                        <a:pt x="568" y="988"/>
                      </a:lnTo>
                      <a:lnTo>
                        <a:pt x="568" y="985"/>
                      </a:lnTo>
                      <a:lnTo>
                        <a:pt x="565" y="985"/>
                      </a:lnTo>
                      <a:lnTo>
                        <a:pt x="563" y="982"/>
                      </a:lnTo>
                      <a:lnTo>
                        <a:pt x="563" y="985"/>
                      </a:lnTo>
                      <a:lnTo>
                        <a:pt x="557" y="982"/>
                      </a:lnTo>
                      <a:lnTo>
                        <a:pt x="552" y="982"/>
                      </a:lnTo>
                      <a:lnTo>
                        <a:pt x="549" y="980"/>
                      </a:lnTo>
                      <a:lnTo>
                        <a:pt x="546" y="982"/>
                      </a:lnTo>
                      <a:lnTo>
                        <a:pt x="546" y="980"/>
                      </a:lnTo>
                      <a:lnTo>
                        <a:pt x="543" y="980"/>
                      </a:lnTo>
                      <a:lnTo>
                        <a:pt x="543" y="977"/>
                      </a:lnTo>
                      <a:lnTo>
                        <a:pt x="540" y="980"/>
                      </a:lnTo>
                      <a:lnTo>
                        <a:pt x="538" y="977"/>
                      </a:lnTo>
                      <a:lnTo>
                        <a:pt x="535" y="980"/>
                      </a:lnTo>
                      <a:lnTo>
                        <a:pt x="532" y="980"/>
                      </a:lnTo>
                      <a:lnTo>
                        <a:pt x="530" y="980"/>
                      </a:lnTo>
                      <a:lnTo>
                        <a:pt x="527" y="977"/>
                      </a:lnTo>
                      <a:lnTo>
                        <a:pt x="527" y="974"/>
                      </a:lnTo>
                      <a:lnTo>
                        <a:pt x="522" y="977"/>
                      </a:lnTo>
                      <a:lnTo>
                        <a:pt x="522" y="974"/>
                      </a:lnTo>
                      <a:lnTo>
                        <a:pt x="519" y="974"/>
                      </a:lnTo>
                      <a:lnTo>
                        <a:pt x="516" y="977"/>
                      </a:lnTo>
                      <a:lnTo>
                        <a:pt x="516" y="974"/>
                      </a:lnTo>
                      <a:lnTo>
                        <a:pt x="513" y="974"/>
                      </a:lnTo>
                      <a:lnTo>
                        <a:pt x="513" y="971"/>
                      </a:lnTo>
                      <a:lnTo>
                        <a:pt x="513" y="974"/>
                      </a:lnTo>
                      <a:lnTo>
                        <a:pt x="507" y="971"/>
                      </a:lnTo>
                      <a:lnTo>
                        <a:pt x="505" y="968"/>
                      </a:lnTo>
                      <a:lnTo>
                        <a:pt x="507" y="965"/>
                      </a:lnTo>
                      <a:lnTo>
                        <a:pt x="507" y="963"/>
                      </a:lnTo>
                      <a:lnTo>
                        <a:pt x="505" y="963"/>
                      </a:lnTo>
                      <a:lnTo>
                        <a:pt x="477" y="963"/>
                      </a:lnTo>
                      <a:lnTo>
                        <a:pt x="317" y="963"/>
                      </a:lnTo>
                      <a:lnTo>
                        <a:pt x="323" y="957"/>
                      </a:lnTo>
                      <a:lnTo>
                        <a:pt x="325" y="947"/>
                      </a:lnTo>
                      <a:lnTo>
                        <a:pt x="325" y="944"/>
                      </a:lnTo>
                      <a:lnTo>
                        <a:pt x="331" y="941"/>
                      </a:lnTo>
                      <a:lnTo>
                        <a:pt x="339" y="939"/>
                      </a:lnTo>
                      <a:lnTo>
                        <a:pt x="341" y="932"/>
                      </a:lnTo>
                      <a:lnTo>
                        <a:pt x="348" y="929"/>
                      </a:lnTo>
                      <a:lnTo>
                        <a:pt x="350" y="921"/>
                      </a:lnTo>
                      <a:lnTo>
                        <a:pt x="361" y="919"/>
                      </a:lnTo>
                      <a:lnTo>
                        <a:pt x="361" y="916"/>
                      </a:lnTo>
                      <a:lnTo>
                        <a:pt x="359" y="911"/>
                      </a:lnTo>
                      <a:lnTo>
                        <a:pt x="356" y="908"/>
                      </a:lnTo>
                      <a:lnTo>
                        <a:pt x="364" y="905"/>
                      </a:lnTo>
                      <a:lnTo>
                        <a:pt x="372" y="891"/>
                      </a:lnTo>
                      <a:lnTo>
                        <a:pt x="381" y="886"/>
                      </a:lnTo>
                      <a:lnTo>
                        <a:pt x="384" y="891"/>
                      </a:lnTo>
                      <a:lnTo>
                        <a:pt x="386" y="891"/>
                      </a:lnTo>
                      <a:lnTo>
                        <a:pt x="394" y="886"/>
                      </a:lnTo>
                      <a:lnTo>
                        <a:pt x="394" y="883"/>
                      </a:lnTo>
                      <a:lnTo>
                        <a:pt x="400" y="880"/>
                      </a:lnTo>
                      <a:lnTo>
                        <a:pt x="402" y="878"/>
                      </a:lnTo>
                      <a:lnTo>
                        <a:pt x="405" y="875"/>
                      </a:lnTo>
                      <a:lnTo>
                        <a:pt x="405" y="872"/>
                      </a:lnTo>
                      <a:lnTo>
                        <a:pt x="397" y="870"/>
                      </a:lnTo>
                      <a:lnTo>
                        <a:pt x="394" y="866"/>
                      </a:lnTo>
                      <a:lnTo>
                        <a:pt x="402" y="860"/>
                      </a:lnTo>
                      <a:lnTo>
                        <a:pt x="414" y="855"/>
                      </a:lnTo>
                      <a:lnTo>
                        <a:pt x="419" y="850"/>
                      </a:lnTo>
                      <a:lnTo>
                        <a:pt x="425" y="836"/>
                      </a:lnTo>
                      <a:lnTo>
                        <a:pt x="425" y="825"/>
                      </a:lnTo>
                      <a:lnTo>
                        <a:pt x="428" y="819"/>
                      </a:lnTo>
                      <a:lnTo>
                        <a:pt x="425" y="814"/>
                      </a:lnTo>
                      <a:lnTo>
                        <a:pt x="425" y="803"/>
                      </a:lnTo>
                      <a:lnTo>
                        <a:pt x="422" y="797"/>
                      </a:lnTo>
                      <a:lnTo>
                        <a:pt x="422" y="794"/>
                      </a:lnTo>
                      <a:lnTo>
                        <a:pt x="425" y="791"/>
                      </a:lnTo>
                      <a:lnTo>
                        <a:pt x="428" y="786"/>
                      </a:lnTo>
                      <a:lnTo>
                        <a:pt x="417" y="783"/>
                      </a:lnTo>
                      <a:lnTo>
                        <a:pt x="408" y="758"/>
                      </a:lnTo>
                      <a:lnTo>
                        <a:pt x="400" y="756"/>
                      </a:lnTo>
                      <a:lnTo>
                        <a:pt x="394" y="756"/>
                      </a:lnTo>
                      <a:lnTo>
                        <a:pt x="394" y="745"/>
                      </a:lnTo>
                      <a:lnTo>
                        <a:pt x="392" y="753"/>
                      </a:lnTo>
                      <a:lnTo>
                        <a:pt x="389" y="756"/>
                      </a:lnTo>
                      <a:lnTo>
                        <a:pt x="384" y="750"/>
                      </a:lnTo>
                      <a:lnTo>
                        <a:pt x="381" y="740"/>
                      </a:lnTo>
                      <a:lnTo>
                        <a:pt x="381" y="734"/>
                      </a:lnTo>
                      <a:lnTo>
                        <a:pt x="378" y="731"/>
                      </a:lnTo>
                      <a:lnTo>
                        <a:pt x="378" y="722"/>
                      </a:lnTo>
                      <a:lnTo>
                        <a:pt x="372" y="722"/>
                      </a:lnTo>
                      <a:lnTo>
                        <a:pt x="367" y="714"/>
                      </a:lnTo>
                      <a:lnTo>
                        <a:pt x="367" y="704"/>
                      </a:lnTo>
                      <a:lnTo>
                        <a:pt x="359" y="696"/>
                      </a:lnTo>
                      <a:lnTo>
                        <a:pt x="356" y="679"/>
                      </a:lnTo>
                      <a:lnTo>
                        <a:pt x="353" y="671"/>
                      </a:lnTo>
                      <a:lnTo>
                        <a:pt x="348" y="668"/>
                      </a:lnTo>
                      <a:lnTo>
                        <a:pt x="341" y="660"/>
                      </a:lnTo>
                      <a:lnTo>
                        <a:pt x="336" y="660"/>
                      </a:lnTo>
                      <a:lnTo>
                        <a:pt x="328" y="656"/>
                      </a:lnTo>
                      <a:lnTo>
                        <a:pt x="323" y="660"/>
                      </a:lnTo>
                      <a:lnTo>
                        <a:pt x="317" y="660"/>
                      </a:lnTo>
                      <a:lnTo>
                        <a:pt x="315" y="656"/>
                      </a:lnTo>
                      <a:lnTo>
                        <a:pt x="312" y="656"/>
                      </a:lnTo>
                      <a:lnTo>
                        <a:pt x="309" y="651"/>
                      </a:lnTo>
                      <a:lnTo>
                        <a:pt x="306" y="651"/>
                      </a:lnTo>
                      <a:lnTo>
                        <a:pt x="300" y="645"/>
                      </a:lnTo>
                      <a:lnTo>
                        <a:pt x="300" y="637"/>
                      </a:lnTo>
                      <a:lnTo>
                        <a:pt x="298" y="635"/>
                      </a:lnTo>
                      <a:lnTo>
                        <a:pt x="295" y="637"/>
                      </a:lnTo>
                      <a:lnTo>
                        <a:pt x="295" y="632"/>
                      </a:lnTo>
                      <a:lnTo>
                        <a:pt x="292" y="629"/>
                      </a:lnTo>
                      <a:lnTo>
                        <a:pt x="287" y="632"/>
                      </a:lnTo>
                      <a:lnTo>
                        <a:pt x="284" y="620"/>
                      </a:lnTo>
                      <a:lnTo>
                        <a:pt x="287" y="618"/>
                      </a:lnTo>
                      <a:lnTo>
                        <a:pt x="290" y="607"/>
                      </a:lnTo>
                      <a:lnTo>
                        <a:pt x="284" y="584"/>
                      </a:lnTo>
                      <a:lnTo>
                        <a:pt x="279" y="571"/>
                      </a:lnTo>
                      <a:lnTo>
                        <a:pt x="270" y="571"/>
                      </a:lnTo>
                      <a:lnTo>
                        <a:pt x="267" y="568"/>
                      </a:lnTo>
                      <a:lnTo>
                        <a:pt x="262" y="568"/>
                      </a:lnTo>
                      <a:lnTo>
                        <a:pt x="254" y="566"/>
                      </a:lnTo>
                      <a:lnTo>
                        <a:pt x="251" y="568"/>
                      </a:lnTo>
                      <a:lnTo>
                        <a:pt x="251" y="566"/>
                      </a:lnTo>
                      <a:lnTo>
                        <a:pt x="246" y="568"/>
                      </a:lnTo>
                      <a:lnTo>
                        <a:pt x="240" y="560"/>
                      </a:lnTo>
                      <a:lnTo>
                        <a:pt x="237" y="549"/>
                      </a:lnTo>
                      <a:lnTo>
                        <a:pt x="234" y="543"/>
                      </a:lnTo>
                      <a:lnTo>
                        <a:pt x="231" y="543"/>
                      </a:lnTo>
                      <a:lnTo>
                        <a:pt x="229" y="543"/>
                      </a:lnTo>
                      <a:lnTo>
                        <a:pt x="223" y="543"/>
                      </a:lnTo>
                      <a:lnTo>
                        <a:pt x="218" y="538"/>
                      </a:lnTo>
                      <a:lnTo>
                        <a:pt x="207" y="535"/>
                      </a:lnTo>
                      <a:lnTo>
                        <a:pt x="203" y="535"/>
                      </a:lnTo>
                      <a:lnTo>
                        <a:pt x="203" y="530"/>
                      </a:lnTo>
                      <a:lnTo>
                        <a:pt x="198" y="530"/>
                      </a:lnTo>
                      <a:lnTo>
                        <a:pt x="193" y="527"/>
                      </a:lnTo>
                      <a:lnTo>
                        <a:pt x="185" y="515"/>
                      </a:lnTo>
                      <a:lnTo>
                        <a:pt x="187" y="502"/>
                      </a:lnTo>
                      <a:lnTo>
                        <a:pt x="182" y="497"/>
                      </a:lnTo>
                      <a:lnTo>
                        <a:pt x="185" y="486"/>
                      </a:lnTo>
                      <a:lnTo>
                        <a:pt x="179" y="477"/>
                      </a:lnTo>
                      <a:lnTo>
                        <a:pt x="177" y="474"/>
                      </a:lnTo>
                      <a:lnTo>
                        <a:pt x="177" y="472"/>
                      </a:lnTo>
                      <a:lnTo>
                        <a:pt x="171" y="469"/>
                      </a:lnTo>
                      <a:lnTo>
                        <a:pt x="168" y="461"/>
                      </a:lnTo>
                      <a:lnTo>
                        <a:pt x="162" y="458"/>
                      </a:lnTo>
                      <a:lnTo>
                        <a:pt x="165" y="449"/>
                      </a:lnTo>
                      <a:lnTo>
                        <a:pt x="165" y="444"/>
                      </a:lnTo>
                      <a:lnTo>
                        <a:pt x="162" y="433"/>
                      </a:lnTo>
                      <a:lnTo>
                        <a:pt x="165" y="425"/>
                      </a:lnTo>
                      <a:lnTo>
                        <a:pt x="162" y="413"/>
                      </a:lnTo>
                      <a:lnTo>
                        <a:pt x="157" y="408"/>
                      </a:lnTo>
                      <a:lnTo>
                        <a:pt x="151" y="400"/>
                      </a:lnTo>
                      <a:lnTo>
                        <a:pt x="146" y="397"/>
                      </a:lnTo>
                      <a:lnTo>
                        <a:pt x="149" y="389"/>
                      </a:lnTo>
                      <a:lnTo>
                        <a:pt x="149" y="381"/>
                      </a:lnTo>
                      <a:lnTo>
                        <a:pt x="141" y="372"/>
                      </a:lnTo>
                      <a:lnTo>
                        <a:pt x="132" y="375"/>
                      </a:lnTo>
                      <a:lnTo>
                        <a:pt x="126" y="375"/>
                      </a:lnTo>
                      <a:lnTo>
                        <a:pt x="124" y="361"/>
                      </a:lnTo>
                      <a:lnTo>
                        <a:pt x="118" y="356"/>
                      </a:lnTo>
                      <a:lnTo>
                        <a:pt x="110" y="356"/>
                      </a:lnTo>
                      <a:lnTo>
                        <a:pt x="108" y="359"/>
                      </a:lnTo>
                      <a:lnTo>
                        <a:pt x="105" y="359"/>
                      </a:lnTo>
                      <a:lnTo>
                        <a:pt x="102" y="356"/>
                      </a:lnTo>
                      <a:lnTo>
                        <a:pt x="99" y="353"/>
                      </a:lnTo>
                      <a:lnTo>
                        <a:pt x="99" y="344"/>
                      </a:lnTo>
                      <a:lnTo>
                        <a:pt x="96" y="339"/>
                      </a:lnTo>
                      <a:lnTo>
                        <a:pt x="88" y="331"/>
                      </a:lnTo>
                      <a:lnTo>
                        <a:pt x="91" y="328"/>
                      </a:lnTo>
                      <a:lnTo>
                        <a:pt x="96" y="328"/>
                      </a:lnTo>
                      <a:lnTo>
                        <a:pt x="91" y="317"/>
                      </a:lnTo>
                      <a:lnTo>
                        <a:pt x="93" y="312"/>
                      </a:lnTo>
                      <a:lnTo>
                        <a:pt x="96" y="312"/>
                      </a:lnTo>
                      <a:lnTo>
                        <a:pt x="102" y="320"/>
                      </a:lnTo>
                      <a:lnTo>
                        <a:pt x="113" y="320"/>
                      </a:lnTo>
                      <a:lnTo>
                        <a:pt x="116" y="320"/>
                      </a:lnTo>
                      <a:lnTo>
                        <a:pt x="121" y="312"/>
                      </a:lnTo>
                      <a:lnTo>
                        <a:pt x="124" y="306"/>
                      </a:lnTo>
                      <a:lnTo>
                        <a:pt x="124" y="298"/>
                      </a:lnTo>
                      <a:lnTo>
                        <a:pt x="126" y="284"/>
                      </a:lnTo>
                      <a:lnTo>
                        <a:pt x="124" y="276"/>
                      </a:lnTo>
                      <a:lnTo>
                        <a:pt x="118" y="273"/>
                      </a:lnTo>
                      <a:lnTo>
                        <a:pt x="105" y="265"/>
                      </a:lnTo>
                      <a:lnTo>
                        <a:pt x="102" y="262"/>
                      </a:lnTo>
                      <a:lnTo>
                        <a:pt x="83" y="257"/>
                      </a:lnTo>
                      <a:lnTo>
                        <a:pt x="72" y="257"/>
                      </a:lnTo>
                      <a:lnTo>
                        <a:pt x="69" y="254"/>
                      </a:lnTo>
                      <a:lnTo>
                        <a:pt x="63" y="246"/>
                      </a:lnTo>
                      <a:lnTo>
                        <a:pt x="60" y="237"/>
                      </a:lnTo>
                      <a:lnTo>
                        <a:pt x="52" y="237"/>
                      </a:lnTo>
                      <a:lnTo>
                        <a:pt x="44" y="229"/>
                      </a:lnTo>
                      <a:lnTo>
                        <a:pt x="41" y="218"/>
                      </a:lnTo>
                      <a:lnTo>
                        <a:pt x="32" y="215"/>
                      </a:lnTo>
                      <a:lnTo>
                        <a:pt x="24" y="207"/>
                      </a:lnTo>
                      <a:lnTo>
                        <a:pt x="8" y="190"/>
                      </a:lnTo>
                      <a:lnTo>
                        <a:pt x="3" y="190"/>
                      </a:lnTo>
                      <a:lnTo>
                        <a:pt x="0" y="177"/>
                      </a:lnTo>
                      <a:lnTo>
                        <a:pt x="3" y="177"/>
                      </a:lnTo>
                      <a:lnTo>
                        <a:pt x="8" y="177"/>
                      </a:lnTo>
                      <a:lnTo>
                        <a:pt x="16" y="174"/>
                      </a:lnTo>
                      <a:lnTo>
                        <a:pt x="24" y="160"/>
                      </a:lnTo>
                      <a:lnTo>
                        <a:pt x="24" y="154"/>
                      </a:lnTo>
                      <a:lnTo>
                        <a:pt x="30" y="149"/>
                      </a:lnTo>
                      <a:lnTo>
                        <a:pt x="24" y="144"/>
                      </a:lnTo>
                      <a:lnTo>
                        <a:pt x="24" y="129"/>
                      </a:lnTo>
                      <a:lnTo>
                        <a:pt x="19" y="124"/>
                      </a:lnTo>
                      <a:lnTo>
                        <a:pt x="11" y="105"/>
                      </a:lnTo>
                      <a:lnTo>
                        <a:pt x="11" y="99"/>
                      </a:lnTo>
                      <a:lnTo>
                        <a:pt x="14" y="96"/>
                      </a:lnTo>
                      <a:lnTo>
                        <a:pt x="16" y="99"/>
                      </a:lnTo>
                      <a:lnTo>
                        <a:pt x="19" y="105"/>
                      </a:lnTo>
                      <a:lnTo>
                        <a:pt x="22" y="102"/>
                      </a:lnTo>
                      <a:lnTo>
                        <a:pt x="24" y="102"/>
                      </a:lnTo>
                      <a:lnTo>
                        <a:pt x="32" y="111"/>
                      </a:lnTo>
                      <a:lnTo>
                        <a:pt x="49" y="113"/>
                      </a:lnTo>
                      <a:lnTo>
                        <a:pt x="52" y="108"/>
                      </a:lnTo>
                      <a:lnTo>
                        <a:pt x="55" y="99"/>
                      </a:lnTo>
                      <a:lnTo>
                        <a:pt x="65" y="93"/>
                      </a:lnTo>
                      <a:lnTo>
                        <a:pt x="72" y="93"/>
                      </a:lnTo>
                      <a:lnTo>
                        <a:pt x="80" y="96"/>
                      </a:lnTo>
                      <a:lnTo>
                        <a:pt x="91" y="91"/>
                      </a:lnTo>
                      <a:lnTo>
                        <a:pt x="93" y="91"/>
                      </a:lnTo>
                      <a:lnTo>
                        <a:pt x="93" y="93"/>
                      </a:lnTo>
                      <a:lnTo>
                        <a:pt x="93" y="99"/>
                      </a:lnTo>
                      <a:lnTo>
                        <a:pt x="96" y="99"/>
                      </a:lnTo>
                      <a:lnTo>
                        <a:pt x="110" y="91"/>
                      </a:lnTo>
                      <a:lnTo>
                        <a:pt x="118" y="80"/>
                      </a:lnTo>
                      <a:lnTo>
                        <a:pt x="118" y="77"/>
                      </a:lnTo>
                      <a:lnTo>
                        <a:pt x="113" y="67"/>
                      </a:lnTo>
                      <a:lnTo>
                        <a:pt x="113" y="52"/>
                      </a:lnTo>
                      <a:lnTo>
                        <a:pt x="108" y="47"/>
                      </a:lnTo>
                      <a:lnTo>
                        <a:pt x="99" y="42"/>
                      </a:lnTo>
                      <a:lnTo>
                        <a:pt x="96" y="39"/>
                      </a:lnTo>
                      <a:lnTo>
                        <a:pt x="93" y="24"/>
                      </a:lnTo>
                      <a:lnTo>
                        <a:pt x="88" y="19"/>
                      </a:lnTo>
                      <a:lnTo>
                        <a:pt x="85" y="14"/>
                      </a:lnTo>
                      <a:lnTo>
                        <a:pt x="80" y="8"/>
                      </a:lnTo>
                      <a:lnTo>
                        <a:pt x="80" y="6"/>
                      </a:lnTo>
                      <a:lnTo>
                        <a:pt x="77" y="0"/>
                      </a:lnTo>
                      <a:lnTo>
                        <a:pt x="77" y="0"/>
                      </a:lnTo>
                      <a:close/>
                    </a:path>
                  </a:pathLst>
                </a:custGeom>
                <a:grpFill/>
                <a:ln w="12700" cap="flat" cmpd="sng" algn="ctr">
                  <a:solidFill>
                    <a:schemeClr val="bg1">
                      <a:lumMod val="85000"/>
                    </a:schemeClr>
                  </a:solidFill>
                  <a:prstDash val="solid"/>
                  <a:round/>
                  <a:headEnd type="none" w="med" len="med"/>
                  <a:tailEnd type="none" w="med" len="med"/>
                </a:ln>
              </p:spPr>
            </p:sp>
            <p:sp>
              <p:nvSpPr>
                <p:cNvPr id="41" name="ee4p_BR_2"/>
                <p:cNvSpPr>
                  <a:spLocks/>
                </p:cNvSpPr>
                <p:nvPr>
                  <p:custDataLst>
                    <p:tags r:id="rId3"/>
                  </p:custDataLst>
                </p:nvPr>
              </p:nvSpPr>
              <p:spPr bwMode="auto">
                <a:xfrm>
                  <a:off x="6269279" y="3197845"/>
                  <a:ext cx="322221" cy="194831"/>
                </a:xfrm>
                <a:custGeom>
                  <a:avLst/>
                  <a:gdLst/>
                  <a:ahLst/>
                  <a:cxnLst>
                    <a:cxn ang="0">
                      <a:pos x="57" y="149"/>
                    </a:cxn>
                    <a:cxn ang="0">
                      <a:pos x="104" y="138"/>
                    </a:cxn>
                    <a:cxn ang="0">
                      <a:pos x="143" y="95"/>
                    </a:cxn>
                    <a:cxn ang="0">
                      <a:pos x="167" y="36"/>
                    </a:cxn>
                    <a:cxn ang="0">
                      <a:pos x="200" y="31"/>
                    </a:cxn>
                    <a:cxn ang="0">
                      <a:pos x="223" y="67"/>
                    </a:cxn>
                    <a:cxn ang="0">
                      <a:pos x="240" y="83"/>
                    </a:cxn>
                    <a:cxn ang="0">
                      <a:pos x="289" y="61"/>
                    </a:cxn>
                    <a:cxn ang="0">
                      <a:pos x="338" y="100"/>
                    </a:cxn>
                    <a:cxn ang="0">
                      <a:pos x="402" y="152"/>
                    </a:cxn>
                    <a:cxn ang="0">
                      <a:pos x="422" y="166"/>
                    </a:cxn>
                    <a:cxn ang="0">
                      <a:pos x="468" y="182"/>
                    </a:cxn>
                    <a:cxn ang="0">
                      <a:pos x="521" y="238"/>
                    </a:cxn>
                    <a:cxn ang="0">
                      <a:pos x="537" y="202"/>
                    </a:cxn>
                    <a:cxn ang="0">
                      <a:pos x="601" y="191"/>
                    </a:cxn>
                    <a:cxn ang="0">
                      <a:pos x="657" y="213"/>
                    </a:cxn>
                    <a:cxn ang="0">
                      <a:pos x="678" y="215"/>
                    </a:cxn>
                    <a:cxn ang="0">
                      <a:pos x="714" y="177"/>
                    </a:cxn>
                    <a:cxn ang="0">
                      <a:pos x="739" y="174"/>
                    </a:cxn>
                    <a:cxn ang="0">
                      <a:pos x="769" y="163"/>
                    </a:cxn>
                    <a:cxn ang="0">
                      <a:pos x="792" y="149"/>
                    </a:cxn>
                    <a:cxn ang="0">
                      <a:pos x="811" y="144"/>
                    </a:cxn>
                    <a:cxn ang="0">
                      <a:pos x="819" y="113"/>
                    </a:cxn>
                    <a:cxn ang="0">
                      <a:pos x="846" y="95"/>
                    </a:cxn>
                    <a:cxn ang="0">
                      <a:pos x="854" y="64"/>
                    </a:cxn>
                    <a:cxn ang="0">
                      <a:pos x="923" y="34"/>
                    </a:cxn>
                    <a:cxn ang="0">
                      <a:pos x="954" y="20"/>
                    </a:cxn>
                    <a:cxn ang="0">
                      <a:pos x="999" y="17"/>
                    </a:cxn>
                    <a:cxn ang="0">
                      <a:pos x="1020" y="39"/>
                    </a:cxn>
                    <a:cxn ang="0">
                      <a:pos x="1059" y="26"/>
                    </a:cxn>
                    <a:cxn ang="0">
                      <a:pos x="1098" y="0"/>
                    </a:cxn>
                    <a:cxn ang="0">
                      <a:pos x="1120" y="0"/>
                    </a:cxn>
                    <a:cxn ang="0">
                      <a:pos x="1145" y="8"/>
                    </a:cxn>
                    <a:cxn ang="0">
                      <a:pos x="1225" y="31"/>
                    </a:cxn>
                    <a:cxn ang="0">
                      <a:pos x="1239" y="69"/>
                    </a:cxn>
                    <a:cxn ang="0">
                      <a:pos x="1211" y="116"/>
                    </a:cxn>
                    <a:cxn ang="0">
                      <a:pos x="1191" y="158"/>
                    </a:cxn>
                    <a:cxn ang="0">
                      <a:pos x="1153" y="205"/>
                    </a:cxn>
                    <a:cxn ang="0">
                      <a:pos x="1114" y="238"/>
                    </a:cxn>
                    <a:cxn ang="0">
                      <a:pos x="1071" y="299"/>
                    </a:cxn>
                    <a:cxn ang="0">
                      <a:pos x="1032" y="348"/>
                    </a:cxn>
                    <a:cxn ang="0">
                      <a:pos x="993" y="376"/>
                    </a:cxn>
                    <a:cxn ang="0">
                      <a:pos x="918" y="481"/>
                    </a:cxn>
                    <a:cxn ang="0">
                      <a:pos x="854" y="560"/>
                    </a:cxn>
                    <a:cxn ang="0">
                      <a:pos x="785" y="627"/>
                    </a:cxn>
                    <a:cxn ang="0">
                      <a:pos x="750" y="706"/>
                    </a:cxn>
                    <a:cxn ang="0">
                      <a:pos x="708" y="673"/>
                    </a:cxn>
                    <a:cxn ang="0">
                      <a:pos x="678" y="635"/>
                    </a:cxn>
                    <a:cxn ang="0">
                      <a:pos x="642" y="607"/>
                    </a:cxn>
                    <a:cxn ang="0">
                      <a:pos x="604" y="596"/>
                    </a:cxn>
                    <a:cxn ang="0">
                      <a:pos x="565" y="568"/>
                    </a:cxn>
                    <a:cxn ang="0">
                      <a:pos x="521" y="522"/>
                    </a:cxn>
                    <a:cxn ang="0">
                      <a:pos x="499" y="486"/>
                    </a:cxn>
                    <a:cxn ang="0">
                      <a:pos x="402" y="450"/>
                    </a:cxn>
                    <a:cxn ang="0">
                      <a:pos x="350" y="406"/>
                    </a:cxn>
                    <a:cxn ang="0">
                      <a:pos x="231" y="356"/>
                    </a:cxn>
                    <a:cxn ang="0">
                      <a:pos x="171" y="326"/>
                    </a:cxn>
                    <a:cxn ang="0">
                      <a:pos x="98" y="299"/>
                    </a:cxn>
                    <a:cxn ang="0">
                      <a:pos x="66" y="263"/>
                    </a:cxn>
                    <a:cxn ang="0">
                      <a:pos x="13" y="246"/>
                    </a:cxn>
                  </a:cxnLst>
                  <a:rect l="0" t="0" r="r" b="b"/>
                  <a:pathLst>
                    <a:path w="1252" h="706">
                      <a:moveTo>
                        <a:pt x="0" y="215"/>
                      </a:moveTo>
                      <a:lnTo>
                        <a:pt x="13" y="202"/>
                      </a:lnTo>
                      <a:lnTo>
                        <a:pt x="21" y="199"/>
                      </a:lnTo>
                      <a:lnTo>
                        <a:pt x="33" y="188"/>
                      </a:lnTo>
                      <a:lnTo>
                        <a:pt x="33" y="182"/>
                      </a:lnTo>
                      <a:lnTo>
                        <a:pt x="33" y="180"/>
                      </a:lnTo>
                      <a:lnTo>
                        <a:pt x="38" y="169"/>
                      </a:lnTo>
                      <a:lnTo>
                        <a:pt x="46" y="161"/>
                      </a:lnTo>
                      <a:lnTo>
                        <a:pt x="54" y="152"/>
                      </a:lnTo>
                      <a:lnTo>
                        <a:pt x="57" y="149"/>
                      </a:lnTo>
                      <a:lnTo>
                        <a:pt x="62" y="149"/>
                      </a:lnTo>
                      <a:lnTo>
                        <a:pt x="69" y="149"/>
                      </a:lnTo>
                      <a:lnTo>
                        <a:pt x="74" y="146"/>
                      </a:lnTo>
                      <a:lnTo>
                        <a:pt x="77" y="146"/>
                      </a:lnTo>
                      <a:lnTo>
                        <a:pt x="82" y="146"/>
                      </a:lnTo>
                      <a:lnTo>
                        <a:pt x="85" y="141"/>
                      </a:lnTo>
                      <a:lnTo>
                        <a:pt x="90" y="141"/>
                      </a:lnTo>
                      <a:lnTo>
                        <a:pt x="95" y="141"/>
                      </a:lnTo>
                      <a:lnTo>
                        <a:pt x="98" y="141"/>
                      </a:lnTo>
                      <a:lnTo>
                        <a:pt x="104" y="138"/>
                      </a:lnTo>
                      <a:lnTo>
                        <a:pt x="107" y="130"/>
                      </a:lnTo>
                      <a:lnTo>
                        <a:pt x="113" y="125"/>
                      </a:lnTo>
                      <a:lnTo>
                        <a:pt x="113" y="122"/>
                      </a:lnTo>
                      <a:lnTo>
                        <a:pt x="115" y="119"/>
                      </a:lnTo>
                      <a:lnTo>
                        <a:pt x="118" y="116"/>
                      </a:lnTo>
                      <a:lnTo>
                        <a:pt x="121" y="111"/>
                      </a:lnTo>
                      <a:lnTo>
                        <a:pt x="131" y="100"/>
                      </a:lnTo>
                      <a:lnTo>
                        <a:pt x="135" y="95"/>
                      </a:lnTo>
                      <a:lnTo>
                        <a:pt x="140" y="92"/>
                      </a:lnTo>
                      <a:lnTo>
                        <a:pt x="143" y="95"/>
                      </a:lnTo>
                      <a:lnTo>
                        <a:pt x="146" y="86"/>
                      </a:lnTo>
                      <a:lnTo>
                        <a:pt x="146" y="83"/>
                      </a:lnTo>
                      <a:lnTo>
                        <a:pt x="151" y="80"/>
                      </a:lnTo>
                      <a:lnTo>
                        <a:pt x="156" y="75"/>
                      </a:lnTo>
                      <a:lnTo>
                        <a:pt x="159" y="69"/>
                      </a:lnTo>
                      <a:lnTo>
                        <a:pt x="162" y="67"/>
                      </a:lnTo>
                      <a:lnTo>
                        <a:pt x="165" y="51"/>
                      </a:lnTo>
                      <a:lnTo>
                        <a:pt x="162" y="47"/>
                      </a:lnTo>
                      <a:lnTo>
                        <a:pt x="167" y="42"/>
                      </a:lnTo>
                      <a:lnTo>
                        <a:pt x="167" y="36"/>
                      </a:lnTo>
                      <a:lnTo>
                        <a:pt x="165" y="34"/>
                      </a:lnTo>
                      <a:lnTo>
                        <a:pt x="174" y="28"/>
                      </a:lnTo>
                      <a:lnTo>
                        <a:pt x="176" y="28"/>
                      </a:lnTo>
                      <a:lnTo>
                        <a:pt x="184" y="20"/>
                      </a:lnTo>
                      <a:lnTo>
                        <a:pt x="187" y="20"/>
                      </a:lnTo>
                      <a:lnTo>
                        <a:pt x="190" y="20"/>
                      </a:lnTo>
                      <a:lnTo>
                        <a:pt x="192" y="17"/>
                      </a:lnTo>
                      <a:lnTo>
                        <a:pt x="198" y="23"/>
                      </a:lnTo>
                      <a:lnTo>
                        <a:pt x="198" y="28"/>
                      </a:lnTo>
                      <a:lnTo>
                        <a:pt x="200" y="31"/>
                      </a:lnTo>
                      <a:lnTo>
                        <a:pt x="204" y="31"/>
                      </a:lnTo>
                      <a:lnTo>
                        <a:pt x="204" y="34"/>
                      </a:lnTo>
                      <a:lnTo>
                        <a:pt x="207" y="36"/>
                      </a:lnTo>
                      <a:lnTo>
                        <a:pt x="209" y="42"/>
                      </a:lnTo>
                      <a:lnTo>
                        <a:pt x="215" y="47"/>
                      </a:lnTo>
                      <a:lnTo>
                        <a:pt x="215" y="51"/>
                      </a:lnTo>
                      <a:lnTo>
                        <a:pt x="217" y="56"/>
                      </a:lnTo>
                      <a:lnTo>
                        <a:pt x="223" y="59"/>
                      </a:lnTo>
                      <a:lnTo>
                        <a:pt x="223" y="64"/>
                      </a:lnTo>
                      <a:lnTo>
                        <a:pt x="223" y="67"/>
                      </a:lnTo>
                      <a:lnTo>
                        <a:pt x="220" y="69"/>
                      </a:lnTo>
                      <a:lnTo>
                        <a:pt x="217" y="72"/>
                      </a:lnTo>
                      <a:lnTo>
                        <a:pt x="217" y="75"/>
                      </a:lnTo>
                      <a:lnTo>
                        <a:pt x="223" y="72"/>
                      </a:lnTo>
                      <a:lnTo>
                        <a:pt x="223" y="77"/>
                      </a:lnTo>
                      <a:lnTo>
                        <a:pt x="233" y="72"/>
                      </a:lnTo>
                      <a:lnTo>
                        <a:pt x="233" y="75"/>
                      </a:lnTo>
                      <a:lnTo>
                        <a:pt x="231" y="77"/>
                      </a:lnTo>
                      <a:lnTo>
                        <a:pt x="233" y="80"/>
                      </a:lnTo>
                      <a:lnTo>
                        <a:pt x="240" y="83"/>
                      </a:lnTo>
                      <a:lnTo>
                        <a:pt x="251" y="83"/>
                      </a:lnTo>
                      <a:lnTo>
                        <a:pt x="253" y="80"/>
                      </a:lnTo>
                      <a:lnTo>
                        <a:pt x="251" y="77"/>
                      </a:lnTo>
                      <a:lnTo>
                        <a:pt x="253" y="72"/>
                      </a:lnTo>
                      <a:lnTo>
                        <a:pt x="259" y="67"/>
                      </a:lnTo>
                      <a:lnTo>
                        <a:pt x="264" y="64"/>
                      </a:lnTo>
                      <a:lnTo>
                        <a:pt x="273" y="67"/>
                      </a:lnTo>
                      <a:lnTo>
                        <a:pt x="281" y="59"/>
                      </a:lnTo>
                      <a:lnTo>
                        <a:pt x="286" y="61"/>
                      </a:lnTo>
                      <a:lnTo>
                        <a:pt x="289" y="61"/>
                      </a:lnTo>
                      <a:lnTo>
                        <a:pt x="294" y="64"/>
                      </a:lnTo>
                      <a:lnTo>
                        <a:pt x="302" y="64"/>
                      </a:lnTo>
                      <a:lnTo>
                        <a:pt x="302" y="67"/>
                      </a:lnTo>
                      <a:lnTo>
                        <a:pt x="302" y="75"/>
                      </a:lnTo>
                      <a:lnTo>
                        <a:pt x="300" y="77"/>
                      </a:lnTo>
                      <a:lnTo>
                        <a:pt x="312" y="89"/>
                      </a:lnTo>
                      <a:lnTo>
                        <a:pt x="320" y="89"/>
                      </a:lnTo>
                      <a:lnTo>
                        <a:pt x="325" y="89"/>
                      </a:lnTo>
                      <a:lnTo>
                        <a:pt x="333" y="95"/>
                      </a:lnTo>
                      <a:lnTo>
                        <a:pt x="338" y="100"/>
                      </a:lnTo>
                      <a:lnTo>
                        <a:pt x="366" y="111"/>
                      </a:lnTo>
                      <a:lnTo>
                        <a:pt x="369" y="116"/>
                      </a:lnTo>
                      <a:lnTo>
                        <a:pt x="375" y="116"/>
                      </a:lnTo>
                      <a:lnTo>
                        <a:pt x="375" y="119"/>
                      </a:lnTo>
                      <a:lnTo>
                        <a:pt x="375" y="122"/>
                      </a:lnTo>
                      <a:lnTo>
                        <a:pt x="380" y="128"/>
                      </a:lnTo>
                      <a:lnTo>
                        <a:pt x="389" y="138"/>
                      </a:lnTo>
                      <a:lnTo>
                        <a:pt x="394" y="144"/>
                      </a:lnTo>
                      <a:lnTo>
                        <a:pt x="397" y="146"/>
                      </a:lnTo>
                      <a:lnTo>
                        <a:pt x="402" y="152"/>
                      </a:lnTo>
                      <a:lnTo>
                        <a:pt x="402" y="154"/>
                      </a:lnTo>
                      <a:lnTo>
                        <a:pt x="402" y="158"/>
                      </a:lnTo>
                      <a:lnTo>
                        <a:pt x="405" y="163"/>
                      </a:lnTo>
                      <a:lnTo>
                        <a:pt x="407" y="163"/>
                      </a:lnTo>
                      <a:lnTo>
                        <a:pt x="407" y="169"/>
                      </a:lnTo>
                      <a:lnTo>
                        <a:pt x="407" y="172"/>
                      </a:lnTo>
                      <a:lnTo>
                        <a:pt x="407" y="174"/>
                      </a:lnTo>
                      <a:lnTo>
                        <a:pt x="407" y="177"/>
                      </a:lnTo>
                      <a:lnTo>
                        <a:pt x="416" y="169"/>
                      </a:lnTo>
                      <a:lnTo>
                        <a:pt x="422" y="166"/>
                      </a:lnTo>
                      <a:lnTo>
                        <a:pt x="438" y="177"/>
                      </a:lnTo>
                      <a:lnTo>
                        <a:pt x="432" y="182"/>
                      </a:lnTo>
                      <a:lnTo>
                        <a:pt x="432" y="188"/>
                      </a:lnTo>
                      <a:lnTo>
                        <a:pt x="432" y="191"/>
                      </a:lnTo>
                      <a:lnTo>
                        <a:pt x="435" y="194"/>
                      </a:lnTo>
                      <a:lnTo>
                        <a:pt x="444" y="188"/>
                      </a:lnTo>
                      <a:lnTo>
                        <a:pt x="449" y="185"/>
                      </a:lnTo>
                      <a:lnTo>
                        <a:pt x="455" y="177"/>
                      </a:lnTo>
                      <a:lnTo>
                        <a:pt x="458" y="177"/>
                      </a:lnTo>
                      <a:lnTo>
                        <a:pt x="468" y="182"/>
                      </a:lnTo>
                      <a:lnTo>
                        <a:pt x="471" y="185"/>
                      </a:lnTo>
                      <a:lnTo>
                        <a:pt x="480" y="197"/>
                      </a:lnTo>
                      <a:lnTo>
                        <a:pt x="476" y="205"/>
                      </a:lnTo>
                      <a:lnTo>
                        <a:pt x="480" y="210"/>
                      </a:lnTo>
                      <a:lnTo>
                        <a:pt x="480" y="205"/>
                      </a:lnTo>
                      <a:lnTo>
                        <a:pt x="483" y="210"/>
                      </a:lnTo>
                      <a:lnTo>
                        <a:pt x="493" y="210"/>
                      </a:lnTo>
                      <a:lnTo>
                        <a:pt x="501" y="223"/>
                      </a:lnTo>
                      <a:lnTo>
                        <a:pt x="513" y="230"/>
                      </a:lnTo>
                      <a:lnTo>
                        <a:pt x="521" y="238"/>
                      </a:lnTo>
                      <a:lnTo>
                        <a:pt x="524" y="238"/>
                      </a:lnTo>
                      <a:lnTo>
                        <a:pt x="527" y="235"/>
                      </a:lnTo>
                      <a:lnTo>
                        <a:pt x="529" y="235"/>
                      </a:lnTo>
                      <a:lnTo>
                        <a:pt x="529" y="232"/>
                      </a:lnTo>
                      <a:lnTo>
                        <a:pt x="527" y="230"/>
                      </a:lnTo>
                      <a:lnTo>
                        <a:pt x="527" y="223"/>
                      </a:lnTo>
                      <a:lnTo>
                        <a:pt x="535" y="218"/>
                      </a:lnTo>
                      <a:lnTo>
                        <a:pt x="535" y="215"/>
                      </a:lnTo>
                      <a:lnTo>
                        <a:pt x="532" y="213"/>
                      </a:lnTo>
                      <a:lnTo>
                        <a:pt x="537" y="202"/>
                      </a:lnTo>
                      <a:lnTo>
                        <a:pt x="543" y="197"/>
                      </a:lnTo>
                      <a:lnTo>
                        <a:pt x="545" y="197"/>
                      </a:lnTo>
                      <a:lnTo>
                        <a:pt x="554" y="194"/>
                      </a:lnTo>
                      <a:lnTo>
                        <a:pt x="552" y="194"/>
                      </a:lnTo>
                      <a:lnTo>
                        <a:pt x="554" y="191"/>
                      </a:lnTo>
                      <a:lnTo>
                        <a:pt x="562" y="191"/>
                      </a:lnTo>
                      <a:lnTo>
                        <a:pt x="565" y="194"/>
                      </a:lnTo>
                      <a:lnTo>
                        <a:pt x="568" y="199"/>
                      </a:lnTo>
                      <a:lnTo>
                        <a:pt x="585" y="199"/>
                      </a:lnTo>
                      <a:lnTo>
                        <a:pt x="601" y="191"/>
                      </a:lnTo>
                      <a:lnTo>
                        <a:pt x="626" y="194"/>
                      </a:lnTo>
                      <a:lnTo>
                        <a:pt x="631" y="197"/>
                      </a:lnTo>
                      <a:lnTo>
                        <a:pt x="639" y="207"/>
                      </a:lnTo>
                      <a:lnTo>
                        <a:pt x="645" y="210"/>
                      </a:lnTo>
                      <a:lnTo>
                        <a:pt x="645" y="207"/>
                      </a:lnTo>
                      <a:lnTo>
                        <a:pt x="647" y="210"/>
                      </a:lnTo>
                      <a:lnTo>
                        <a:pt x="651" y="210"/>
                      </a:lnTo>
                      <a:lnTo>
                        <a:pt x="651" y="213"/>
                      </a:lnTo>
                      <a:lnTo>
                        <a:pt x="654" y="215"/>
                      </a:lnTo>
                      <a:lnTo>
                        <a:pt x="657" y="213"/>
                      </a:lnTo>
                      <a:lnTo>
                        <a:pt x="657" y="215"/>
                      </a:lnTo>
                      <a:lnTo>
                        <a:pt x="659" y="213"/>
                      </a:lnTo>
                      <a:lnTo>
                        <a:pt x="659" y="215"/>
                      </a:lnTo>
                      <a:lnTo>
                        <a:pt x="662" y="215"/>
                      </a:lnTo>
                      <a:lnTo>
                        <a:pt x="662" y="218"/>
                      </a:lnTo>
                      <a:lnTo>
                        <a:pt x="662" y="221"/>
                      </a:lnTo>
                      <a:lnTo>
                        <a:pt x="667" y="218"/>
                      </a:lnTo>
                      <a:lnTo>
                        <a:pt x="670" y="218"/>
                      </a:lnTo>
                      <a:lnTo>
                        <a:pt x="675" y="215"/>
                      </a:lnTo>
                      <a:lnTo>
                        <a:pt x="678" y="215"/>
                      </a:lnTo>
                      <a:lnTo>
                        <a:pt x="678" y="213"/>
                      </a:lnTo>
                      <a:lnTo>
                        <a:pt x="678" y="210"/>
                      </a:lnTo>
                      <a:lnTo>
                        <a:pt x="675" y="210"/>
                      </a:lnTo>
                      <a:lnTo>
                        <a:pt x="675" y="199"/>
                      </a:lnTo>
                      <a:lnTo>
                        <a:pt x="703" y="191"/>
                      </a:lnTo>
                      <a:lnTo>
                        <a:pt x="706" y="188"/>
                      </a:lnTo>
                      <a:lnTo>
                        <a:pt x="708" y="185"/>
                      </a:lnTo>
                      <a:lnTo>
                        <a:pt x="708" y="182"/>
                      </a:lnTo>
                      <a:lnTo>
                        <a:pt x="711" y="177"/>
                      </a:lnTo>
                      <a:lnTo>
                        <a:pt x="714" y="177"/>
                      </a:lnTo>
                      <a:lnTo>
                        <a:pt x="716" y="180"/>
                      </a:lnTo>
                      <a:lnTo>
                        <a:pt x="720" y="177"/>
                      </a:lnTo>
                      <a:lnTo>
                        <a:pt x="723" y="174"/>
                      </a:lnTo>
                      <a:lnTo>
                        <a:pt x="726" y="174"/>
                      </a:lnTo>
                      <a:lnTo>
                        <a:pt x="726" y="172"/>
                      </a:lnTo>
                      <a:lnTo>
                        <a:pt x="731" y="169"/>
                      </a:lnTo>
                      <a:lnTo>
                        <a:pt x="731" y="166"/>
                      </a:lnTo>
                      <a:lnTo>
                        <a:pt x="736" y="166"/>
                      </a:lnTo>
                      <a:lnTo>
                        <a:pt x="736" y="172"/>
                      </a:lnTo>
                      <a:lnTo>
                        <a:pt x="739" y="174"/>
                      </a:lnTo>
                      <a:lnTo>
                        <a:pt x="742" y="169"/>
                      </a:lnTo>
                      <a:lnTo>
                        <a:pt x="744" y="172"/>
                      </a:lnTo>
                      <a:lnTo>
                        <a:pt x="750" y="172"/>
                      </a:lnTo>
                      <a:lnTo>
                        <a:pt x="756" y="169"/>
                      </a:lnTo>
                      <a:lnTo>
                        <a:pt x="761" y="172"/>
                      </a:lnTo>
                      <a:lnTo>
                        <a:pt x="764" y="169"/>
                      </a:lnTo>
                      <a:lnTo>
                        <a:pt x="767" y="166"/>
                      </a:lnTo>
                      <a:lnTo>
                        <a:pt x="764" y="163"/>
                      </a:lnTo>
                      <a:lnTo>
                        <a:pt x="764" y="161"/>
                      </a:lnTo>
                      <a:lnTo>
                        <a:pt x="769" y="163"/>
                      </a:lnTo>
                      <a:lnTo>
                        <a:pt x="772" y="163"/>
                      </a:lnTo>
                      <a:lnTo>
                        <a:pt x="775" y="161"/>
                      </a:lnTo>
                      <a:lnTo>
                        <a:pt x="777" y="154"/>
                      </a:lnTo>
                      <a:lnTo>
                        <a:pt x="780" y="152"/>
                      </a:lnTo>
                      <a:lnTo>
                        <a:pt x="783" y="149"/>
                      </a:lnTo>
                      <a:lnTo>
                        <a:pt x="783" y="152"/>
                      </a:lnTo>
                      <a:lnTo>
                        <a:pt x="785" y="149"/>
                      </a:lnTo>
                      <a:lnTo>
                        <a:pt x="789" y="152"/>
                      </a:lnTo>
                      <a:lnTo>
                        <a:pt x="789" y="149"/>
                      </a:lnTo>
                      <a:lnTo>
                        <a:pt x="792" y="149"/>
                      </a:lnTo>
                      <a:lnTo>
                        <a:pt x="797" y="146"/>
                      </a:lnTo>
                      <a:lnTo>
                        <a:pt x="800" y="149"/>
                      </a:lnTo>
                      <a:lnTo>
                        <a:pt x="803" y="149"/>
                      </a:lnTo>
                      <a:lnTo>
                        <a:pt x="803" y="152"/>
                      </a:lnTo>
                      <a:lnTo>
                        <a:pt x="805" y="152"/>
                      </a:lnTo>
                      <a:lnTo>
                        <a:pt x="805" y="149"/>
                      </a:lnTo>
                      <a:lnTo>
                        <a:pt x="808" y="152"/>
                      </a:lnTo>
                      <a:lnTo>
                        <a:pt x="816" y="149"/>
                      </a:lnTo>
                      <a:lnTo>
                        <a:pt x="816" y="146"/>
                      </a:lnTo>
                      <a:lnTo>
                        <a:pt x="811" y="144"/>
                      </a:lnTo>
                      <a:lnTo>
                        <a:pt x="811" y="138"/>
                      </a:lnTo>
                      <a:lnTo>
                        <a:pt x="808" y="136"/>
                      </a:lnTo>
                      <a:lnTo>
                        <a:pt x="803" y="136"/>
                      </a:lnTo>
                      <a:lnTo>
                        <a:pt x="803" y="130"/>
                      </a:lnTo>
                      <a:lnTo>
                        <a:pt x="803" y="128"/>
                      </a:lnTo>
                      <a:lnTo>
                        <a:pt x="800" y="125"/>
                      </a:lnTo>
                      <a:lnTo>
                        <a:pt x="800" y="119"/>
                      </a:lnTo>
                      <a:lnTo>
                        <a:pt x="808" y="119"/>
                      </a:lnTo>
                      <a:lnTo>
                        <a:pt x="813" y="119"/>
                      </a:lnTo>
                      <a:lnTo>
                        <a:pt x="819" y="113"/>
                      </a:lnTo>
                      <a:lnTo>
                        <a:pt x="819" y="108"/>
                      </a:lnTo>
                      <a:lnTo>
                        <a:pt x="822" y="108"/>
                      </a:lnTo>
                      <a:lnTo>
                        <a:pt x="825" y="105"/>
                      </a:lnTo>
                      <a:lnTo>
                        <a:pt x="828" y="97"/>
                      </a:lnTo>
                      <a:lnTo>
                        <a:pt x="830" y="97"/>
                      </a:lnTo>
                      <a:lnTo>
                        <a:pt x="833" y="97"/>
                      </a:lnTo>
                      <a:lnTo>
                        <a:pt x="836" y="95"/>
                      </a:lnTo>
                      <a:lnTo>
                        <a:pt x="838" y="95"/>
                      </a:lnTo>
                      <a:lnTo>
                        <a:pt x="841" y="95"/>
                      </a:lnTo>
                      <a:lnTo>
                        <a:pt x="846" y="95"/>
                      </a:lnTo>
                      <a:lnTo>
                        <a:pt x="849" y="95"/>
                      </a:lnTo>
                      <a:lnTo>
                        <a:pt x="852" y="95"/>
                      </a:lnTo>
                      <a:lnTo>
                        <a:pt x="852" y="92"/>
                      </a:lnTo>
                      <a:lnTo>
                        <a:pt x="858" y="89"/>
                      </a:lnTo>
                      <a:lnTo>
                        <a:pt x="863" y="83"/>
                      </a:lnTo>
                      <a:lnTo>
                        <a:pt x="863" y="80"/>
                      </a:lnTo>
                      <a:lnTo>
                        <a:pt x="866" y="77"/>
                      </a:lnTo>
                      <a:lnTo>
                        <a:pt x="863" y="72"/>
                      </a:lnTo>
                      <a:lnTo>
                        <a:pt x="858" y="69"/>
                      </a:lnTo>
                      <a:lnTo>
                        <a:pt x="854" y="64"/>
                      </a:lnTo>
                      <a:lnTo>
                        <a:pt x="858" y="59"/>
                      </a:lnTo>
                      <a:lnTo>
                        <a:pt x="874" y="53"/>
                      </a:lnTo>
                      <a:lnTo>
                        <a:pt x="882" y="42"/>
                      </a:lnTo>
                      <a:lnTo>
                        <a:pt x="897" y="39"/>
                      </a:lnTo>
                      <a:lnTo>
                        <a:pt x="907" y="42"/>
                      </a:lnTo>
                      <a:lnTo>
                        <a:pt x="913" y="36"/>
                      </a:lnTo>
                      <a:lnTo>
                        <a:pt x="918" y="36"/>
                      </a:lnTo>
                      <a:lnTo>
                        <a:pt x="921" y="36"/>
                      </a:lnTo>
                      <a:lnTo>
                        <a:pt x="923" y="36"/>
                      </a:lnTo>
                      <a:lnTo>
                        <a:pt x="923" y="34"/>
                      </a:lnTo>
                      <a:lnTo>
                        <a:pt x="930" y="31"/>
                      </a:lnTo>
                      <a:lnTo>
                        <a:pt x="932" y="28"/>
                      </a:lnTo>
                      <a:lnTo>
                        <a:pt x="938" y="28"/>
                      </a:lnTo>
                      <a:lnTo>
                        <a:pt x="941" y="28"/>
                      </a:lnTo>
                      <a:lnTo>
                        <a:pt x="943" y="23"/>
                      </a:lnTo>
                      <a:lnTo>
                        <a:pt x="943" y="20"/>
                      </a:lnTo>
                      <a:lnTo>
                        <a:pt x="946" y="20"/>
                      </a:lnTo>
                      <a:lnTo>
                        <a:pt x="949" y="20"/>
                      </a:lnTo>
                      <a:lnTo>
                        <a:pt x="951" y="17"/>
                      </a:lnTo>
                      <a:lnTo>
                        <a:pt x="954" y="20"/>
                      </a:lnTo>
                      <a:lnTo>
                        <a:pt x="966" y="17"/>
                      </a:lnTo>
                      <a:lnTo>
                        <a:pt x="971" y="23"/>
                      </a:lnTo>
                      <a:lnTo>
                        <a:pt x="974" y="23"/>
                      </a:lnTo>
                      <a:lnTo>
                        <a:pt x="979" y="23"/>
                      </a:lnTo>
                      <a:lnTo>
                        <a:pt x="982" y="17"/>
                      </a:lnTo>
                      <a:lnTo>
                        <a:pt x="987" y="20"/>
                      </a:lnTo>
                      <a:lnTo>
                        <a:pt x="993" y="14"/>
                      </a:lnTo>
                      <a:lnTo>
                        <a:pt x="996" y="14"/>
                      </a:lnTo>
                      <a:lnTo>
                        <a:pt x="999" y="20"/>
                      </a:lnTo>
                      <a:lnTo>
                        <a:pt x="999" y="17"/>
                      </a:lnTo>
                      <a:lnTo>
                        <a:pt x="999" y="23"/>
                      </a:lnTo>
                      <a:lnTo>
                        <a:pt x="996" y="28"/>
                      </a:lnTo>
                      <a:lnTo>
                        <a:pt x="999" y="31"/>
                      </a:lnTo>
                      <a:lnTo>
                        <a:pt x="996" y="34"/>
                      </a:lnTo>
                      <a:lnTo>
                        <a:pt x="999" y="34"/>
                      </a:lnTo>
                      <a:lnTo>
                        <a:pt x="1001" y="36"/>
                      </a:lnTo>
                      <a:lnTo>
                        <a:pt x="1007" y="39"/>
                      </a:lnTo>
                      <a:lnTo>
                        <a:pt x="1012" y="42"/>
                      </a:lnTo>
                      <a:lnTo>
                        <a:pt x="1018" y="39"/>
                      </a:lnTo>
                      <a:lnTo>
                        <a:pt x="1020" y="39"/>
                      </a:lnTo>
                      <a:lnTo>
                        <a:pt x="1023" y="39"/>
                      </a:lnTo>
                      <a:lnTo>
                        <a:pt x="1026" y="36"/>
                      </a:lnTo>
                      <a:lnTo>
                        <a:pt x="1032" y="39"/>
                      </a:lnTo>
                      <a:lnTo>
                        <a:pt x="1035" y="34"/>
                      </a:lnTo>
                      <a:lnTo>
                        <a:pt x="1043" y="34"/>
                      </a:lnTo>
                      <a:lnTo>
                        <a:pt x="1048" y="28"/>
                      </a:lnTo>
                      <a:lnTo>
                        <a:pt x="1051" y="28"/>
                      </a:lnTo>
                      <a:lnTo>
                        <a:pt x="1053" y="28"/>
                      </a:lnTo>
                      <a:lnTo>
                        <a:pt x="1056" y="28"/>
                      </a:lnTo>
                      <a:lnTo>
                        <a:pt x="1059" y="26"/>
                      </a:lnTo>
                      <a:lnTo>
                        <a:pt x="1065" y="20"/>
                      </a:lnTo>
                      <a:lnTo>
                        <a:pt x="1073" y="20"/>
                      </a:lnTo>
                      <a:lnTo>
                        <a:pt x="1076" y="14"/>
                      </a:lnTo>
                      <a:lnTo>
                        <a:pt x="1079" y="11"/>
                      </a:lnTo>
                      <a:lnTo>
                        <a:pt x="1081" y="11"/>
                      </a:lnTo>
                      <a:lnTo>
                        <a:pt x="1084" y="11"/>
                      </a:lnTo>
                      <a:lnTo>
                        <a:pt x="1087" y="6"/>
                      </a:lnTo>
                      <a:lnTo>
                        <a:pt x="1092" y="6"/>
                      </a:lnTo>
                      <a:lnTo>
                        <a:pt x="1095" y="3"/>
                      </a:lnTo>
                      <a:lnTo>
                        <a:pt x="1098" y="0"/>
                      </a:lnTo>
                      <a:lnTo>
                        <a:pt x="1098" y="6"/>
                      </a:lnTo>
                      <a:lnTo>
                        <a:pt x="1104" y="0"/>
                      </a:lnTo>
                      <a:lnTo>
                        <a:pt x="1109" y="0"/>
                      </a:lnTo>
                      <a:lnTo>
                        <a:pt x="1109" y="3"/>
                      </a:lnTo>
                      <a:lnTo>
                        <a:pt x="1112" y="0"/>
                      </a:lnTo>
                      <a:lnTo>
                        <a:pt x="1112" y="3"/>
                      </a:lnTo>
                      <a:lnTo>
                        <a:pt x="1114" y="6"/>
                      </a:lnTo>
                      <a:lnTo>
                        <a:pt x="1114" y="3"/>
                      </a:lnTo>
                      <a:lnTo>
                        <a:pt x="1120" y="3"/>
                      </a:lnTo>
                      <a:lnTo>
                        <a:pt x="1120" y="0"/>
                      </a:lnTo>
                      <a:lnTo>
                        <a:pt x="1122" y="0"/>
                      </a:lnTo>
                      <a:lnTo>
                        <a:pt x="1125" y="0"/>
                      </a:lnTo>
                      <a:lnTo>
                        <a:pt x="1128" y="0"/>
                      </a:lnTo>
                      <a:lnTo>
                        <a:pt x="1125" y="6"/>
                      </a:lnTo>
                      <a:lnTo>
                        <a:pt x="1128" y="6"/>
                      </a:lnTo>
                      <a:lnTo>
                        <a:pt x="1128" y="8"/>
                      </a:lnTo>
                      <a:lnTo>
                        <a:pt x="1131" y="11"/>
                      </a:lnTo>
                      <a:lnTo>
                        <a:pt x="1140" y="11"/>
                      </a:lnTo>
                      <a:lnTo>
                        <a:pt x="1140" y="8"/>
                      </a:lnTo>
                      <a:lnTo>
                        <a:pt x="1145" y="8"/>
                      </a:lnTo>
                      <a:lnTo>
                        <a:pt x="1148" y="8"/>
                      </a:lnTo>
                      <a:lnTo>
                        <a:pt x="1150" y="8"/>
                      </a:lnTo>
                      <a:lnTo>
                        <a:pt x="1153" y="14"/>
                      </a:lnTo>
                      <a:lnTo>
                        <a:pt x="1173" y="20"/>
                      </a:lnTo>
                      <a:lnTo>
                        <a:pt x="1194" y="26"/>
                      </a:lnTo>
                      <a:lnTo>
                        <a:pt x="1197" y="26"/>
                      </a:lnTo>
                      <a:lnTo>
                        <a:pt x="1203" y="26"/>
                      </a:lnTo>
                      <a:lnTo>
                        <a:pt x="1214" y="31"/>
                      </a:lnTo>
                      <a:lnTo>
                        <a:pt x="1219" y="28"/>
                      </a:lnTo>
                      <a:lnTo>
                        <a:pt x="1225" y="31"/>
                      </a:lnTo>
                      <a:lnTo>
                        <a:pt x="1230" y="31"/>
                      </a:lnTo>
                      <a:lnTo>
                        <a:pt x="1234" y="31"/>
                      </a:lnTo>
                      <a:lnTo>
                        <a:pt x="1244" y="31"/>
                      </a:lnTo>
                      <a:lnTo>
                        <a:pt x="1252" y="36"/>
                      </a:lnTo>
                      <a:lnTo>
                        <a:pt x="1252" y="42"/>
                      </a:lnTo>
                      <a:lnTo>
                        <a:pt x="1252" y="44"/>
                      </a:lnTo>
                      <a:lnTo>
                        <a:pt x="1247" y="51"/>
                      </a:lnTo>
                      <a:lnTo>
                        <a:pt x="1244" y="59"/>
                      </a:lnTo>
                      <a:lnTo>
                        <a:pt x="1242" y="67"/>
                      </a:lnTo>
                      <a:lnTo>
                        <a:pt x="1239" y="69"/>
                      </a:lnTo>
                      <a:lnTo>
                        <a:pt x="1230" y="77"/>
                      </a:lnTo>
                      <a:lnTo>
                        <a:pt x="1225" y="86"/>
                      </a:lnTo>
                      <a:lnTo>
                        <a:pt x="1222" y="89"/>
                      </a:lnTo>
                      <a:lnTo>
                        <a:pt x="1219" y="97"/>
                      </a:lnTo>
                      <a:lnTo>
                        <a:pt x="1219" y="103"/>
                      </a:lnTo>
                      <a:lnTo>
                        <a:pt x="1217" y="105"/>
                      </a:lnTo>
                      <a:lnTo>
                        <a:pt x="1219" y="105"/>
                      </a:lnTo>
                      <a:lnTo>
                        <a:pt x="1217" y="108"/>
                      </a:lnTo>
                      <a:lnTo>
                        <a:pt x="1211" y="113"/>
                      </a:lnTo>
                      <a:lnTo>
                        <a:pt x="1211" y="116"/>
                      </a:lnTo>
                      <a:lnTo>
                        <a:pt x="1211" y="119"/>
                      </a:lnTo>
                      <a:lnTo>
                        <a:pt x="1206" y="125"/>
                      </a:lnTo>
                      <a:lnTo>
                        <a:pt x="1206" y="128"/>
                      </a:lnTo>
                      <a:lnTo>
                        <a:pt x="1200" y="130"/>
                      </a:lnTo>
                      <a:lnTo>
                        <a:pt x="1200" y="138"/>
                      </a:lnTo>
                      <a:lnTo>
                        <a:pt x="1197" y="141"/>
                      </a:lnTo>
                      <a:lnTo>
                        <a:pt x="1194" y="141"/>
                      </a:lnTo>
                      <a:lnTo>
                        <a:pt x="1194" y="149"/>
                      </a:lnTo>
                      <a:lnTo>
                        <a:pt x="1194" y="152"/>
                      </a:lnTo>
                      <a:lnTo>
                        <a:pt x="1191" y="158"/>
                      </a:lnTo>
                      <a:lnTo>
                        <a:pt x="1186" y="161"/>
                      </a:lnTo>
                      <a:lnTo>
                        <a:pt x="1183" y="163"/>
                      </a:lnTo>
                      <a:lnTo>
                        <a:pt x="1183" y="166"/>
                      </a:lnTo>
                      <a:lnTo>
                        <a:pt x="1181" y="172"/>
                      </a:lnTo>
                      <a:lnTo>
                        <a:pt x="1175" y="174"/>
                      </a:lnTo>
                      <a:lnTo>
                        <a:pt x="1175" y="177"/>
                      </a:lnTo>
                      <a:lnTo>
                        <a:pt x="1173" y="185"/>
                      </a:lnTo>
                      <a:lnTo>
                        <a:pt x="1165" y="194"/>
                      </a:lnTo>
                      <a:lnTo>
                        <a:pt x="1158" y="197"/>
                      </a:lnTo>
                      <a:lnTo>
                        <a:pt x="1153" y="205"/>
                      </a:lnTo>
                      <a:lnTo>
                        <a:pt x="1148" y="207"/>
                      </a:lnTo>
                      <a:lnTo>
                        <a:pt x="1145" y="210"/>
                      </a:lnTo>
                      <a:lnTo>
                        <a:pt x="1148" y="210"/>
                      </a:lnTo>
                      <a:lnTo>
                        <a:pt x="1140" y="213"/>
                      </a:lnTo>
                      <a:lnTo>
                        <a:pt x="1137" y="215"/>
                      </a:lnTo>
                      <a:lnTo>
                        <a:pt x="1137" y="218"/>
                      </a:lnTo>
                      <a:lnTo>
                        <a:pt x="1128" y="221"/>
                      </a:lnTo>
                      <a:lnTo>
                        <a:pt x="1125" y="223"/>
                      </a:lnTo>
                      <a:lnTo>
                        <a:pt x="1117" y="232"/>
                      </a:lnTo>
                      <a:lnTo>
                        <a:pt x="1114" y="238"/>
                      </a:lnTo>
                      <a:lnTo>
                        <a:pt x="1112" y="251"/>
                      </a:lnTo>
                      <a:lnTo>
                        <a:pt x="1106" y="263"/>
                      </a:lnTo>
                      <a:lnTo>
                        <a:pt x="1101" y="263"/>
                      </a:lnTo>
                      <a:lnTo>
                        <a:pt x="1101" y="268"/>
                      </a:lnTo>
                      <a:lnTo>
                        <a:pt x="1098" y="268"/>
                      </a:lnTo>
                      <a:lnTo>
                        <a:pt x="1089" y="276"/>
                      </a:lnTo>
                      <a:lnTo>
                        <a:pt x="1087" y="282"/>
                      </a:lnTo>
                      <a:lnTo>
                        <a:pt x="1076" y="290"/>
                      </a:lnTo>
                      <a:lnTo>
                        <a:pt x="1076" y="299"/>
                      </a:lnTo>
                      <a:lnTo>
                        <a:pt x="1071" y="299"/>
                      </a:lnTo>
                      <a:lnTo>
                        <a:pt x="1065" y="304"/>
                      </a:lnTo>
                      <a:lnTo>
                        <a:pt x="1065" y="307"/>
                      </a:lnTo>
                      <a:lnTo>
                        <a:pt x="1059" y="310"/>
                      </a:lnTo>
                      <a:lnTo>
                        <a:pt x="1053" y="315"/>
                      </a:lnTo>
                      <a:lnTo>
                        <a:pt x="1051" y="315"/>
                      </a:lnTo>
                      <a:lnTo>
                        <a:pt x="1045" y="323"/>
                      </a:lnTo>
                      <a:lnTo>
                        <a:pt x="1040" y="328"/>
                      </a:lnTo>
                      <a:lnTo>
                        <a:pt x="1037" y="335"/>
                      </a:lnTo>
                      <a:lnTo>
                        <a:pt x="1032" y="343"/>
                      </a:lnTo>
                      <a:lnTo>
                        <a:pt x="1032" y="348"/>
                      </a:lnTo>
                      <a:lnTo>
                        <a:pt x="1032" y="356"/>
                      </a:lnTo>
                      <a:lnTo>
                        <a:pt x="1026" y="356"/>
                      </a:lnTo>
                      <a:lnTo>
                        <a:pt x="1020" y="365"/>
                      </a:lnTo>
                      <a:lnTo>
                        <a:pt x="1018" y="361"/>
                      </a:lnTo>
                      <a:lnTo>
                        <a:pt x="1020" y="361"/>
                      </a:lnTo>
                      <a:lnTo>
                        <a:pt x="1020" y="359"/>
                      </a:lnTo>
                      <a:lnTo>
                        <a:pt x="1018" y="359"/>
                      </a:lnTo>
                      <a:lnTo>
                        <a:pt x="1007" y="361"/>
                      </a:lnTo>
                      <a:lnTo>
                        <a:pt x="996" y="376"/>
                      </a:lnTo>
                      <a:lnTo>
                        <a:pt x="993" y="376"/>
                      </a:lnTo>
                      <a:lnTo>
                        <a:pt x="984" y="384"/>
                      </a:lnTo>
                      <a:lnTo>
                        <a:pt x="982" y="389"/>
                      </a:lnTo>
                      <a:lnTo>
                        <a:pt x="984" y="387"/>
                      </a:lnTo>
                      <a:lnTo>
                        <a:pt x="968" y="406"/>
                      </a:lnTo>
                      <a:lnTo>
                        <a:pt x="960" y="420"/>
                      </a:lnTo>
                      <a:lnTo>
                        <a:pt x="954" y="428"/>
                      </a:lnTo>
                      <a:lnTo>
                        <a:pt x="949" y="442"/>
                      </a:lnTo>
                      <a:lnTo>
                        <a:pt x="932" y="456"/>
                      </a:lnTo>
                      <a:lnTo>
                        <a:pt x="923" y="473"/>
                      </a:lnTo>
                      <a:lnTo>
                        <a:pt x="918" y="481"/>
                      </a:lnTo>
                      <a:lnTo>
                        <a:pt x="907" y="497"/>
                      </a:lnTo>
                      <a:lnTo>
                        <a:pt x="897" y="517"/>
                      </a:lnTo>
                      <a:lnTo>
                        <a:pt x="891" y="522"/>
                      </a:lnTo>
                      <a:lnTo>
                        <a:pt x="891" y="527"/>
                      </a:lnTo>
                      <a:lnTo>
                        <a:pt x="885" y="533"/>
                      </a:lnTo>
                      <a:lnTo>
                        <a:pt x="880" y="530"/>
                      </a:lnTo>
                      <a:lnTo>
                        <a:pt x="874" y="535"/>
                      </a:lnTo>
                      <a:lnTo>
                        <a:pt x="863" y="550"/>
                      </a:lnTo>
                      <a:lnTo>
                        <a:pt x="861" y="555"/>
                      </a:lnTo>
                      <a:lnTo>
                        <a:pt x="854" y="560"/>
                      </a:lnTo>
                      <a:lnTo>
                        <a:pt x="854" y="563"/>
                      </a:lnTo>
                      <a:lnTo>
                        <a:pt x="849" y="560"/>
                      </a:lnTo>
                      <a:lnTo>
                        <a:pt x="844" y="563"/>
                      </a:lnTo>
                      <a:lnTo>
                        <a:pt x="838" y="568"/>
                      </a:lnTo>
                      <a:lnTo>
                        <a:pt x="833" y="580"/>
                      </a:lnTo>
                      <a:lnTo>
                        <a:pt x="822" y="586"/>
                      </a:lnTo>
                      <a:lnTo>
                        <a:pt x="811" y="599"/>
                      </a:lnTo>
                      <a:lnTo>
                        <a:pt x="797" y="611"/>
                      </a:lnTo>
                      <a:lnTo>
                        <a:pt x="789" y="621"/>
                      </a:lnTo>
                      <a:lnTo>
                        <a:pt x="785" y="627"/>
                      </a:lnTo>
                      <a:lnTo>
                        <a:pt x="785" y="632"/>
                      </a:lnTo>
                      <a:lnTo>
                        <a:pt x="785" y="640"/>
                      </a:lnTo>
                      <a:lnTo>
                        <a:pt x="789" y="644"/>
                      </a:lnTo>
                      <a:lnTo>
                        <a:pt x="789" y="646"/>
                      </a:lnTo>
                      <a:lnTo>
                        <a:pt x="785" y="649"/>
                      </a:lnTo>
                      <a:lnTo>
                        <a:pt x="783" y="649"/>
                      </a:lnTo>
                      <a:lnTo>
                        <a:pt x="772" y="665"/>
                      </a:lnTo>
                      <a:lnTo>
                        <a:pt x="756" y="701"/>
                      </a:lnTo>
                      <a:lnTo>
                        <a:pt x="753" y="704"/>
                      </a:lnTo>
                      <a:lnTo>
                        <a:pt x="750" y="706"/>
                      </a:lnTo>
                      <a:lnTo>
                        <a:pt x="747" y="704"/>
                      </a:lnTo>
                      <a:lnTo>
                        <a:pt x="744" y="698"/>
                      </a:lnTo>
                      <a:lnTo>
                        <a:pt x="736" y="682"/>
                      </a:lnTo>
                      <a:lnTo>
                        <a:pt x="734" y="673"/>
                      </a:lnTo>
                      <a:lnTo>
                        <a:pt x="731" y="673"/>
                      </a:lnTo>
                      <a:lnTo>
                        <a:pt x="723" y="668"/>
                      </a:lnTo>
                      <a:lnTo>
                        <a:pt x="720" y="665"/>
                      </a:lnTo>
                      <a:lnTo>
                        <a:pt x="711" y="671"/>
                      </a:lnTo>
                      <a:lnTo>
                        <a:pt x="711" y="673"/>
                      </a:lnTo>
                      <a:lnTo>
                        <a:pt x="708" y="673"/>
                      </a:lnTo>
                      <a:lnTo>
                        <a:pt x="700" y="676"/>
                      </a:lnTo>
                      <a:lnTo>
                        <a:pt x="698" y="676"/>
                      </a:lnTo>
                      <a:lnTo>
                        <a:pt x="698" y="673"/>
                      </a:lnTo>
                      <a:lnTo>
                        <a:pt x="700" y="673"/>
                      </a:lnTo>
                      <a:lnTo>
                        <a:pt x="690" y="673"/>
                      </a:lnTo>
                      <a:lnTo>
                        <a:pt x="687" y="676"/>
                      </a:lnTo>
                      <a:lnTo>
                        <a:pt x="678" y="671"/>
                      </a:lnTo>
                      <a:lnTo>
                        <a:pt x="681" y="660"/>
                      </a:lnTo>
                      <a:lnTo>
                        <a:pt x="678" y="649"/>
                      </a:lnTo>
                      <a:lnTo>
                        <a:pt x="678" y="635"/>
                      </a:lnTo>
                      <a:lnTo>
                        <a:pt x="675" y="629"/>
                      </a:lnTo>
                      <a:lnTo>
                        <a:pt x="670" y="621"/>
                      </a:lnTo>
                      <a:lnTo>
                        <a:pt x="667" y="616"/>
                      </a:lnTo>
                      <a:lnTo>
                        <a:pt x="659" y="611"/>
                      </a:lnTo>
                      <a:lnTo>
                        <a:pt x="659" y="607"/>
                      </a:lnTo>
                      <a:lnTo>
                        <a:pt x="657" y="604"/>
                      </a:lnTo>
                      <a:lnTo>
                        <a:pt x="654" y="602"/>
                      </a:lnTo>
                      <a:lnTo>
                        <a:pt x="651" y="602"/>
                      </a:lnTo>
                      <a:lnTo>
                        <a:pt x="647" y="602"/>
                      </a:lnTo>
                      <a:lnTo>
                        <a:pt x="642" y="607"/>
                      </a:lnTo>
                      <a:lnTo>
                        <a:pt x="634" y="607"/>
                      </a:lnTo>
                      <a:lnTo>
                        <a:pt x="631" y="611"/>
                      </a:lnTo>
                      <a:lnTo>
                        <a:pt x="626" y="611"/>
                      </a:lnTo>
                      <a:lnTo>
                        <a:pt x="623" y="611"/>
                      </a:lnTo>
                      <a:lnTo>
                        <a:pt x="618" y="607"/>
                      </a:lnTo>
                      <a:lnTo>
                        <a:pt x="615" y="607"/>
                      </a:lnTo>
                      <a:lnTo>
                        <a:pt x="609" y="602"/>
                      </a:lnTo>
                      <a:lnTo>
                        <a:pt x="604" y="599"/>
                      </a:lnTo>
                      <a:lnTo>
                        <a:pt x="601" y="599"/>
                      </a:lnTo>
                      <a:lnTo>
                        <a:pt x="604" y="596"/>
                      </a:lnTo>
                      <a:lnTo>
                        <a:pt x="604" y="594"/>
                      </a:lnTo>
                      <a:lnTo>
                        <a:pt x="596" y="591"/>
                      </a:lnTo>
                      <a:lnTo>
                        <a:pt x="593" y="591"/>
                      </a:lnTo>
                      <a:lnTo>
                        <a:pt x="578" y="588"/>
                      </a:lnTo>
                      <a:lnTo>
                        <a:pt x="576" y="586"/>
                      </a:lnTo>
                      <a:lnTo>
                        <a:pt x="568" y="580"/>
                      </a:lnTo>
                      <a:lnTo>
                        <a:pt x="565" y="577"/>
                      </a:lnTo>
                      <a:lnTo>
                        <a:pt x="565" y="575"/>
                      </a:lnTo>
                      <a:lnTo>
                        <a:pt x="565" y="571"/>
                      </a:lnTo>
                      <a:lnTo>
                        <a:pt x="565" y="568"/>
                      </a:lnTo>
                      <a:lnTo>
                        <a:pt x="562" y="563"/>
                      </a:lnTo>
                      <a:lnTo>
                        <a:pt x="557" y="563"/>
                      </a:lnTo>
                      <a:lnTo>
                        <a:pt x="552" y="558"/>
                      </a:lnTo>
                      <a:lnTo>
                        <a:pt x="537" y="555"/>
                      </a:lnTo>
                      <a:lnTo>
                        <a:pt x="535" y="550"/>
                      </a:lnTo>
                      <a:lnTo>
                        <a:pt x="529" y="542"/>
                      </a:lnTo>
                      <a:lnTo>
                        <a:pt x="524" y="535"/>
                      </a:lnTo>
                      <a:lnTo>
                        <a:pt x="521" y="527"/>
                      </a:lnTo>
                      <a:lnTo>
                        <a:pt x="521" y="525"/>
                      </a:lnTo>
                      <a:lnTo>
                        <a:pt x="521" y="522"/>
                      </a:lnTo>
                      <a:lnTo>
                        <a:pt x="518" y="519"/>
                      </a:lnTo>
                      <a:lnTo>
                        <a:pt x="518" y="517"/>
                      </a:lnTo>
                      <a:lnTo>
                        <a:pt x="518" y="509"/>
                      </a:lnTo>
                      <a:lnTo>
                        <a:pt x="518" y="506"/>
                      </a:lnTo>
                      <a:lnTo>
                        <a:pt x="518" y="499"/>
                      </a:lnTo>
                      <a:lnTo>
                        <a:pt x="516" y="494"/>
                      </a:lnTo>
                      <a:lnTo>
                        <a:pt x="516" y="491"/>
                      </a:lnTo>
                      <a:lnTo>
                        <a:pt x="504" y="486"/>
                      </a:lnTo>
                      <a:lnTo>
                        <a:pt x="501" y="486"/>
                      </a:lnTo>
                      <a:lnTo>
                        <a:pt x="499" y="486"/>
                      </a:lnTo>
                      <a:lnTo>
                        <a:pt x="491" y="491"/>
                      </a:lnTo>
                      <a:lnTo>
                        <a:pt x="488" y="491"/>
                      </a:lnTo>
                      <a:lnTo>
                        <a:pt x="483" y="491"/>
                      </a:lnTo>
                      <a:lnTo>
                        <a:pt x="471" y="481"/>
                      </a:lnTo>
                      <a:lnTo>
                        <a:pt x="449" y="461"/>
                      </a:lnTo>
                      <a:lnTo>
                        <a:pt x="440" y="456"/>
                      </a:lnTo>
                      <a:lnTo>
                        <a:pt x="422" y="453"/>
                      </a:lnTo>
                      <a:lnTo>
                        <a:pt x="411" y="453"/>
                      </a:lnTo>
                      <a:lnTo>
                        <a:pt x="405" y="453"/>
                      </a:lnTo>
                      <a:lnTo>
                        <a:pt x="402" y="450"/>
                      </a:lnTo>
                      <a:lnTo>
                        <a:pt x="402" y="448"/>
                      </a:lnTo>
                      <a:lnTo>
                        <a:pt x="399" y="442"/>
                      </a:lnTo>
                      <a:lnTo>
                        <a:pt x="394" y="433"/>
                      </a:lnTo>
                      <a:lnTo>
                        <a:pt x="386" y="425"/>
                      </a:lnTo>
                      <a:lnTo>
                        <a:pt x="380" y="422"/>
                      </a:lnTo>
                      <a:lnTo>
                        <a:pt x="371" y="420"/>
                      </a:lnTo>
                      <a:lnTo>
                        <a:pt x="361" y="412"/>
                      </a:lnTo>
                      <a:lnTo>
                        <a:pt x="358" y="409"/>
                      </a:lnTo>
                      <a:lnTo>
                        <a:pt x="355" y="406"/>
                      </a:lnTo>
                      <a:lnTo>
                        <a:pt x="350" y="406"/>
                      </a:lnTo>
                      <a:lnTo>
                        <a:pt x="342" y="404"/>
                      </a:lnTo>
                      <a:lnTo>
                        <a:pt x="330" y="397"/>
                      </a:lnTo>
                      <a:lnTo>
                        <a:pt x="328" y="395"/>
                      </a:lnTo>
                      <a:lnTo>
                        <a:pt x="312" y="392"/>
                      </a:lnTo>
                      <a:lnTo>
                        <a:pt x="278" y="387"/>
                      </a:lnTo>
                      <a:lnTo>
                        <a:pt x="269" y="387"/>
                      </a:lnTo>
                      <a:lnTo>
                        <a:pt x="264" y="384"/>
                      </a:lnTo>
                      <a:lnTo>
                        <a:pt x="233" y="365"/>
                      </a:lnTo>
                      <a:lnTo>
                        <a:pt x="233" y="361"/>
                      </a:lnTo>
                      <a:lnTo>
                        <a:pt x="231" y="356"/>
                      </a:lnTo>
                      <a:lnTo>
                        <a:pt x="228" y="351"/>
                      </a:lnTo>
                      <a:lnTo>
                        <a:pt x="223" y="348"/>
                      </a:lnTo>
                      <a:lnTo>
                        <a:pt x="212" y="343"/>
                      </a:lnTo>
                      <a:lnTo>
                        <a:pt x="198" y="340"/>
                      </a:lnTo>
                      <a:lnTo>
                        <a:pt x="195" y="340"/>
                      </a:lnTo>
                      <a:lnTo>
                        <a:pt x="184" y="345"/>
                      </a:lnTo>
                      <a:lnTo>
                        <a:pt x="182" y="345"/>
                      </a:lnTo>
                      <a:lnTo>
                        <a:pt x="179" y="337"/>
                      </a:lnTo>
                      <a:lnTo>
                        <a:pt x="174" y="332"/>
                      </a:lnTo>
                      <a:lnTo>
                        <a:pt x="171" y="326"/>
                      </a:lnTo>
                      <a:lnTo>
                        <a:pt x="167" y="326"/>
                      </a:lnTo>
                      <a:lnTo>
                        <a:pt x="162" y="326"/>
                      </a:lnTo>
                      <a:lnTo>
                        <a:pt x="162" y="320"/>
                      </a:lnTo>
                      <a:lnTo>
                        <a:pt x="159" y="320"/>
                      </a:lnTo>
                      <a:lnTo>
                        <a:pt x="143" y="307"/>
                      </a:lnTo>
                      <a:lnTo>
                        <a:pt x="140" y="304"/>
                      </a:lnTo>
                      <a:lnTo>
                        <a:pt x="138" y="304"/>
                      </a:lnTo>
                      <a:lnTo>
                        <a:pt x="129" y="307"/>
                      </a:lnTo>
                      <a:lnTo>
                        <a:pt x="113" y="301"/>
                      </a:lnTo>
                      <a:lnTo>
                        <a:pt x="98" y="299"/>
                      </a:lnTo>
                      <a:lnTo>
                        <a:pt x="93" y="292"/>
                      </a:lnTo>
                      <a:lnTo>
                        <a:pt x="95" y="284"/>
                      </a:lnTo>
                      <a:lnTo>
                        <a:pt x="90" y="279"/>
                      </a:lnTo>
                      <a:lnTo>
                        <a:pt x="85" y="274"/>
                      </a:lnTo>
                      <a:lnTo>
                        <a:pt x="82" y="274"/>
                      </a:lnTo>
                      <a:lnTo>
                        <a:pt x="77" y="274"/>
                      </a:lnTo>
                      <a:lnTo>
                        <a:pt x="71" y="268"/>
                      </a:lnTo>
                      <a:lnTo>
                        <a:pt x="69" y="268"/>
                      </a:lnTo>
                      <a:lnTo>
                        <a:pt x="66" y="266"/>
                      </a:lnTo>
                      <a:lnTo>
                        <a:pt x="66" y="263"/>
                      </a:lnTo>
                      <a:lnTo>
                        <a:pt x="62" y="263"/>
                      </a:lnTo>
                      <a:lnTo>
                        <a:pt x="52" y="260"/>
                      </a:lnTo>
                      <a:lnTo>
                        <a:pt x="49" y="260"/>
                      </a:lnTo>
                      <a:lnTo>
                        <a:pt x="46" y="263"/>
                      </a:lnTo>
                      <a:lnTo>
                        <a:pt x="38" y="260"/>
                      </a:lnTo>
                      <a:lnTo>
                        <a:pt x="33" y="263"/>
                      </a:lnTo>
                      <a:lnTo>
                        <a:pt x="24" y="254"/>
                      </a:lnTo>
                      <a:lnTo>
                        <a:pt x="16" y="254"/>
                      </a:lnTo>
                      <a:lnTo>
                        <a:pt x="13" y="251"/>
                      </a:lnTo>
                      <a:lnTo>
                        <a:pt x="13" y="246"/>
                      </a:lnTo>
                      <a:lnTo>
                        <a:pt x="16" y="243"/>
                      </a:lnTo>
                      <a:lnTo>
                        <a:pt x="16" y="238"/>
                      </a:lnTo>
                      <a:lnTo>
                        <a:pt x="13" y="235"/>
                      </a:lnTo>
                      <a:lnTo>
                        <a:pt x="10" y="227"/>
                      </a:lnTo>
                      <a:lnTo>
                        <a:pt x="0" y="215"/>
                      </a:lnTo>
                      <a:close/>
                    </a:path>
                  </a:pathLst>
                </a:custGeom>
                <a:grpFill/>
                <a:ln w="12700" cap="flat" cmpd="sng" algn="ctr">
                  <a:solidFill>
                    <a:schemeClr val="bg1">
                      <a:lumMod val="85000"/>
                    </a:schemeClr>
                  </a:solidFill>
                  <a:prstDash val="solid"/>
                  <a:round/>
                  <a:headEnd type="none" w="med" len="med"/>
                  <a:tailEnd type="none" w="med" len="med"/>
                </a:ln>
              </p:spPr>
            </p:sp>
            <p:sp>
              <p:nvSpPr>
                <p:cNvPr id="42" name="ee4p_BR_3"/>
                <p:cNvSpPr>
                  <a:spLocks/>
                </p:cNvSpPr>
                <p:nvPr>
                  <p:custDataLst>
                    <p:tags r:id="rId4"/>
                  </p:custDataLst>
                </p:nvPr>
              </p:nvSpPr>
              <p:spPr bwMode="auto">
                <a:xfrm>
                  <a:off x="4523293" y="1647314"/>
                  <a:ext cx="524546" cy="665673"/>
                </a:xfrm>
                <a:custGeom>
                  <a:avLst/>
                  <a:gdLst/>
                  <a:ahLst/>
                  <a:cxnLst>
                    <a:cxn ang="0">
                      <a:pos x="383" y="913"/>
                    </a:cxn>
                    <a:cxn ang="0">
                      <a:pos x="416" y="890"/>
                    </a:cxn>
                    <a:cxn ang="0">
                      <a:pos x="460" y="866"/>
                    </a:cxn>
                    <a:cxn ang="0">
                      <a:pos x="485" y="894"/>
                    </a:cxn>
                    <a:cxn ang="0">
                      <a:pos x="560" y="913"/>
                    </a:cxn>
                    <a:cxn ang="0">
                      <a:pos x="615" y="874"/>
                    </a:cxn>
                    <a:cxn ang="0">
                      <a:pos x="656" y="924"/>
                    </a:cxn>
                    <a:cxn ang="0">
                      <a:pos x="672" y="941"/>
                    </a:cxn>
                    <a:cxn ang="0">
                      <a:pos x="789" y="941"/>
                    </a:cxn>
                    <a:cxn ang="0">
                      <a:pos x="849" y="890"/>
                    </a:cxn>
                    <a:cxn ang="0">
                      <a:pos x="922" y="831"/>
                    </a:cxn>
                    <a:cxn ang="0">
                      <a:pos x="946" y="750"/>
                    </a:cxn>
                    <a:cxn ang="0">
                      <a:pos x="1012" y="637"/>
                    </a:cxn>
                    <a:cxn ang="0">
                      <a:pos x="1026" y="552"/>
                    </a:cxn>
                    <a:cxn ang="0">
                      <a:pos x="1068" y="502"/>
                    </a:cxn>
                    <a:cxn ang="0">
                      <a:pos x="1172" y="320"/>
                    </a:cxn>
                    <a:cxn ang="0">
                      <a:pos x="1242" y="240"/>
                    </a:cxn>
                    <a:cxn ang="0">
                      <a:pos x="1324" y="125"/>
                    </a:cxn>
                    <a:cxn ang="0">
                      <a:pos x="1482" y="115"/>
                    </a:cxn>
                    <a:cxn ang="0">
                      <a:pos x="1543" y="273"/>
                    </a:cxn>
                    <a:cxn ang="0">
                      <a:pos x="1561" y="529"/>
                    </a:cxn>
                    <a:cxn ang="0">
                      <a:pos x="1597" y="670"/>
                    </a:cxn>
                    <a:cxn ang="0">
                      <a:pos x="1638" y="775"/>
                    </a:cxn>
                    <a:cxn ang="0">
                      <a:pos x="1669" y="849"/>
                    </a:cxn>
                    <a:cxn ang="0">
                      <a:pos x="1697" y="960"/>
                    </a:cxn>
                    <a:cxn ang="0">
                      <a:pos x="1837" y="985"/>
                    </a:cxn>
                    <a:cxn ang="0">
                      <a:pos x="1981" y="1125"/>
                    </a:cxn>
                    <a:cxn ang="0">
                      <a:pos x="2026" y="1349"/>
                    </a:cxn>
                    <a:cxn ang="0">
                      <a:pos x="1965" y="1501"/>
                    </a:cxn>
                    <a:cxn ang="0">
                      <a:pos x="1918" y="1564"/>
                    </a:cxn>
                    <a:cxn ang="0">
                      <a:pos x="1747" y="1746"/>
                    </a:cxn>
                    <a:cxn ang="0">
                      <a:pos x="1556" y="1882"/>
                    </a:cxn>
                    <a:cxn ang="0">
                      <a:pos x="1405" y="2038"/>
                    </a:cxn>
                    <a:cxn ang="0">
                      <a:pos x="1296" y="2284"/>
                    </a:cxn>
                    <a:cxn ang="0">
                      <a:pos x="1175" y="2329"/>
                    </a:cxn>
                    <a:cxn ang="0">
                      <a:pos x="1122" y="2365"/>
                    </a:cxn>
                    <a:cxn ang="0">
                      <a:pos x="993" y="2296"/>
                    </a:cxn>
                    <a:cxn ang="0">
                      <a:pos x="979" y="2212"/>
                    </a:cxn>
                    <a:cxn ang="0">
                      <a:pos x="960" y="2138"/>
                    </a:cxn>
                    <a:cxn ang="0">
                      <a:pos x="894" y="2036"/>
                    </a:cxn>
                    <a:cxn ang="0">
                      <a:pos x="792" y="1920"/>
                    </a:cxn>
                    <a:cxn ang="0">
                      <a:pos x="720" y="1762"/>
                    </a:cxn>
                    <a:cxn ang="0">
                      <a:pos x="700" y="1636"/>
                    </a:cxn>
                    <a:cxn ang="0">
                      <a:pos x="678" y="1534"/>
                    </a:cxn>
                    <a:cxn ang="0">
                      <a:pos x="587" y="1421"/>
                    </a:cxn>
                    <a:cxn ang="0">
                      <a:pos x="590" y="1338"/>
                    </a:cxn>
                    <a:cxn ang="0">
                      <a:pos x="540" y="1294"/>
                    </a:cxn>
                    <a:cxn ang="0">
                      <a:pos x="482" y="1278"/>
                    </a:cxn>
                    <a:cxn ang="0">
                      <a:pos x="435" y="1263"/>
                    </a:cxn>
                    <a:cxn ang="0">
                      <a:pos x="399" y="1255"/>
                    </a:cxn>
                    <a:cxn ang="0">
                      <a:pos x="355" y="1235"/>
                    </a:cxn>
                    <a:cxn ang="0">
                      <a:pos x="317" y="1209"/>
                    </a:cxn>
                    <a:cxn ang="0">
                      <a:pos x="294" y="1173"/>
                    </a:cxn>
                    <a:cxn ang="0">
                      <a:pos x="248" y="1148"/>
                    </a:cxn>
                    <a:cxn ang="0">
                      <a:pos x="215" y="1131"/>
                    </a:cxn>
                    <a:cxn ang="0">
                      <a:pos x="143" y="1123"/>
                    </a:cxn>
                    <a:cxn ang="0">
                      <a:pos x="51" y="1112"/>
                    </a:cxn>
                    <a:cxn ang="0">
                      <a:pos x="46" y="1038"/>
                    </a:cxn>
                    <a:cxn ang="0">
                      <a:pos x="27" y="971"/>
                    </a:cxn>
                    <a:cxn ang="0">
                      <a:pos x="30" y="900"/>
                    </a:cxn>
                  </a:cxnLst>
                  <a:rect l="0" t="0" r="r" b="b"/>
                  <a:pathLst>
                    <a:path w="2031" h="2378">
                      <a:moveTo>
                        <a:pt x="2" y="839"/>
                      </a:moveTo>
                      <a:lnTo>
                        <a:pt x="33" y="836"/>
                      </a:lnTo>
                      <a:lnTo>
                        <a:pt x="51" y="825"/>
                      </a:lnTo>
                      <a:lnTo>
                        <a:pt x="77" y="833"/>
                      </a:lnTo>
                      <a:lnTo>
                        <a:pt x="74" y="869"/>
                      </a:lnTo>
                      <a:lnTo>
                        <a:pt x="87" y="885"/>
                      </a:lnTo>
                      <a:lnTo>
                        <a:pt x="110" y="880"/>
                      </a:lnTo>
                      <a:lnTo>
                        <a:pt x="179" y="933"/>
                      </a:lnTo>
                      <a:lnTo>
                        <a:pt x="278" y="946"/>
                      </a:lnTo>
                      <a:lnTo>
                        <a:pt x="355" y="924"/>
                      </a:lnTo>
                      <a:lnTo>
                        <a:pt x="361" y="921"/>
                      </a:lnTo>
                      <a:lnTo>
                        <a:pt x="366" y="924"/>
                      </a:lnTo>
                      <a:lnTo>
                        <a:pt x="370" y="918"/>
                      </a:lnTo>
                      <a:lnTo>
                        <a:pt x="375" y="918"/>
                      </a:lnTo>
                      <a:lnTo>
                        <a:pt x="378" y="921"/>
                      </a:lnTo>
                      <a:lnTo>
                        <a:pt x="380" y="918"/>
                      </a:lnTo>
                      <a:lnTo>
                        <a:pt x="380" y="916"/>
                      </a:lnTo>
                      <a:lnTo>
                        <a:pt x="383" y="913"/>
                      </a:lnTo>
                      <a:lnTo>
                        <a:pt x="380" y="905"/>
                      </a:lnTo>
                      <a:lnTo>
                        <a:pt x="380" y="902"/>
                      </a:lnTo>
                      <a:lnTo>
                        <a:pt x="380" y="900"/>
                      </a:lnTo>
                      <a:lnTo>
                        <a:pt x="383" y="897"/>
                      </a:lnTo>
                      <a:lnTo>
                        <a:pt x="383" y="900"/>
                      </a:lnTo>
                      <a:lnTo>
                        <a:pt x="388" y="900"/>
                      </a:lnTo>
                      <a:lnTo>
                        <a:pt x="388" y="905"/>
                      </a:lnTo>
                      <a:lnTo>
                        <a:pt x="394" y="908"/>
                      </a:lnTo>
                      <a:lnTo>
                        <a:pt x="396" y="900"/>
                      </a:lnTo>
                      <a:lnTo>
                        <a:pt x="399" y="902"/>
                      </a:lnTo>
                      <a:lnTo>
                        <a:pt x="399" y="900"/>
                      </a:lnTo>
                      <a:lnTo>
                        <a:pt x="402" y="897"/>
                      </a:lnTo>
                      <a:lnTo>
                        <a:pt x="399" y="894"/>
                      </a:lnTo>
                      <a:lnTo>
                        <a:pt x="402" y="888"/>
                      </a:lnTo>
                      <a:lnTo>
                        <a:pt x="408" y="888"/>
                      </a:lnTo>
                      <a:lnTo>
                        <a:pt x="411" y="890"/>
                      </a:lnTo>
                      <a:lnTo>
                        <a:pt x="414" y="888"/>
                      </a:lnTo>
                      <a:lnTo>
                        <a:pt x="416" y="890"/>
                      </a:lnTo>
                      <a:lnTo>
                        <a:pt x="419" y="890"/>
                      </a:lnTo>
                      <a:lnTo>
                        <a:pt x="427" y="888"/>
                      </a:lnTo>
                      <a:lnTo>
                        <a:pt x="430" y="888"/>
                      </a:lnTo>
                      <a:lnTo>
                        <a:pt x="427" y="882"/>
                      </a:lnTo>
                      <a:lnTo>
                        <a:pt x="424" y="882"/>
                      </a:lnTo>
                      <a:lnTo>
                        <a:pt x="422" y="880"/>
                      </a:lnTo>
                      <a:lnTo>
                        <a:pt x="430" y="877"/>
                      </a:lnTo>
                      <a:lnTo>
                        <a:pt x="432" y="872"/>
                      </a:lnTo>
                      <a:lnTo>
                        <a:pt x="435" y="872"/>
                      </a:lnTo>
                      <a:lnTo>
                        <a:pt x="439" y="869"/>
                      </a:lnTo>
                      <a:lnTo>
                        <a:pt x="441" y="869"/>
                      </a:lnTo>
                      <a:lnTo>
                        <a:pt x="444" y="866"/>
                      </a:lnTo>
                      <a:lnTo>
                        <a:pt x="447" y="864"/>
                      </a:lnTo>
                      <a:lnTo>
                        <a:pt x="449" y="864"/>
                      </a:lnTo>
                      <a:lnTo>
                        <a:pt x="455" y="864"/>
                      </a:lnTo>
                      <a:lnTo>
                        <a:pt x="460" y="864"/>
                      </a:lnTo>
                      <a:lnTo>
                        <a:pt x="463" y="866"/>
                      </a:lnTo>
                      <a:lnTo>
                        <a:pt x="460" y="866"/>
                      </a:lnTo>
                      <a:lnTo>
                        <a:pt x="455" y="869"/>
                      </a:lnTo>
                      <a:lnTo>
                        <a:pt x="460" y="872"/>
                      </a:lnTo>
                      <a:lnTo>
                        <a:pt x="463" y="869"/>
                      </a:lnTo>
                      <a:lnTo>
                        <a:pt x="465" y="874"/>
                      </a:lnTo>
                      <a:lnTo>
                        <a:pt x="468" y="872"/>
                      </a:lnTo>
                      <a:lnTo>
                        <a:pt x="465" y="877"/>
                      </a:lnTo>
                      <a:lnTo>
                        <a:pt x="460" y="880"/>
                      </a:lnTo>
                      <a:lnTo>
                        <a:pt x="463" y="885"/>
                      </a:lnTo>
                      <a:lnTo>
                        <a:pt x="460" y="885"/>
                      </a:lnTo>
                      <a:lnTo>
                        <a:pt x="457" y="888"/>
                      </a:lnTo>
                      <a:lnTo>
                        <a:pt x="457" y="890"/>
                      </a:lnTo>
                      <a:lnTo>
                        <a:pt x="463" y="890"/>
                      </a:lnTo>
                      <a:lnTo>
                        <a:pt x="465" y="888"/>
                      </a:lnTo>
                      <a:lnTo>
                        <a:pt x="474" y="890"/>
                      </a:lnTo>
                      <a:lnTo>
                        <a:pt x="480" y="890"/>
                      </a:lnTo>
                      <a:lnTo>
                        <a:pt x="482" y="897"/>
                      </a:lnTo>
                      <a:lnTo>
                        <a:pt x="485" y="897"/>
                      </a:lnTo>
                      <a:lnTo>
                        <a:pt x="485" y="894"/>
                      </a:lnTo>
                      <a:lnTo>
                        <a:pt x="493" y="894"/>
                      </a:lnTo>
                      <a:lnTo>
                        <a:pt x="493" y="897"/>
                      </a:lnTo>
                      <a:lnTo>
                        <a:pt x="496" y="894"/>
                      </a:lnTo>
                      <a:lnTo>
                        <a:pt x="496" y="902"/>
                      </a:lnTo>
                      <a:lnTo>
                        <a:pt x="504" y="902"/>
                      </a:lnTo>
                      <a:lnTo>
                        <a:pt x="508" y="902"/>
                      </a:lnTo>
                      <a:lnTo>
                        <a:pt x="510" y="905"/>
                      </a:lnTo>
                      <a:lnTo>
                        <a:pt x="513" y="905"/>
                      </a:lnTo>
                      <a:lnTo>
                        <a:pt x="513" y="902"/>
                      </a:lnTo>
                      <a:lnTo>
                        <a:pt x="518" y="902"/>
                      </a:lnTo>
                      <a:lnTo>
                        <a:pt x="524" y="908"/>
                      </a:lnTo>
                      <a:lnTo>
                        <a:pt x="526" y="908"/>
                      </a:lnTo>
                      <a:lnTo>
                        <a:pt x="532" y="908"/>
                      </a:lnTo>
                      <a:lnTo>
                        <a:pt x="537" y="913"/>
                      </a:lnTo>
                      <a:lnTo>
                        <a:pt x="546" y="913"/>
                      </a:lnTo>
                      <a:lnTo>
                        <a:pt x="551" y="910"/>
                      </a:lnTo>
                      <a:lnTo>
                        <a:pt x="554" y="910"/>
                      </a:lnTo>
                      <a:lnTo>
                        <a:pt x="560" y="913"/>
                      </a:lnTo>
                      <a:lnTo>
                        <a:pt x="565" y="910"/>
                      </a:lnTo>
                      <a:lnTo>
                        <a:pt x="570" y="913"/>
                      </a:lnTo>
                      <a:lnTo>
                        <a:pt x="577" y="910"/>
                      </a:lnTo>
                      <a:lnTo>
                        <a:pt x="577" y="908"/>
                      </a:lnTo>
                      <a:lnTo>
                        <a:pt x="573" y="905"/>
                      </a:lnTo>
                      <a:lnTo>
                        <a:pt x="570" y="900"/>
                      </a:lnTo>
                      <a:lnTo>
                        <a:pt x="573" y="900"/>
                      </a:lnTo>
                      <a:lnTo>
                        <a:pt x="585" y="905"/>
                      </a:lnTo>
                      <a:lnTo>
                        <a:pt x="587" y="900"/>
                      </a:lnTo>
                      <a:lnTo>
                        <a:pt x="590" y="900"/>
                      </a:lnTo>
                      <a:lnTo>
                        <a:pt x="593" y="897"/>
                      </a:lnTo>
                      <a:lnTo>
                        <a:pt x="598" y="897"/>
                      </a:lnTo>
                      <a:lnTo>
                        <a:pt x="601" y="890"/>
                      </a:lnTo>
                      <a:lnTo>
                        <a:pt x="606" y="890"/>
                      </a:lnTo>
                      <a:lnTo>
                        <a:pt x="609" y="888"/>
                      </a:lnTo>
                      <a:lnTo>
                        <a:pt x="612" y="885"/>
                      </a:lnTo>
                      <a:lnTo>
                        <a:pt x="615" y="880"/>
                      </a:lnTo>
                      <a:lnTo>
                        <a:pt x="615" y="874"/>
                      </a:lnTo>
                      <a:lnTo>
                        <a:pt x="620" y="872"/>
                      </a:lnTo>
                      <a:lnTo>
                        <a:pt x="626" y="872"/>
                      </a:lnTo>
                      <a:lnTo>
                        <a:pt x="629" y="877"/>
                      </a:lnTo>
                      <a:lnTo>
                        <a:pt x="631" y="874"/>
                      </a:lnTo>
                      <a:lnTo>
                        <a:pt x="634" y="880"/>
                      </a:lnTo>
                      <a:lnTo>
                        <a:pt x="634" y="885"/>
                      </a:lnTo>
                      <a:lnTo>
                        <a:pt x="637" y="888"/>
                      </a:lnTo>
                      <a:lnTo>
                        <a:pt x="642" y="890"/>
                      </a:lnTo>
                      <a:lnTo>
                        <a:pt x="648" y="890"/>
                      </a:lnTo>
                      <a:lnTo>
                        <a:pt x="648" y="897"/>
                      </a:lnTo>
                      <a:lnTo>
                        <a:pt x="656" y="900"/>
                      </a:lnTo>
                      <a:lnTo>
                        <a:pt x="656" y="905"/>
                      </a:lnTo>
                      <a:lnTo>
                        <a:pt x="662" y="908"/>
                      </a:lnTo>
                      <a:lnTo>
                        <a:pt x="667" y="905"/>
                      </a:lnTo>
                      <a:lnTo>
                        <a:pt x="670" y="910"/>
                      </a:lnTo>
                      <a:lnTo>
                        <a:pt x="659" y="918"/>
                      </a:lnTo>
                      <a:lnTo>
                        <a:pt x="656" y="916"/>
                      </a:lnTo>
                      <a:lnTo>
                        <a:pt x="656" y="924"/>
                      </a:lnTo>
                      <a:lnTo>
                        <a:pt x="654" y="927"/>
                      </a:lnTo>
                      <a:lnTo>
                        <a:pt x="648" y="927"/>
                      </a:lnTo>
                      <a:lnTo>
                        <a:pt x="651" y="930"/>
                      </a:lnTo>
                      <a:lnTo>
                        <a:pt x="648" y="935"/>
                      </a:lnTo>
                      <a:lnTo>
                        <a:pt x="646" y="938"/>
                      </a:lnTo>
                      <a:lnTo>
                        <a:pt x="646" y="941"/>
                      </a:lnTo>
                      <a:lnTo>
                        <a:pt x="648" y="943"/>
                      </a:lnTo>
                      <a:lnTo>
                        <a:pt x="651" y="943"/>
                      </a:lnTo>
                      <a:lnTo>
                        <a:pt x="648" y="941"/>
                      </a:lnTo>
                      <a:lnTo>
                        <a:pt x="651" y="941"/>
                      </a:lnTo>
                      <a:lnTo>
                        <a:pt x="654" y="943"/>
                      </a:lnTo>
                      <a:lnTo>
                        <a:pt x="656" y="941"/>
                      </a:lnTo>
                      <a:lnTo>
                        <a:pt x="659" y="938"/>
                      </a:lnTo>
                      <a:lnTo>
                        <a:pt x="662" y="938"/>
                      </a:lnTo>
                      <a:lnTo>
                        <a:pt x="664" y="935"/>
                      </a:lnTo>
                      <a:lnTo>
                        <a:pt x="667" y="935"/>
                      </a:lnTo>
                      <a:lnTo>
                        <a:pt x="670" y="938"/>
                      </a:lnTo>
                      <a:lnTo>
                        <a:pt x="672" y="941"/>
                      </a:lnTo>
                      <a:lnTo>
                        <a:pt x="672" y="938"/>
                      </a:lnTo>
                      <a:lnTo>
                        <a:pt x="675" y="941"/>
                      </a:lnTo>
                      <a:lnTo>
                        <a:pt x="678" y="938"/>
                      </a:lnTo>
                      <a:lnTo>
                        <a:pt x="687" y="938"/>
                      </a:lnTo>
                      <a:lnTo>
                        <a:pt x="692" y="935"/>
                      </a:lnTo>
                      <a:lnTo>
                        <a:pt x="706" y="933"/>
                      </a:lnTo>
                      <a:lnTo>
                        <a:pt x="723" y="933"/>
                      </a:lnTo>
                      <a:lnTo>
                        <a:pt x="731" y="933"/>
                      </a:lnTo>
                      <a:lnTo>
                        <a:pt x="736" y="938"/>
                      </a:lnTo>
                      <a:lnTo>
                        <a:pt x="736" y="941"/>
                      </a:lnTo>
                      <a:lnTo>
                        <a:pt x="741" y="946"/>
                      </a:lnTo>
                      <a:lnTo>
                        <a:pt x="744" y="949"/>
                      </a:lnTo>
                      <a:lnTo>
                        <a:pt x="758" y="949"/>
                      </a:lnTo>
                      <a:lnTo>
                        <a:pt x="769" y="954"/>
                      </a:lnTo>
                      <a:lnTo>
                        <a:pt x="786" y="952"/>
                      </a:lnTo>
                      <a:lnTo>
                        <a:pt x="789" y="943"/>
                      </a:lnTo>
                      <a:lnTo>
                        <a:pt x="786" y="941"/>
                      </a:lnTo>
                      <a:lnTo>
                        <a:pt x="789" y="941"/>
                      </a:lnTo>
                      <a:lnTo>
                        <a:pt x="792" y="943"/>
                      </a:lnTo>
                      <a:lnTo>
                        <a:pt x="792" y="941"/>
                      </a:lnTo>
                      <a:lnTo>
                        <a:pt x="797" y="941"/>
                      </a:lnTo>
                      <a:lnTo>
                        <a:pt x="800" y="943"/>
                      </a:lnTo>
                      <a:lnTo>
                        <a:pt x="802" y="941"/>
                      </a:lnTo>
                      <a:lnTo>
                        <a:pt x="805" y="933"/>
                      </a:lnTo>
                      <a:lnTo>
                        <a:pt x="808" y="930"/>
                      </a:lnTo>
                      <a:lnTo>
                        <a:pt x="808" y="924"/>
                      </a:lnTo>
                      <a:lnTo>
                        <a:pt x="813" y="921"/>
                      </a:lnTo>
                      <a:lnTo>
                        <a:pt x="813" y="913"/>
                      </a:lnTo>
                      <a:lnTo>
                        <a:pt x="822" y="913"/>
                      </a:lnTo>
                      <a:lnTo>
                        <a:pt x="822" y="910"/>
                      </a:lnTo>
                      <a:lnTo>
                        <a:pt x="819" y="905"/>
                      </a:lnTo>
                      <a:lnTo>
                        <a:pt x="828" y="905"/>
                      </a:lnTo>
                      <a:lnTo>
                        <a:pt x="828" y="902"/>
                      </a:lnTo>
                      <a:lnTo>
                        <a:pt x="830" y="902"/>
                      </a:lnTo>
                      <a:lnTo>
                        <a:pt x="844" y="897"/>
                      </a:lnTo>
                      <a:lnTo>
                        <a:pt x="849" y="890"/>
                      </a:lnTo>
                      <a:lnTo>
                        <a:pt x="853" y="894"/>
                      </a:lnTo>
                      <a:lnTo>
                        <a:pt x="853" y="888"/>
                      </a:lnTo>
                      <a:lnTo>
                        <a:pt x="855" y="890"/>
                      </a:lnTo>
                      <a:lnTo>
                        <a:pt x="858" y="888"/>
                      </a:lnTo>
                      <a:lnTo>
                        <a:pt x="866" y="885"/>
                      </a:lnTo>
                      <a:lnTo>
                        <a:pt x="869" y="882"/>
                      </a:lnTo>
                      <a:lnTo>
                        <a:pt x="871" y="882"/>
                      </a:lnTo>
                      <a:lnTo>
                        <a:pt x="877" y="880"/>
                      </a:lnTo>
                      <a:lnTo>
                        <a:pt x="877" y="877"/>
                      </a:lnTo>
                      <a:lnTo>
                        <a:pt x="899" y="861"/>
                      </a:lnTo>
                      <a:lnTo>
                        <a:pt x="902" y="855"/>
                      </a:lnTo>
                      <a:lnTo>
                        <a:pt x="899" y="852"/>
                      </a:lnTo>
                      <a:lnTo>
                        <a:pt x="907" y="844"/>
                      </a:lnTo>
                      <a:lnTo>
                        <a:pt x="907" y="839"/>
                      </a:lnTo>
                      <a:lnTo>
                        <a:pt x="910" y="836"/>
                      </a:lnTo>
                      <a:lnTo>
                        <a:pt x="913" y="833"/>
                      </a:lnTo>
                      <a:lnTo>
                        <a:pt x="918" y="833"/>
                      </a:lnTo>
                      <a:lnTo>
                        <a:pt x="922" y="831"/>
                      </a:lnTo>
                      <a:lnTo>
                        <a:pt x="918" y="828"/>
                      </a:lnTo>
                      <a:lnTo>
                        <a:pt x="922" y="823"/>
                      </a:lnTo>
                      <a:lnTo>
                        <a:pt x="930" y="823"/>
                      </a:lnTo>
                      <a:lnTo>
                        <a:pt x="930" y="813"/>
                      </a:lnTo>
                      <a:lnTo>
                        <a:pt x="938" y="805"/>
                      </a:lnTo>
                      <a:lnTo>
                        <a:pt x="943" y="805"/>
                      </a:lnTo>
                      <a:lnTo>
                        <a:pt x="943" y="800"/>
                      </a:lnTo>
                      <a:lnTo>
                        <a:pt x="940" y="792"/>
                      </a:lnTo>
                      <a:lnTo>
                        <a:pt x="946" y="789"/>
                      </a:lnTo>
                      <a:lnTo>
                        <a:pt x="948" y="789"/>
                      </a:lnTo>
                      <a:lnTo>
                        <a:pt x="948" y="786"/>
                      </a:lnTo>
                      <a:lnTo>
                        <a:pt x="951" y="780"/>
                      </a:lnTo>
                      <a:lnTo>
                        <a:pt x="955" y="780"/>
                      </a:lnTo>
                      <a:lnTo>
                        <a:pt x="951" y="772"/>
                      </a:lnTo>
                      <a:lnTo>
                        <a:pt x="943" y="767"/>
                      </a:lnTo>
                      <a:lnTo>
                        <a:pt x="946" y="762"/>
                      </a:lnTo>
                      <a:lnTo>
                        <a:pt x="940" y="756"/>
                      </a:lnTo>
                      <a:lnTo>
                        <a:pt x="946" y="750"/>
                      </a:lnTo>
                      <a:lnTo>
                        <a:pt x="948" y="747"/>
                      </a:lnTo>
                      <a:lnTo>
                        <a:pt x="951" y="750"/>
                      </a:lnTo>
                      <a:lnTo>
                        <a:pt x="957" y="736"/>
                      </a:lnTo>
                      <a:lnTo>
                        <a:pt x="960" y="731"/>
                      </a:lnTo>
                      <a:lnTo>
                        <a:pt x="965" y="720"/>
                      </a:lnTo>
                      <a:lnTo>
                        <a:pt x="971" y="709"/>
                      </a:lnTo>
                      <a:lnTo>
                        <a:pt x="971" y="706"/>
                      </a:lnTo>
                      <a:lnTo>
                        <a:pt x="974" y="701"/>
                      </a:lnTo>
                      <a:lnTo>
                        <a:pt x="971" y="695"/>
                      </a:lnTo>
                      <a:lnTo>
                        <a:pt x="974" y="690"/>
                      </a:lnTo>
                      <a:lnTo>
                        <a:pt x="982" y="675"/>
                      </a:lnTo>
                      <a:lnTo>
                        <a:pt x="984" y="667"/>
                      </a:lnTo>
                      <a:lnTo>
                        <a:pt x="996" y="651"/>
                      </a:lnTo>
                      <a:lnTo>
                        <a:pt x="1001" y="645"/>
                      </a:lnTo>
                      <a:lnTo>
                        <a:pt x="1004" y="649"/>
                      </a:lnTo>
                      <a:lnTo>
                        <a:pt x="1007" y="649"/>
                      </a:lnTo>
                      <a:lnTo>
                        <a:pt x="1012" y="640"/>
                      </a:lnTo>
                      <a:lnTo>
                        <a:pt x="1012" y="637"/>
                      </a:lnTo>
                      <a:lnTo>
                        <a:pt x="1009" y="637"/>
                      </a:lnTo>
                      <a:lnTo>
                        <a:pt x="1007" y="634"/>
                      </a:lnTo>
                      <a:lnTo>
                        <a:pt x="1007" y="629"/>
                      </a:lnTo>
                      <a:lnTo>
                        <a:pt x="1007" y="626"/>
                      </a:lnTo>
                      <a:lnTo>
                        <a:pt x="1009" y="626"/>
                      </a:lnTo>
                      <a:lnTo>
                        <a:pt x="1012" y="621"/>
                      </a:lnTo>
                      <a:lnTo>
                        <a:pt x="1017" y="609"/>
                      </a:lnTo>
                      <a:lnTo>
                        <a:pt x="1017" y="604"/>
                      </a:lnTo>
                      <a:lnTo>
                        <a:pt x="1017" y="601"/>
                      </a:lnTo>
                      <a:lnTo>
                        <a:pt x="1020" y="593"/>
                      </a:lnTo>
                      <a:lnTo>
                        <a:pt x="1024" y="590"/>
                      </a:lnTo>
                      <a:lnTo>
                        <a:pt x="1029" y="580"/>
                      </a:lnTo>
                      <a:lnTo>
                        <a:pt x="1034" y="568"/>
                      </a:lnTo>
                      <a:lnTo>
                        <a:pt x="1026" y="560"/>
                      </a:lnTo>
                      <a:lnTo>
                        <a:pt x="1029" y="555"/>
                      </a:lnTo>
                      <a:lnTo>
                        <a:pt x="1032" y="552"/>
                      </a:lnTo>
                      <a:lnTo>
                        <a:pt x="1029" y="549"/>
                      </a:lnTo>
                      <a:lnTo>
                        <a:pt x="1026" y="552"/>
                      </a:lnTo>
                      <a:lnTo>
                        <a:pt x="1024" y="549"/>
                      </a:lnTo>
                      <a:lnTo>
                        <a:pt x="1026" y="544"/>
                      </a:lnTo>
                      <a:lnTo>
                        <a:pt x="1029" y="547"/>
                      </a:lnTo>
                      <a:lnTo>
                        <a:pt x="1032" y="544"/>
                      </a:lnTo>
                      <a:lnTo>
                        <a:pt x="1029" y="540"/>
                      </a:lnTo>
                      <a:lnTo>
                        <a:pt x="1032" y="535"/>
                      </a:lnTo>
                      <a:lnTo>
                        <a:pt x="1034" y="529"/>
                      </a:lnTo>
                      <a:lnTo>
                        <a:pt x="1040" y="527"/>
                      </a:lnTo>
                      <a:lnTo>
                        <a:pt x="1045" y="529"/>
                      </a:lnTo>
                      <a:lnTo>
                        <a:pt x="1043" y="516"/>
                      </a:lnTo>
                      <a:lnTo>
                        <a:pt x="1048" y="511"/>
                      </a:lnTo>
                      <a:lnTo>
                        <a:pt x="1048" y="504"/>
                      </a:lnTo>
                      <a:lnTo>
                        <a:pt x="1053" y="502"/>
                      </a:lnTo>
                      <a:lnTo>
                        <a:pt x="1060" y="499"/>
                      </a:lnTo>
                      <a:lnTo>
                        <a:pt x="1060" y="496"/>
                      </a:lnTo>
                      <a:lnTo>
                        <a:pt x="1062" y="494"/>
                      </a:lnTo>
                      <a:lnTo>
                        <a:pt x="1065" y="496"/>
                      </a:lnTo>
                      <a:lnTo>
                        <a:pt x="1068" y="502"/>
                      </a:lnTo>
                      <a:lnTo>
                        <a:pt x="1073" y="499"/>
                      </a:lnTo>
                      <a:lnTo>
                        <a:pt x="1076" y="496"/>
                      </a:lnTo>
                      <a:lnTo>
                        <a:pt x="1086" y="480"/>
                      </a:lnTo>
                      <a:lnTo>
                        <a:pt x="1089" y="478"/>
                      </a:lnTo>
                      <a:lnTo>
                        <a:pt x="1089" y="471"/>
                      </a:lnTo>
                      <a:lnTo>
                        <a:pt x="1103" y="455"/>
                      </a:lnTo>
                      <a:lnTo>
                        <a:pt x="1106" y="447"/>
                      </a:lnTo>
                      <a:lnTo>
                        <a:pt x="1122" y="414"/>
                      </a:lnTo>
                      <a:lnTo>
                        <a:pt x="1129" y="408"/>
                      </a:lnTo>
                      <a:lnTo>
                        <a:pt x="1131" y="397"/>
                      </a:lnTo>
                      <a:lnTo>
                        <a:pt x="1134" y="394"/>
                      </a:lnTo>
                      <a:lnTo>
                        <a:pt x="1139" y="389"/>
                      </a:lnTo>
                      <a:lnTo>
                        <a:pt x="1137" y="386"/>
                      </a:lnTo>
                      <a:lnTo>
                        <a:pt x="1145" y="383"/>
                      </a:lnTo>
                      <a:lnTo>
                        <a:pt x="1158" y="353"/>
                      </a:lnTo>
                      <a:lnTo>
                        <a:pt x="1167" y="345"/>
                      </a:lnTo>
                      <a:lnTo>
                        <a:pt x="1170" y="340"/>
                      </a:lnTo>
                      <a:lnTo>
                        <a:pt x="1172" y="320"/>
                      </a:lnTo>
                      <a:lnTo>
                        <a:pt x="1175" y="317"/>
                      </a:lnTo>
                      <a:lnTo>
                        <a:pt x="1178" y="314"/>
                      </a:lnTo>
                      <a:lnTo>
                        <a:pt x="1180" y="301"/>
                      </a:lnTo>
                      <a:lnTo>
                        <a:pt x="1186" y="295"/>
                      </a:lnTo>
                      <a:lnTo>
                        <a:pt x="1198" y="297"/>
                      </a:lnTo>
                      <a:lnTo>
                        <a:pt x="1200" y="289"/>
                      </a:lnTo>
                      <a:lnTo>
                        <a:pt x="1198" y="279"/>
                      </a:lnTo>
                      <a:lnTo>
                        <a:pt x="1200" y="273"/>
                      </a:lnTo>
                      <a:lnTo>
                        <a:pt x="1206" y="271"/>
                      </a:lnTo>
                      <a:lnTo>
                        <a:pt x="1208" y="268"/>
                      </a:lnTo>
                      <a:lnTo>
                        <a:pt x="1214" y="268"/>
                      </a:lnTo>
                      <a:lnTo>
                        <a:pt x="1219" y="265"/>
                      </a:lnTo>
                      <a:lnTo>
                        <a:pt x="1224" y="256"/>
                      </a:lnTo>
                      <a:lnTo>
                        <a:pt x="1224" y="253"/>
                      </a:lnTo>
                      <a:lnTo>
                        <a:pt x="1227" y="251"/>
                      </a:lnTo>
                      <a:lnTo>
                        <a:pt x="1231" y="248"/>
                      </a:lnTo>
                      <a:lnTo>
                        <a:pt x="1239" y="245"/>
                      </a:lnTo>
                      <a:lnTo>
                        <a:pt x="1242" y="240"/>
                      </a:lnTo>
                      <a:lnTo>
                        <a:pt x="1242" y="237"/>
                      </a:lnTo>
                      <a:lnTo>
                        <a:pt x="1250" y="232"/>
                      </a:lnTo>
                      <a:lnTo>
                        <a:pt x="1255" y="223"/>
                      </a:lnTo>
                      <a:lnTo>
                        <a:pt x="1258" y="215"/>
                      </a:lnTo>
                      <a:lnTo>
                        <a:pt x="1258" y="207"/>
                      </a:lnTo>
                      <a:lnTo>
                        <a:pt x="1258" y="202"/>
                      </a:lnTo>
                      <a:lnTo>
                        <a:pt x="1260" y="196"/>
                      </a:lnTo>
                      <a:lnTo>
                        <a:pt x="1269" y="187"/>
                      </a:lnTo>
                      <a:lnTo>
                        <a:pt x="1272" y="184"/>
                      </a:lnTo>
                      <a:lnTo>
                        <a:pt x="1285" y="182"/>
                      </a:lnTo>
                      <a:lnTo>
                        <a:pt x="1291" y="179"/>
                      </a:lnTo>
                      <a:lnTo>
                        <a:pt x="1296" y="174"/>
                      </a:lnTo>
                      <a:lnTo>
                        <a:pt x="1305" y="171"/>
                      </a:lnTo>
                      <a:lnTo>
                        <a:pt x="1313" y="166"/>
                      </a:lnTo>
                      <a:lnTo>
                        <a:pt x="1313" y="157"/>
                      </a:lnTo>
                      <a:lnTo>
                        <a:pt x="1313" y="151"/>
                      </a:lnTo>
                      <a:lnTo>
                        <a:pt x="1316" y="146"/>
                      </a:lnTo>
                      <a:lnTo>
                        <a:pt x="1324" y="125"/>
                      </a:lnTo>
                      <a:lnTo>
                        <a:pt x="1329" y="113"/>
                      </a:lnTo>
                      <a:lnTo>
                        <a:pt x="1333" y="102"/>
                      </a:lnTo>
                      <a:lnTo>
                        <a:pt x="1333" y="88"/>
                      </a:lnTo>
                      <a:lnTo>
                        <a:pt x="1336" y="85"/>
                      </a:lnTo>
                      <a:lnTo>
                        <a:pt x="1338" y="74"/>
                      </a:lnTo>
                      <a:lnTo>
                        <a:pt x="1341" y="38"/>
                      </a:lnTo>
                      <a:lnTo>
                        <a:pt x="1349" y="8"/>
                      </a:lnTo>
                      <a:lnTo>
                        <a:pt x="1352" y="5"/>
                      </a:lnTo>
                      <a:lnTo>
                        <a:pt x="1354" y="3"/>
                      </a:lnTo>
                      <a:lnTo>
                        <a:pt x="1365" y="0"/>
                      </a:lnTo>
                      <a:lnTo>
                        <a:pt x="1371" y="5"/>
                      </a:lnTo>
                      <a:lnTo>
                        <a:pt x="1377" y="5"/>
                      </a:lnTo>
                      <a:lnTo>
                        <a:pt x="1390" y="20"/>
                      </a:lnTo>
                      <a:lnTo>
                        <a:pt x="1402" y="28"/>
                      </a:lnTo>
                      <a:lnTo>
                        <a:pt x="1434" y="61"/>
                      </a:lnTo>
                      <a:lnTo>
                        <a:pt x="1474" y="102"/>
                      </a:lnTo>
                      <a:lnTo>
                        <a:pt x="1474" y="105"/>
                      </a:lnTo>
                      <a:lnTo>
                        <a:pt x="1482" y="115"/>
                      </a:lnTo>
                      <a:lnTo>
                        <a:pt x="1484" y="125"/>
                      </a:lnTo>
                      <a:lnTo>
                        <a:pt x="1490" y="133"/>
                      </a:lnTo>
                      <a:lnTo>
                        <a:pt x="1498" y="157"/>
                      </a:lnTo>
                      <a:lnTo>
                        <a:pt x="1498" y="160"/>
                      </a:lnTo>
                      <a:lnTo>
                        <a:pt x="1500" y="163"/>
                      </a:lnTo>
                      <a:lnTo>
                        <a:pt x="1500" y="179"/>
                      </a:lnTo>
                      <a:lnTo>
                        <a:pt x="1504" y="187"/>
                      </a:lnTo>
                      <a:lnTo>
                        <a:pt x="1504" y="199"/>
                      </a:lnTo>
                      <a:lnTo>
                        <a:pt x="1504" y="207"/>
                      </a:lnTo>
                      <a:lnTo>
                        <a:pt x="1507" y="210"/>
                      </a:lnTo>
                      <a:lnTo>
                        <a:pt x="1525" y="220"/>
                      </a:lnTo>
                      <a:lnTo>
                        <a:pt x="1536" y="220"/>
                      </a:lnTo>
                      <a:lnTo>
                        <a:pt x="1543" y="226"/>
                      </a:lnTo>
                      <a:lnTo>
                        <a:pt x="1543" y="228"/>
                      </a:lnTo>
                      <a:lnTo>
                        <a:pt x="1545" y="228"/>
                      </a:lnTo>
                      <a:lnTo>
                        <a:pt x="1545" y="245"/>
                      </a:lnTo>
                      <a:lnTo>
                        <a:pt x="1543" y="253"/>
                      </a:lnTo>
                      <a:lnTo>
                        <a:pt x="1543" y="273"/>
                      </a:lnTo>
                      <a:lnTo>
                        <a:pt x="1543" y="279"/>
                      </a:lnTo>
                      <a:lnTo>
                        <a:pt x="1543" y="284"/>
                      </a:lnTo>
                      <a:lnTo>
                        <a:pt x="1540" y="287"/>
                      </a:lnTo>
                      <a:lnTo>
                        <a:pt x="1543" y="295"/>
                      </a:lnTo>
                      <a:lnTo>
                        <a:pt x="1540" y="301"/>
                      </a:lnTo>
                      <a:lnTo>
                        <a:pt x="1540" y="306"/>
                      </a:lnTo>
                      <a:lnTo>
                        <a:pt x="1540" y="317"/>
                      </a:lnTo>
                      <a:lnTo>
                        <a:pt x="1543" y="337"/>
                      </a:lnTo>
                      <a:lnTo>
                        <a:pt x="1548" y="397"/>
                      </a:lnTo>
                      <a:lnTo>
                        <a:pt x="1543" y="411"/>
                      </a:lnTo>
                      <a:lnTo>
                        <a:pt x="1543" y="408"/>
                      </a:lnTo>
                      <a:lnTo>
                        <a:pt x="1540" y="411"/>
                      </a:lnTo>
                      <a:lnTo>
                        <a:pt x="1540" y="414"/>
                      </a:lnTo>
                      <a:lnTo>
                        <a:pt x="1540" y="439"/>
                      </a:lnTo>
                      <a:lnTo>
                        <a:pt x="1543" y="447"/>
                      </a:lnTo>
                      <a:lnTo>
                        <a:pt x="1567" y="516"/>
                      </a:lnTo>
                      <a:lnTo>
                        <a:pt x="1564" y="524"/>
                      </a:lnTo>
                      <a:lnTo>
                        <a:pt x="1561" y="529"/>
                      </a:lnTo>
                      <a:lnTo>
                        <a:pt x="1561" y="538"/>
                      </a:lnTo>
                      <a:lnTo>
                        <a:pt x="1561" y="544"/>
                      </a:lnTo>
                      <a:lnTo>
                        <a:pt x="1564" y="555"/>
                      </a:lnTo>
                      <a:lnTo>
                        <a:pt x="1573" y="563"/>
                      </a:lnTo>
                      <a:lnTo>
                        <a:pt x="1573" y="568"/>
                      </a:lnTo>
                      <a:lnTo>
                        <a:pt x="1569" y="573"/>
                      </a:lnTo>
                      <a:lnTo>
                        <a:pt x="1569" y="582"/>
                      </a:lnTo>
                      <a:lnTo>
                        <a:pt x="1573" y="588"/>
                      </a:lnTo>
                      <a:lnTo>
                        <a:pt x="1576" y="596"/>
                      </a:lnTo>
                      <a:lnTo>
                        <a:pt x="1581" y="601"/>
                      </a:lnTo>
                      <a:lnTo>
                        <a:pt x="1581" y="613"/>
                      </a:lnTo>
                      <a:lnTo>
                        <a:pt x="1581" y="618"/>
                      </a:lnTo>
                      <a:lnTo>
                        <a:pt x="1584" y="629"/>
                      </a:lnTo>
                      <a:lnTo>
                        <a:pt x="1586" y="634"/>
                      </a:lnTo>
                      <a:lnTo>
                        <a:pt x="1589" y="642"/>
                      </a:lnTo>
                      <a:lnTo>
                        <a:pt x="1597" y="651"/>
                      </a:lnTo>
                      <a:lnTo>
                        <a:pt x="1597" y="662"/>
                      </a:lnTo>
                      <a:lnTo>
                        <a:pt x="1597" y="670"/>
                      </a:lnTo>
                      <a:lnTo>
                        <a:pt x="1600" y="678"/>
                      </a:lnTo>
                      <a:lnTo>
                        <a:pt x="1597" y="685"/>
                      </a:lnTo>
                      <a:lnTo>
                        <a:pt x="1605" y="681"/>
                      </a:lnTo>
                      <a:lnTo>
                        <a:pt x="1612" y="687"/>
                      </a:lnTo>
                      <a:lnTo>
                        <a:pt x="1614" y="687"/>
                      </a:lnTo>
                      <a:lnTo>
                        <a:pt x="1617" y="693"/>
                      </a:lnTo>
                      <a:lnTo>
                        <a:pt x="1614" y="698"/>
                      </a:lnTo>
                      <a:lnTo>
                        <a:pt x="1614" y="703"/>
                      </a:lnTo>
                      <a:lnTo>
                        <a:pt x="1620" y="706"/>
                      </a:lnTo>
                      <a:lnTo>
                        <a:pt x="1622" y="711"/>
                      </a:lnTo>
                      <a:lnTo>
                        <a:pt x="1622" y="734"/>
                      </a:lnTo>
                      <a:lnTo>
                        <a:pt x="1628" y="736"/>
                      </a:lnTo>
                      <a:lnTo>
                        <a:pt x="1636" y="744"/>
                      </a:lnTo>
                      <a:lnTo>
                        <a:pt x="1636" y="750"/>
                      </a:lnTo>
                      <a:lnTo>
                        <a:pt x="1638" y="754"/>
                      </a:lnTo>
                      <a:lnTo>
                        <a:pt x="1638" y="770"/>
                      </a:lnTo>
                      <a:lnTo>
                        <a:pt x="1638" y="772"/>
                      </a:lnTo>
                      <a:lnTo>
                        <a:pt x="1638" y="775"/>
                      </a:lnTo>
                      <a:lnTo>
                        <a:pt x="1642" y="780"/>
                      </a:lnTo>
                      <a:lnTo>
                        <a:pt x="1645" y="797"/>
                      </a:lnTo>
                      <a:lnTo>
                        <a:pt x="1642" y="808"/>
                      </a:lnTo>
                      <a:lnTo>
                        <a:pt x="1636" y="811"/>
                      </a:lnTo>
                      <a:lnTo>
                        <a:pt x="1633" y="816"/>
                      </a:lnTo>
                      <a:lnTo>
                        <a:pt x="1636" y="816"/>
                      </a:lnTo>
                      <a:lnTo>
                        <a:pt x="1636" y="813"/>
                      </a:lnTo>
                      <a:lnTo>
                        <a:pt x="1638" y="813"/>
                      </a:lnTo>
                      <a:lnTo>
                        <a:pt x="1642" y="813"/>
                      </a:lnTo>
                      <a:lnTo>
                        <a:pt x="1650" y="808"/>
                      </a:lnTo>
                      <a:lnTo>
                        <a:pt x="1655" y="808"/>
                      </a:lnTo>
                      <a:lnTo>
                        <a:pt x="1661" y="811"/>
                      </a:lnTo>
                      <a:lnTo>
                        <a:pt x="1663" y="816"/>
                      </a:lnTo>
                      <a:lnTo>
                        <a:pt x="1663" y="823"/>
                      </a:lnTo>
                      <a:lnTo>
                        <a:pt x="1669" y="831"/>
                      </a:lnTo>
                      <a:lnTo>
                        <a:pt x="1672" y="833"/>
                      </a:lnTo>
                      <a:lnTo>
                        <a:pt x="1672" y="841"/>
                      </a:lnTo>
                      <a:lnTo>
                        <a:pt x="1669" y="849"/>
                      </a:lnTo>
                      <a:lnTo>
                        <a:pt x="1672" y="855"/>
                      </a:lnTo>
                      <a:lnTo>
                        <a:pt x="1674" y="861"/>
                      </a:lnTo>
                      <a:lnTo>
                        <a:pt x="1672" y="869"/>
                      </a:lnTo>
                      <a:lnTo>
                        <a:pt x="1678" y="872"/>
                      </a:lnTo>
                      <a:lnTo>
                        <a:pt x="1681" y="877"/>
                      </a:lnTo>
                      <a:lnTo>
                        <a:pt x="1681" y="890"/>
                      </a:lnTo>
                      <a:lnTo>
                        <a:pt x="1683" y="897"/>
                      </a:lnTo>
                      <a:lnTo>
                        <a:pt x="1689" y="905"/>
                      </a:lnTo>
                      <a:lnTo>
                        <a:pt x="1689" y="913"/>
                      </a:lnTo>
                      <a:lnTo>
                        <a:pt x="1689" y="921"/>
                      </a:lnTo>
                      <a:lnTo>
                        <a:pt x="1691" y="921"/>
                      </a:lnTo>
                      <a:lnTo>
                        <a:pt x="1694" y="924"/>
                      </a:lnTo>
                      <a:lnTo>
                        <a:pt x="1699" y="935"/>
                      </a:lnTo>
                      <a:lnTo>
                        <a:pt x="1702" y="941"/>
                      </a:lnTo>
                      <a:lnTo>
                        <a:pt x="1705" y="949"/>
                      </a:lnTo>
                      <a:lnTo>
                        <a:pt x="1705" y="957"/>
                      </a:lnTo>
                      <a:lnTo>
                        <a:pt x="1702" y="960"/>
                      </a:lnTo>
                      <a:lnTo>
                        <a:pt x="1697" y="960"/>
                      </a:lnTo>
                      <a:lnTo>
                        <a:pt x="1697" y="963"/>
                      </a:lnTo>
                      <a:lnTo>
                        <a:pt x="1711" y="957"/>
                      </a:lnTo>
                      <a:lnTo>
                        <a:pt x="1738" y="946"/>
                      </a:lnTo>
                      <a:lnTo>
                        <a:pt x="1747" y="943"/>
                      </a:lnTo>
                      <a:lnTo>
                        <a:pt x="1768" y="935"/>
                      </a:lnTo>
                      <a:lnTo>
                        <a:pt x="1785" y="935"/>
                      </a:lnTo>
                      <a:lnTo>
                        <a:pt x="1796" y="935"/>
                      </a:lnTo>
                      <a:lnTo>
                        <a:pt x="1802" y="938"/>
                      </a:lnTo>
                      <a:lnTo>
                        <a:pt x="1802" y="941"/>
                      </a:lnTo>
                      <a:lnTo>
                        <a:pt x="1804" y="941"/>
                      </a:lnTo>
                      <a:lnTo>
                        <a:pt x="1810" y="946"/>
                      </a:lnTo>
                      <a:lnTo>
                        <a:pt x="1812" y="954"/>
                      </a:lnTo>
                      <a:lnTo>
                        <a:pt x="1824" y="969"/>
                      </a:lnTo>
                      <a:lnTo>
                        <a:pt x="1824" y="971"/>
                      </a:lnTo>
                      <a:lnTo>
                        <a:pt x="1827" y="974"/>
                      </a:lnTo>
                      <a:lnTo>
                        <a:pt x="1829" y="979"/>
                      </a:lnTo>
                      <a:lnTo>
                        <a:pt x="1832" y="979"/>
                      </a:lnTo>
                      <a:lnTo>
                        <a:pt x="1837" y="985"/>
                      </a:lnTo>
                      <a:lnTo>
                        <a:pt x="1840" y="987"/>
                      </a:lnTo>
                      <a:lnTo>
                        <a:pt x="1837" y="993"/>
                      </a:lnTo>
                      <a:lnTo>
                        <a:pt x="1840" y="995"/>
                      </a:lnTo>
                      <a:lnTo>
                        <a:pt x="1840" y="999"/>
                      </a:lnTo>
                      <a:lnTo>
                        <a:pt x="1845" y="1007"/>
                      </a:lnTo>
                      <a:lnTo>
                        <a:pt x="1845" y="1012"/>
                      </a:lnTo>
                      <a:lnTo>
                        <a:pt x="1854" y="1018"/>
                      </a:lnTo>
                      <a:lnTo>
                        <a:pt x="1854" y="1032"/>
                      </a:lnTo>
                      <a:lnTo>
                        <a:pt x="1857" y="1035"/>
                      </a:lnTo>
                      <a:lnTo>
                        <a:pt x="1860" y="1040"/>
                      </a:lnTo>
                      <a:lnTo>
                        <a:pt x="1870" y="1068"/>
                      </a:lnTo>
                      <a:lnTo>
                        <a:pt x="1885" y="1104"/>
                      </a:lnTo>
                      <a:lnTo>
                        <a:pt x="1912" y="1098"/>
                      </a:lnTo>
                      <a:lnTo>
                        <a:pt x="1939" y="1109"/>
                      </a:lnTo>
                      <a:lnTo>
                        <a:pt x="1945" y="1109"/>
                      </a:lnTo>
                      <a:lnTo>
                        <a:pt x="1959" y="1115"/>
                      </a:lnTo>
                      <a:lnTo>
                        <a:pt x="1967" y="1117"/>
                      </a:lnTo>
                      <a:lnTo>
                        <a:pt x="1981" y="1125"/>
                      </a:lnTo>
                      <a:lnTo>
                        <a:pt x="2014" y="1145"/>
                      </a:lnTo>
                      <a:lnTo>
                        <a:pt x="2017" y="1148"/>
                      </a:lnTo>
                      <a:lnTo>
                        <a:pt x="2017" y="1153"/>
                      </a:lnTo>
                      <a:lnTo>
                        <a:pt x="2014" y="1156"/>
                      </a:lnTo>
                      <a:lnTo>
                        <a:pt x="2014" y="1158"/>
                      </a:lnTo>
                      <a:lnTo>
                        <a:pt x="2020" y="1158"/>
                      </a:lnTo>
                      <a:lnTo>
                        <a:pt x="2023" y="1176"/>
                      </a:lnTo>
                      <a:lnTo>
                        <a:pt x="2028" y="1214"/>
                      </a:lnTo>
                      <a:lnTo>
                        <a:pt x="2031" y="1238"/>
                      </a:lnTo>
                      <a:lnTo>
                        <a:pt x="2031" y="1247"/>
                      </a:lnTo>
                      <a:lnTo>
                        <a:pt x="2031" y="1253"/>
                      </a:lnTo>
                      <a:lnTo>
                        <a:pt x="2028" y="1271"/>
                      </a:lnTo>
                      <a:lnTo>
                        <a:pt x="2031" y="1278"/>
                      </a:lnTo>
                      <a:lnTo>
                        <a:pt x="2026" y="1302"/>
                      </a:lnTo>
                      <a:lnTo>
                        <a:pt x="2017" y="1316"/>
                      </a:lnTo>
                      <a:lnTo>
                        <a:pt x="2020" y="1324"/>
                      </a:lnTo>
                      <a:lnTo>
                        <a:pt x="2023" y="1343"/>
                      </a:lnTo>
                      <a:lnTo>
                        <a:pt x="2026" y="1349"/>
                      </a:lnTo>
                      <a:lnTo>
                        <a:pt x="2026" y="1360"/>
                      </a:lnTo>
                      <a:lnTo>
                        <a:pt x="2017" y="1373"/>
                      </a:lnTo>
                      <a:lnTo>
                        <a:pt x="2014" y="1383"/>
                      </a:lnTo>
                      <a:lnTo>
                        <a:pt x="2008" y="1393"/>
                      </a:lnTo>
                      <a:lnTo>
                        <a:pt x="2006" y="1393"/>
                      </a:lnTo>
                      <a:lnTo>
                        <a:pt x="2003" y="1396"/>
                      </a:lnTo>
                      <a:lnTo>
                        <a:pt x="2006" y="1396"/>
                      </a:lnTo>
                      <a:lnTo>
                        <a:pt x="2003" y="1424"/>
                      </a:lnTo>
                      <a:lnTo>
                        <a:pt x="2006" y="1426"/>
                      </a:lnTo>
                      <a:lnTo>
                        <a:pt x="2006" y="1437"/>
                      </a:lnTo>
                      <a:lnTo>
                        <a:pt x="2006" y="1443"/>
                      </a:lnTo>
                      <a:lnTo>
                        <a:pt x="2003" y="1448"/>
                      </a:lnTo>
                      <a:lnTo>
                        <a:pt x="1995" y="1457"/>
                      </a:lnTo>
                      <a:lnTo>
                        <a:pt x="1992" y="1457"/>
                      </a:lnTo>
                      <a:lnTo>
                        <a:pt x="1983" y="1470"/>
                      </a:lnTo>
                      <a:lnTo>
                        <a:pt x="1981" y="1478"/>
                      </a:lnTo>
                      <a:lnTo>
                        <a:pt x="1973" y="1495"/>
                      </a:lnTo>
                      <a:lnTo>
                        <a:pt x="1965" y="1501"/>
                      </a:lnTo>
                      <a:lnTo>
                        <a:pt x="1965" y="1503"/>
                      </a:lnTo>
                      <a:lnTo>
                        <a:pt x="1962" y="1503"/>
                      </a:lnTo>
                      <a:lnTo>
                        <a:pt x="1959" y="1501"/>
                      </a:lnTo>
                      <a:lnTo>
                        <a:pt x="1959" y="1503"/>
                      </a:lnTo>
                      <a:lnTo>
                        <a:pt x="1959" y="1506"/>
                      </a:lnTo>
                      <a:lnTo>
                        <a:pt x="1959" y="1509"/>
                      </a:lnTo>
                      <a:lnTo>
                        <a:pt x="1957" y="1514"/>
                      </a:lnTo>
                      <a:lnTo>
                        <a:pt x="1959" y="1514"/>
                      </a:lnTo>
                      <a:lnTo>
                        <a:pt x="1959" y="1521"/>
                      </a:lnTo>
                      <a:lnTo>
                        <a:pt x="1959" y="1523"/>
                      </a:lnTo>
                      <a:lnTo>
                        <a:pt x="1957" y="1521"/>
                      </a:lnTo>
                      <a:lnTo>
                        <a:pt x="1954" y="1523"/>
                      </a:lnTo>
                      <a:lnTo>
                        <a:pt x="1954" y="1529"/>
                      </a:lnTo>
                      <a:lnTo>
                        <a:pt x="1948" y="1529"/>
                      </a:lnTo>
                      <a:lnTo>
                        <a:pt x="1948" y="1531"/>
                      </a:lnTo>
                      <a:lnTo>
                        <a:pt x="1945" y="1531"/>
                      </a:lnTo>
                      <a:lnTo>
                        <a:pt x="1942" y="1564"/>
                      </a:lnTo>
                      <a:lnTo>
                        <a:pt x="1918" y="1564"/>
                      </a:lnTo>
                      <a:lnTo>
                        <a:pt x="1901" y="1564"/>
                      </a:lnTo>
                      <a:lnTo>
                        <a:pt x="1888" y="1567"/>
                      </a:lnTo>
                      <a:lnTo>
                        <a:pt x="1882" y="1570"/>
                      </a:lnTo>
                      <a:lnTo>
                        <a:pt x="1854" y="1575"/>
                      </a:lnTo>
                      <a:lnTo>
                        <a:pt x="1840" y="1581"/>
                      </a:lnTo>
                      <a:lnTo>
                        <a:pt x="1821" y="1595"/>
                      </a:lnTo>
                      <a:lnTo>
                        <a:pt x="1819" y="1598"/>
                      </a:lnTo>
                      <a:lnTo>
                        <a:pt x="1816" y="1598"/>
                      </a:lnTo>
                      <a:lnTo>
                        <a:pt x="1804" y="1608"/>
                      </a:lnTo>
                      <a:lnTo>
                        <a:pt x="1799" y="1619"/>
                      </a:lnTo>
                      <a:lnTo>
                        <a:pt x="1791" y="1636"/>
                      </a:lnTo>
                      <a:lnTo>
                        <a:pt x="1788" y="1658"/>
                      </a:lnTo>
                      <a:lnTo>
                        <a:pt x="1785" y="1667"/>
                      </a:lnTo>
                      <a:lnTo>
                        <a:pt x="1776" y="1677"/>
                      </a:lnTo>
                      <a:lnTo>
                        <a:pt x="1768" y="1702"/>
                      </a:lnTo>
                      <a:lnTo>
                        <a:pt x="1763" y="1713"/>
                      </a:lnTo>
                      <a:lnTo>
                        <a:pt x="1755" y="1730"/>
                      </a:lnTo>
                      <a:lnTo>
                        <a:pt x="1747" y="1746"/>
                      </a:lnTo>
                      <a:lnTo>
                        <a:pt x="1738" y="1754"/>
                      </a:lnTo>
                      <a:lnTo>
                        <a:pt x="1727" y="1762"/>
                      </a:lnTo>
                      <a:lnTo>
                        <a:pt x="1719" y="1771"/>
                      </a:lnTo>
                      <a:lnTo>
                        <a:pt x="1711" y="1782"/>
                      </a:lnTo>
                      <a:lnTo>
                        <a:pt x="1681" y="1805"/>
                      </a:lnTo>
                      <a:lnTo>
                        <a:pt x="1663" y="1813"/>
                      </a:lnTo>
                      <a:lnTo>
                        <a:pt x="1650" y="1815"/>
                      </a:lnTo>
                      <a:lnTo>
                        <a:pt x="1614" y="1826"/>
                      </a:lnTo>
                      <a:lnTo>
                        <a:pt x="1609" y="1826"/>
                      </a:lnTo>
                      <a:lnTo>
                        <a:pt x="1603" y="1829"/>
                      </a:lnTo>
                      <a:lnTo>
                        <a:pt x="1586" y="1843"/>
                      </a:lnTo>
                      <a:lnTo>
                        <a:pt x="1584" y="1846"/>
                      </a:lnTo>
                      <a:lnTo>
                        <a:pt x="1576" y="1857"/>
                      </a:lnTo>
                      <a:lnTo>
                        <a:pt x="1576" y="1859"/>
                      </a:lnTo>
                      <a:lnTo>
                        <a:pt x="1573" y="1859"/>
                      </a:lnTo>
                      <a:lnTo>
                        <a:pt x="1564" y="1871"/>
                      </a:lnTo>
                      <a:lnTo>
                        <a:pt x="1561" y="1874"/>
                      </a:lnTo>
                      <a:lnTo>
                        <a:pt x="1556" y="1882"/>
                      </a:lnTo>
                      <a:lnTo>
                        <a:pt x="1548" y="1890"/>
                      </a:lnTo>
                      <a:lnTo>
                        <a:pt x="1540" y="1895"/>
                      </a:lnTo>
                      <a:lnTo>
                        <a:pt x="1536" y="1895"/>
                      </a:lnTo>
                      <a:lnTo>
                        <a:pt x="1528" y="1900"/>
                      </a:lnTo>
                      <a:lnTo>
                        <a:pt x="1504" y="1903"/>
                      </a:lnTo>
                      <a:lnTo>
                        <a:pt x="1487" y="1909"/>
                      </a:lnTo>
                      <a:lnTo>
                        <a:pt x="1474" y="1931"/>
                      </a:lnTo>
                      <a:lnTo>
                        <a:pt x="1467" y="1943"/>
                      </a:lnTo>
                      <a:lnTo>
                        <a:pt x="1457" y="1956"/>
                      </a:lnTo>
                      <a:lnTo>
                        <a:pt x="1451" y="1964"/>
                      </a:lnTo>
                      <a:lnTo>
                        <a:pt x="1443" y="1972"/>
                      </a:lnTo>
                      <a:lnTo>
                        <a:pt x="1440" y="1976"/>
                      </a:lnTo>
                      <a:lnTo>
                        <a:pt x="1434" y="1984"/>
                      </a:lnTo>
                      <a:lnTo>
                        <a:pt x="1431" y="1989"/>
                      </a:lnTo>
                      <a:lnTo>
                        <a:pt x="1431" y="1992"/>
                      </a:lnTo>
                      <a:lnTo>
                        <a:pt x="1429" y="2014"/>
                      </a:lnTo>
                      <a:lnTo>
                        <a:pt x="1410" y="2033"/>
                      </a:lnTo>
                      <a:lnTo>
                        <a:pt x="1405" y="2038"/>
                      </a:lnTo>
                      <a:lnTo>
                        <a:pt x="1398" y="2058"/>
                      </a:lnTo>
                      <a:lnTo>
                        <a:pt x="1390" y="2074"/>
                      </a:lnTo>
                      <a:lnTo>
                        <a:pt x="1377" y="2089"/>
                      </a:lnTo>
                      <a:lnTo>
                        <a:pt x="1365" y="2097"/>
                      </a:lnTo>
                      <a:lnTo>
                        <a:pt x="1360" y="2102"/>
                      </a:lnTo>
                      <a:lnTo>
                        <a:pt x="1344" y="2122"/>
                      </a:lnTo>
                      <a:lnTo>
                        <a:pt x="1333" y="2132"/>
                      </a:lnTo>
                      <a:lnTo>
                        <a:pt x="1305" y="2179"/>
                      </a:lnTo>
                      <a:lnTo>
                        <a:pt x="1302" y="2182"/>
                      </a:lnTo>
                      <a:lnTo>
                        <a:pt x="1300" y="2188"/>
                      </a:lnTo>
                      <a:lnTo>
                        <a:pt x="1296" y="2191"/>
                      </a:lnTo>
                      <a:lnTo>
                        <a:pt x="1296" y="2193"/>
                      </a:lnTo>
                      <a:lnTo>
                        <a:pt x="1296" y="2204"/>
                      </a:lnTo>
                      <a:lnTo>
                        <a:pt x="1293" y="2232"/>
                      </a:lnTo>
                      <a:lnTo>
                        <a:pt x="1293" y="2245"/>
                      </a:lnTo>
                      <a:lnTo>
                        <a:pt x="1291" y="2245"/>
                      </a:lnTo>
                      <a:lnTo>
                        <a:pt x="1293" y="2276"/>
                      </a:lnTo>
                      <a:lnTo>
                        <a:pt x="1296" y="2284"/>
                      </a:lnTo>
                      <a:lnTo>
                        <a:pt x="1296" y="2293"/>
                      </a:lnTo>
                      <a:lnTo>
                        <a:pt x="1293" y="2298"/>
                      </a:lnTo>
                      <a:lnTo>
                        <a:pt x="1288" y="2306"/>
                      </a:lnTo>
                      <a:lnTo>
                        <a:pt x="1258" y="2337"/>
                      </a:lnTo>
                      <a:lnTo>
                        <a:pt x="1247" y="2345"/>
                      </a:lnTo>
                      <a:lnTo>
                        <a:pt x="1214" y="2348"/>
                      </a:lnTo>
                      <a:lnTo>
                        <a:pt x="1211" y="2345"/>
                      </a:lnTo>
                      <a:lnTo>
                        <a:pt x="1200" y="2334"/>
                      </a:lnTo>
                      <a:lnTo>
                        <a:pt x="1195" y="2337"/>
                      </a:lnTo>
                      <a:lnTo>
                        <a:pt x="1189" y="2348"/>
                      </a:lnTo>
                      <a:lnTo>
                        <a:pt x="1189" y="2350"/>
                      </a:lnTo>
                      <a:lnTo>
                        <a:pt x="1186" y="2348"/>
                      </a:lnTo>
                      <a:lnTo>
                        <a:pt x="1183" y="2348"/>
                      </a:lnTo>
                      <a:lnTo>
                        <a:pt x="1183" y="2345"/>
                      </a:lnTo>
                      <a:lnTo>
                        <a:pt x="1183" y="2334"/>
                      </a:lnTo>
                      <a:lnTo>
                        <a:pt x="1183" y="2331"/>
                      </a:lnTo>
                      <a:lnTo>
                        <a:pt x="1178" y="2329"/>
                      </a:lnTo>
                      <a:lnTo>
                        <a:pt x="1175" y="2329"/>
                      </a:lnTo>
                      <a:lnTo>
                        <a:pt x="1172" y="2331"/>
                      </a:lnTo>
                      <a:lnTo>
                        <a:pt x="1175" y="2345"/>
                      </a:lnTo>
                      <a:lnTo>
                        <a:pt x="1172" y="2348"/>
                      </a:lnTo>
                      <a:lnTo>
                        <a:pt x="1172" y="2350"/>
                      </a:lnTo>
                      <a:lnTo>
                        <a:pt x="1164" y="2348"/>
                      </a:lnTo>
                      <a:lnTo>
                        <a:pt x="1153" y="2350"/>
                      </a:lnTo>
                      <a:lnTo>
                        <a:pt x="1147" y="2353"/>
                      </a:lnTo>
                      <a:lnTo>
                        <a:pt x="1142" y="2356"/>
                      </a:lnTo>
                      <a:lnTo>
                        <a:pt x="1142" y="2359"/>
                      </a:lnTo>
                      <a:lnTo>
                        <a:pt x="1145" y="2362"/>
                      </a:lnTo>
                      <a:lnTo>
                        <a:pt x="1150" y="2367"/>
                      </a:lnTo>
                      <a:lnTo>
                        <a:pt x="1150" y="2370"/>
                      </a:lnTo>
                      <a:lnTo>
                        <a:pt x="1147" y="2375"/>
                      </a:lnTo>
                      <a:lnTo>
                        <a:pt x="1139" y="2378"/>
                      </a:lnTo>
                      <a:lnTo>
                        <a:pt x="1129" y="2373"/>
                      </a:lnTo>
                      <a:lnTo>
                        <a:pt x="1126" y="2373"/>
                      </a:lnTo>
                      <a:lnTo>
                        <a:pt x="1122" y="2370"/>
                      </a:lnTo>
                      <a:lnTo>
                        <a:pt x="1122" y="2365"/>
                      </a:lnTo>
                      <a:lnTo>
                        <a:pt x="1126" y="2356"/>
                      </a:lnTo>
                      <a:lnTo>
                        <a:pt x="1120" y="2342"/>
                      </a:lnTo>
                      <a:lnTo>
                        <a:pt x="1120" y="2340"/>
                      </a:lnTo>
                      <a:lnTo>
                        <a:pt x="1109" y="2340"/>
                      </a:lnTo>
                      <a:lnTo>
                        <a:pt x="1103" y="2334"/>
                      </a:lnTo>
                      <a:lnTo>
                        <a:pt x="1098" y="2334"/>
                      </a:lnTo>
                      <a:lnTo>
                        <a:pt x="1078" y="2334"/>
                      </a:lnTo>
                      <a:lnTo>
                        <a:pt x="1073" y="2331"/>
                      </a:lnTo>
                      <a:lnTo>
                        <a:pt x="1056" y="2331"/>
                      </a:lnTo>
                      <a:lnTo>
                        <a:pt x="1045" y="2326"/>
                      </a:lnTo>
                      <a:lnTo>
                        <a:pt x="1034" y="2326"/>
                      </a:lnTo>
                      <a:lnTo>
                        <a:pt x="1026" y="2306"/>
                      </a:lnTo>
                      <a:lnTo>
                        <a:pt x="1024" y="2304"/>
                      </a:lnTo>
                      <a:lnTo>
                        <a:pt x="1012" y="2301"/>
                      </a:lnTo>
                      <a:lnTo>
                        <a:pt x="1007" y="2296"/>
                      </a:lnTo>
                      <a:lnTo>
                        <a:pt x="999" y="2301"/>
                      </a:lnTo>
                      <a:lnTo>
                        <a:pt x="996" y="2298"/>
                      </a:lnTo>
                      <a:lnTo>
                        <a:pt x="993" y="2296"/>
                      </a:lnTo>
                      <a:lnTo>
                        <a:pt x="999" y="2290"/>
                      </a:lnTo>
                      <a:lnTo>
                        <a:pt x="1001" y="2281"/>
                      </a:lnTo>
                      <a:lnTo>
                        <a:pt x="999" y="2278"/>
                      </a:lnTo>
                      <a:lnTo>
                        <a:pt x="999" y="2265"/>
                      </a:lnTo>
                      <a:lnTo>
                        <a:pt x="991" y="2257"/>
                      </a:lnTo>
                      <a:lnTo>
                        <a:pt x="991" y="2251"/>
                      </a:lnTo>
                      <a:lnTo>
                        <a:pt x="991" y="2248"/>
                      </a:lnTo>
                      <a:lnTo>
                        <a:pt x="993" y="2245"/>
                      </a:lnTo>
                      <a:lnTo>
                        <a:pt x="996" y="2243"/>
                      </a:lnTo>
                      <a:lnTo>
                        <a:pt x="1001" y="2243"/>
                      </a:lnTo>
                      <a:lnTo>
                        <a:pt x="1004" y="2243"/>
                      </a:lnTo>
                      <a:lnTo>
                        <a:pt x="1007" y="2232"/>
                      </a:lnTo>
                      <a:lnTo>
                        <a:pt x="1004" y="2227"/>
                      </a:lnTo>
                      <a:lnTo>
                        <a:pt x="999" y="2219"/>
                      </a:lnTo>
                      <a:lnTo>
                        <a:pt x="993" y="2215"/>
                      </a:lnTo>
                      <a:lnTo>
                        <a:pt x="987" y="2210"/>
                      </a:lnTo>
                      <a:lnTo>
                        <a:pt x="984" y="2207"/>
                      </a:lnTo>
                      <a:lnTo>
                        <a:pt x="979" y="2212"/>
                      </a:lnTo>
                      <a:lnTo>
                        <a:pt x="976" y="2212"/>
                      </a:lnTo>
                      <a:lnTo>
                        <a:pt x="968" y="2215"/>
                      </a:lnTo>
                      <a:lnTo>
                        <a:pt x="960" y="2219"/>
                      </a:lnTo>
                      <a:lnTo>
                        <a:pt x="955" y="2219"/>
                      </a:lnTo>
                      <a:lnTo>
                        <a:pt x="948" y="2219"/>
                      </a:lnTo>
                      <a:lnTo>
                        <a:pt x="951" y="2212"/>
                      </a:lnTo>
                      <a:lnTo>
                        <a:pt x="963" y="2199"/>
                      </a:lnTo>
                      <a:lnTo>
                        <a:pt x="957" y="2196"/>
                      </a:lnTo>
                      <a:lnTo>
                        <a:pt x="957" y="2191"/>
                      </a:lnTo>
                      <a:lnTo>
                        <a:pt x="957" y="2185"/>
                      </a:lnTo>
                      <a:lnTo>
                        <a:pt x="965" y="2171"/>
                      </a:lnTo>
                      <a:lnTo>
                        <a:pt x="965" y="2166"/>
                      </a:lnTo>
                      <a:lnTo>
                        <a:pt x="965" y="2163"/>
                      </a:lnTo>
                      <a:lnTo>
                        <a:pt x="965" y="2160"/>
                      </a:lnTo>
                      <a:lnTo>
                        <a:pt x="965" y="2158"/>
                      </a:lnTo>
                      <a:lnTo>
                        <a:pt x="965" y="2150"/>
                      </a:lnTo>
                      <a:lnTo>
                        <a:pt x="963" y="2143"/>
                      </a:lnTo>
                      <a:lnTo>
                        <a:pt x="960" y="2138"/>
                      </a:lnTo>
                      <a:lnTo>
                        <a:pt x="960" y="2135"/>
                      </a:lnTo>
                      <a:lnTo>
                        <a:pt x="960" y="2127"/>
                      </a:lnTo>
                      <a:lnTo>
                        <a:pt x="960" y="2119"/>
                      </a:lnTo>
                      <a:lnTo>
                        <a:pt x="957" y="2105"/>
                      </a:lnTo>
                      <a:lnTo>
                        <a:pt x="951" y="2099"/>
                      </a:lnTo>
                      <a:lnTo>
                        <a:pt x="938" y="2099"/>
                      </a:lnTo>
                      <a:lnTo>
                        <a:pt x="927" y="2102"/>
                      </a:lnTo>
                      <a:lnTo>
                        <a:pt x="918" y="2107"/>
                      </a:lnTo>
                      <a:lnTo>
                        <a:pt x="913" y="2107"/>
                      </a:lnTo>
                      <a:lnTo>
                        <a:pt x="907" y="2105"/>
                      </a:lnTo>
                      <a:lnTo>
                        <a:pt x="896" y="2089"/>
                      </a:lnTo>
                      <a:lnTo>
                        <a:pt x="896" y="2086"/>
                      </a:lnTo>
                      <a:lnTo>
                        <a:pt x="896" y="2081"/>
                      </a:lnTo>
                      <a:lnTo>
                        <a:pt x="891" y="2074"/>
                      </a:lnTo>
                      <a:lnTo>
                        <a:pt x="886" y="2066"/>
                      </a:lnTo>
                      <a:lnTo>
                        <a:pt x="888" y="2058"/>
                      </a:lnTo>
                      <a:lnTo>
                        <a:pt x="882" y="2053"/>
                      </a:lnTo>
                      <a:lnTo>
                        <a:pt x="894" y="2036"/>
                      </a:lnTo>
                      <a:lnTo>
                        <a:pt x="891" y="2033"/>
                      </a:lnTo>
                      <a:lnTo>
                        <a:pt x="886" y="2022"/>
                      </a:lnTo>
                      <a:lnTo>
                        <a:pt x="886" y="2014"/>
                      </a:lnTo>
                      <a:lnTo>
                        <a:pt x="891" y="2003"/>
                      </a:lnTo>
                      <a:lnTo>
                        <a:pt x="891" y="1992"/>
                      </a:lnTo>
                      <a:lnTo>
                        <a:pt x="888" y="1986"/>
                      </a:lnTo>
                      <a:lnTo>
                        <a:pt x="882" y="1981"/>
                      </a:lnTo>
                      <a:lnTo>
                        <a:pt x="877" y="1981"/>
                      </a:lnTo>
                      <a:lnTo>
                        <a:pt x="869" y="1976"/>
                      </a:lnTo>
                      <a:lnTo>
                        <a:pt x="863" y="1969"/>
                      </a:lnTo>
                      <a:lnTo>
                        <a:pt x="861" y="1959"/>
                      </a:lnTo>
                      <a:lnTo>
                        <a:pt x="830" y="1936"/>
                      </a:lnTo>
                      <a:lnTo>
                        <a:pt x="828" y="1931"/>
                      </a:lnTo>
                      <a:lnTo>
                        <a:pt x="825" y="1926"/>
                      </a:lnTo>
                      <a:lnTo>
                        <a:pt x="822" y="1923"/>
                      </a:lnTo>
                      <a:lnTo>
                        <a:pt x="813" y="1920"/>
                      </a:lnTo>
                      <a:lnTo>
                        <a:pt x="802" y="1923"/>
                      </a:lnTo>
                      <a:lnTo>
                        <a:pt x="792" y="1920"/>
                      </a:lnTo>
                      <a:lnTo>
                        <a:pt x="789" y="1917"/>
                      </a:lnTo>
                      <a:lnTo>
                        <a:pt x="777" y="1887"/>
                      </a:lnTo>
                      <a:lnTo>
                        <a:pt x="775" y="1876"/>
                      </a:lnTo>
                      <a:lnTo>
                        <a:pt x="772" y="1862"/>
                      </a:lnTo>
                      <a:lnTo>
                        <a:pt x="772" y="1848"/>
                      </a:lnTo>
                      <a:lnTo>
                        <a:pt x="769" y="1846"/>
                      </a:lnTo>
                      <a:lnTo>
                        <a:pt x="761" y="1840"/>
                      </a:lnTo>
                      <a:lnTo>
                        <a:pt x="756" y="1835"/>
                      </a:lnTo>
                      <a:lnTo>
                        <a:pt x="758" y="1818"/>
                      </a:lnTo>
                      <a:lnTo>
                        <a:pt x="750" y="1815"/>
                      </a:lnTo>
                      <a:lnTo>
                        <a:pt x="748" y="1810"/>
                      </a:lnTo>
                      <a:lnTo>
                        <a:pt x="748" y="1802"/>
                      </a:lnTo>
                      <a:lnTo>
                        <a:pt x="744" y="1798"/>
                      </a:lnTo>
                      <a:lnTo>
                        <a:pt x="741" y="1793"/>
                      </a:lnTo>
                      <a:lnTo>
                        <a:pt x="733" y="1787"/>
                      </a:lnTo>
                      <a:lnTo>
                        <a:pt x="728" y="1779"/>
                      </a:lnTo>
                      <a:lnTo>
                        <a:pt x="723" y="1777"/>
                      </a:lnTo>
                      <a:lnTo>
                        <a:pt x="720" y="1762"/>
                      </a:lnTo>
                      <a:lnTo>
                        <a:pt x="723" y="1754"/>
                      </a:lnTo>
                      <a:lnTo>
                        <a:pt x="725" y="1752"/>
                      </a:lnTo>
                      <a:lnTo>
                        <a:pt x="717" y="1738"/>
                      </a:lnTo>
                      <a:lnTo>
                        <a:pt x="708" y="1733"/>
                      </a:lnTo>
                      <a:lnTo>
                        <a:pt x="706" y="1721"/>
                      </a:lnTo>
                      <a:lnTo>
                        <a:pt x="703" y="1713"/>
                      </a:lnTo>
                      <a:lnTo>
                        <a:pt x="695" y="1708"/>
                      </a:lnTo>
                      <a:lnTo>
                        <a:pt x="692" y="1700"/>
                      </a:lnTo>
                      <a:lnTo>
                        <a:pt x="697" y="1691"/>
                      </a:lnTo>
                      <a:lnTo>
                        <a:pt x="697" y="1688"/>
                      </a:lnTo>
                      <a:lnTo>
                        <a:pt x="697" y="1683"/>
                      </a:lnTo>
                      <a:lnTo>
                        <a:pt x="695" y="1672"/>
                      </a:lnTo>
                      <a:lnTo>
                        <a:pt x="700" y="1658"/>
                      </a:lnTo>
                      <a:lnTo>
                        <a:pt x="697" y="1655"/>
                      </a:lnTo>
                      <a:lnTo>
                        <a:pt x="692" y="1652"/>
                      </a:lnTo>
                      <a:lnTo>
                        <a:pt x="697" y="1644"/>
                      </a:lnTo>
                      <a:lnTo>
                        <a:pt x="695" y="1641"/>
                      </a:lnTo>
                      <a:lnTo>
                        <a:pt x="700" y="1636"/>
                      </a:lnTo>
                      <a:lnTo>
                        <a:pt x="703" y="1633"/>
                      </a:lnTo>
                      <a:lnTo>
                        <a:pt x="703" y="1628"/>
                      </a:lnTo>
                      <a:lnTo>
                        <a:pt x="700" y="1622"/>
                      </a:lnTo>
                      <a:lnTo>
                        <a:pt x="700" y="1616"/>
                      </a:lnTo>
                      <a:lnTo>
                        <a:pt x="703" y="1608"/>
                      </a:lnTo>
                      <a:lnTo>
                        <a:pt x="715" y="1595"/>
                      </a:lnTo>
                      <a:lnTo>
                        <a:pt x="717" y="1578"/>
                      </a:lnTo>
                      <a:lnTo>
                        <a:pt x="720" y="1575"/>
                      </a:lnTo>
                      <a:lnTo>
                        <a:pt x="720" y="1572"/>
                      </a:lnTo>
                      <a:lnTo>
                        <a:pt x="711" y="1567"/>
                      </a:lnTo>
                      <a:lnTo>
                        <a:pt x="706" y="1570"/>
                      </a:lnTo>
                      <a:lnTo>
                        <a:pt x="703" y="1567"/>
                      </a:lnTo>
                      <a:lnTo>
                        <a:pt x="700" y="1559"/>
                      </a:lnTo>
                      <a:lnTo>
                        <a:pt x="697" y="1553"/>
                      </a:lnTo>
                      <a:lnTo>
                        <a:pt x="687" y="1545"/>
                      </a:lnTo>
                      <a:lnTo>
                        <a:pt x="684" y="1537"/>
                      </a:lnTo>
                      <a:lnTo>
                        <a:pt x="681" y="1534"/>
                      </a:lnTo>
                      <a:lnTo>
                        <a:pt x="678" y="1534"/>
                      </a:lnTo>
                      <a:lnTo>
                        <a:pt x="675" y="1531"/>
                      </a:lnTo>
                      <a:lnTo>
                        <a:pt x="659" y="1521"/>
                      </a:lnTo>
                      <a:lnTo>
                        <a:pt x="651" y="1514"/>
                      </a:lnTo>
                      <a:lnTo>
                        <a:pt x="646" y="1503"/>
                      </a:lnTo>
                      <a:lnTo>
                        <a:pt x="639" y="1498"/>
                      </a:lnTo>
                      <a:lnTo>
                        <a:pt x="618" y="1487"/>
                      </a:lnTo>
                      <a:lnTo>
                        <a:pt x="615" y="1484"/>
                      </a:lnTo>
                      <a:lnTo>
                        <a:pt x="595" y="1470"/>
                      </a:lnTo>
                      <a:lnTo>
                        <a:pt x="593" y="1462"/>
                      </a:lnTo>
                      <a:lnTo>
                        <a:pt x="595" y="1460"/>
                      </a:lnTo>
                      <a:lnTo>
                        <a:pt x="595" y="1448"/>
                      </a:lnTo>
                      <a:lnTo>
                        <a:pt x="593" y="1445"/>
                      </a:lnTo>
                      <a:lnTo>
                        <a:pt x="590" y="1443"/>
                      </a:lnTo>
                      <a:lnTo>
                        <a:pt x="587" y="1434"/>
                      </a:lnTo>
                      <a:lnTo>
                        <a:pt x="587" y="1432"/>
                      </a:lnTo>
                      <a:lnTo>
                        <a:pt x="590" y="1429"/>
                      </a:lnTo>
                      <a:lnTo>
                        <a:pt x="590" y="1426"/>
                      </a:lnTo>
                      <a:lnTo>
                        <a:pt x="587" y="1421"/>
                      </a:lnTo>
                      <a:lnTo>
                        <a:pt x="585" y="1421"/>
                      </a:lnTo>
                      <a:lnTo>
                        <a:pt x="585" y="1416"/>
                      </a:lnTo>
                      <a:lnTo>
                        <a:pt x="579" y="1409"/>
                      </a:lnTo>
                      <a:lnTo>
                        <a:pt x="577" y="1407"/>
                      </a:lnTo>
                      <a:lnTo>
                        <a:pt x="577" y="1393"/>
                      </a:lnTo>
                      <a:lnTo>
                        <a:pt x="577" y="1388"/>
                      </a:lnTo>
                      <a:lnTo>
                        <a:pt x="577" y="1383"/>
                      </a:lnTo>
                      <a:lnTo>
                        <a:pt x="582" y="1376"/>
                      </a:lnTo>
                      <a:lnTo>
                        <a:pt x="585" y="1376"/>
                      </a:lnTo>
                      <a:lnTo>
                        <a:pt x="590" y="1379"/>
                      </a:lnTo>
                      <a:lnTo>
                        <a:pt x="595" y="1379"/>
                      </a:lnTo>
                      <a:lnTo>
                        <a:pt x="598" y="1376"/>
                      </a:lnTo>
                      <a:lnTo>
                        <a:pt x="598" y="1373"/>
                      </a:lnTo>
                      <a:lnTo>
                        <a:pt x="601" y="1365"/>
                      </a:lnTo>
                      <a:lnTo>
                        <a:pt x="598" y="1360"/>
                      </a:lnTo>
                      <a:lnTo>
                        <a:pt x="593" y="1355"/>
                      </a:lnTo>
                      <a:lnTo>
                        <a:pt x="590" y="1347"/>
                      </a:lnTo>
                      <a:lnTo>
                        <a:pt x="590" y="1338"/>
                      </a:lnTo>
                      <a:lnTo>
                        <a:pt x="587" y="1338"/>
                      </a:lnTo>
                      <a:lnTo>
                        <a:pt x="585" y="1340"/>
                      </a:lnTo>
                      <a:lnTo>
                        <a:pt x="585" y="1343"/>
                      </a:lnTo>
                      <a:lnTo>
                        <a:pt x="570" y="1340"/>
                      </a:lnTo>
                      <a:lnTo>
                        <a:pt x="549" y="1352"/>
                      </a:lnTo>
                      <a:lnTo>
                        <a:pt x="543" y="1352"/>
                      </a:lnTo>
                      <a:lnTo>
                        <a:pt x="540" y="1347"/>
                      </a:lnTo>
                      <a:lnTo>
                        <a:pt x="540" y="1343"/>
                      </a:lnTo>
                      <a:lnTo>
                        <a:pt x="546" y="1338"/>
                      </a:lnTo>
                      <a:lnTo>
                        <a:pt x="549" y="1330"/>
                      </a:lnTo>
                      <a:lnTo>
                        <a:pt x="546" y="1324"/>
                      </a:lnTo>
                      <a:lnTo>
                        <a:pt x="537" y="1322"/>
                      </a:lnTo>
                      <a:lnTo>
                        <a:pt x="534" y="1322"/>
                      </a:lnTo>
                      <a:lnTo>
                        <a:pt x="534" y="1311"/>
                      </a:lnTo>
                      <a:lnTo>
                        <a:pt x="540" y="1307"/>
                      </a:lnTo>
                      <a:lnTo>
                        <a:pt x="546" y="1304"/>
                      </a:lnTo>
                      <a:lnTo>
                        <a:pt x="543" y="1296"/>
                      </a:lnTo>
                      <a:lnTo>
                        <a:pt x="540" y="1294"/>
                      </a:lnTo>
                      <a:lnTo>
                        <a:pt x="532" y="1294"/>
                      </a:lnTo>
                      <a:lnTo>
                        <a:pt x="532" y="1296"/>
                      </a:lnTo>
                      <a:lnTo>
                        <a:pt x="529" y="1299"/>
                      </a:lnTo>
                      <a:lnTo>
                        <a:pt x="521" y="1291"/>
                      </a:lnTo>
                      <a:lnTo>
                        <a:pt x="504" y="1294"/>
                      </a:lnTo>
                      <a:lnTo>
                        <a:pt x="501" y="1299"/>
                      </a:lnTo>
                      <a:lnTo>
                        <a:pt x="496" y="1299"/>
                      </a:lnTo>
                      <a:lnTo>
                        <a:pt x="493" y="1294"/>
                      </a:lnTo>
                      <a:lnTo>
                        <a:pt x="499" y="1291"/>
                      </a:lnTo>
                      <a:lnTo>
                        <a:pt x="501" y="1288"/>
                      </a:lnTo>
                      <a:lnTo>
                        <a:pt x="499" y="1280"/>
                      </a:lnTo>
                      <a:lnTo>
                        <a:pt x="501" y="1274"/>
                      </a:lnTo>
                      <a:lnTo>
                        <a:pt x="499" y="1269"/>
                      </a:lnTo>
                      <a:lnTo>
                        <a:pt x="493" y="1271"/>
                      </a:lnTo>
                      <a:lnTo>
                        <a:pt x="491" y="1283"/>
                      </a:lnTo>
                      <a:lnTo>
                        <a:pt x="485" y="1283"/>
                      </a:lnTo>
                      <a:lnTo>
                        <a:pt x="485" y="1280"/>
                      </a:lnTo>
                      <a:lnTo>
                        <a:pt x="482" y="1278"/>
                      </a:lnTo>
                      <a:lnTo>
                        <a:pt x="477" y="1283"/>
                      </a:lnTo>
                      <a:lnTo>
                        <a:pt x="474" y="1280"/>
                      </a:lnTo>
                      <a:lnTo>
                        <a:pt x="471" y="1274"/>
                      </a:lnTo>
                      <a:lnTo>
                        <a:pt x="480" y="1266"/>
                      </a:lnTo>
                      <a:lnTo>
                        <a:pt x="480" y="1263"/>
                      </a:lnTo>
                      <a:lnTo>
                        <a:pt x="471" y="1258"/>
                      </a:lnTo>
                      <a:lnTo>
                        <a:pt x="468" y="1261"/>
                      </a:lnTo>
                      <a:lnTo>
                        <a:pt x="471" y="1266"/>
                      </a:lnTo>
                      <a:lnTo>
                        <a:pt x="471" y="1269"/>
                      </a:lnTo>
                      <a:lnTo>
                        <a:pt x="465" y="1274"/>
                      </a:lnTo>
                      <a:lnTo>
                        <a:pt x="465" y="1278"/>
                      </a:lnTo>
                      <a:lnTo>
                        <a:pt x="455" y="1274"/>
                      </a:lnTo>
                      <a:lnTo>
                        <a:pt x="452" y="1269"/>
                      </a:lnTo>
                      <a:lnTo>
                        <a:pt x="449" y="1274"/>
                      </a:lnTo>
                      <a:lnTo>
                        <a:pt x="447" y="1274"/>
                      </a:lnTo>
                      <a:lnTo>
                        <a:pt x="444" y="1271"/>
                      </a:lnTo>
                      <a:lnTo>
                        <a:pt x="441" y="1266"/>
                      </a:lnTo>
                      <a:lnTo>
                        <a:pt x="435" y="1263"/>
                      </a:lnTo>
                      <a:lnTo>
                        <a:pt x="430" y="1263"/>
                      </a:lnTo>
                      <a:lnTo>
                        <a:pt x="427" y="1266"/>
                      </a:lnTo>
                      <a:lnTo>
                        <a:pt x="432" y="1271"/>
                      </a:lnTo>
                      <a:lnTo>
                        <a:pt x="435" y="1274"/>
                      </a:lnTo>
                      <a:lnTo>
                        <a:pt x="432" y="1278"/>
                      </a:lnTo>
                      <a:lnTo>
                        <a:pt x="427" y="1278"/>
                      </a:lnTo>
                      <a:lnTo>
                        <a:pt x="424" y="1274"/>
                      </a:lnTo>
                      <a:lnTo>
                        <a:pt x="416" y="1278"/>
                      </a:lnTo>
                      <a:lnTo>
                        <a:pt x="416" y="1274"/>
                      </a:lnTo>
                      <a:lnTo>
                        <a:pt x="419" y="1271"/>
                      </a:lnTo>
                      <a:lnTo>
                        <a:pt x="419" y="1269"/>
                      </a:lnTo>
                      <a:lnTo>
                        <a:pt x="414" y="1271"/>
                      </a:lnTo>
                      <a:lnTo>
                        <a:pt x="405" y="1269"/>
                      </a:lnTo>
                      <a:lnTo>
                        <a:pt x="402" y="1271"/>
                      </a:lnTo>
                      <a:lnTo>
                        <a:pt x="402" y="1269"/>
                      </a:lnTo>
                      <a:lnTo>
                        <a:pt x="405" y="1258"/>
                      </a:lnTo>
                      <a:lnTo>
                        <a:pt x="405" y="1255"/>
                      </a:lnTo>
                      <a:lnTo>
                        <a:pt x="399" y="1255"/>
                      </a:lnTo>
                      <a:lnTo>
                        <a:pt x="396" y="1250"/>
                      </a:lnTo>
                      <a:lnTo>
                        <a:pt x="388" y="1250"/>
                      </a:lnTo>
                      <a:lnTo>
                        <a:pt x="388" y="1255"/>
                      </a:lnTo>
                      <a:lnTo>
                        <a:pt x="383" y="1258"/>
                      </a:lnTo>
                      <a:lnTo>
                        <a:pt x="380" y="1258"/>
                      </a:lnTo>
                      <a:lnTo>
                        <a:pt x="380" y="1255"/>
                      </a:lnTo>
                      <a:lnTo>
                        <a:pt x="383" y="1253"/>
                      </a:lnTo>
                      <a:lnTo>
                        <a:pt x="383" y="1250"/>
                      </a:lnTo>
                      <a:lnTo>
                        <a:pt x="386" y="1245"/>
                      </a:lnTo>
                      <a:lnTo>
                        <a:pt x="383" y="1245"/>
                      </a:lnTo>
                      <a:lnTo>
                        <a:pt x="378" y="1242"/>
                      </a:lnTo>
                      <a:lnTo>
                        <a:pt x="375" y="1245"/>
                      </a:lnTo>
                      <a:lnTo>
                        <a:pt x="375" y="1238"/>
                      </a:lnTo>
                      <a:lnTo>
                        <a:pt x="370" y="1235"/>
                      </a:lnTo>
                      <a:lnTo>
                        <a:pt x="366" y="1242"/>
                      </a:lnTo>
                      <a:lnTo>
                        <a:pt x="361" y="1238"/>
                      </a:lnTo>
                      <a:lnTo>
                        <a:pt x="355" y="1242"/>
                      </a:lnTo>
                      <a:lnTo>
                        <a:pt x="355" y="1235"/>
                      </a:lnTo>
                      <a:lnTo>
                        <a:pt x="355" y="1227"/>
                      </a:lnTo>
                      <a:lnTo>
                        <a:pt x="353" y="1222"/>
                      </a:lnTo>
                      <a:lnTo>
                        <a:pt x="347" y="1225"/>
                      </a:lnTo>
                      <a:lnTo>
                        <a:pt x="345" y="1225"/>
                      </a:lnTo>
                      <a:lnTo>
                        <a:pt x="347" y="1227"/>
                      </a:lnTo>
                      <a:lnTo>
                        <a:pt x="345" y="1230"/>
                      </a:lnTo>
                      <a:lnTo>
                        <a:pt x="339" y="1227"/>
                      </a:lnTo>
                      <a:lnTo>
                        <a:pt x="333" y="1233"/>
                      </a:lnTo>
                      <a:lnTo>
                        <a:pt x="330" y="1233"/>
                      </a:lnTo>
                      <a:lnTo>
                        <a:pt x="327" y="1230"/>
                      </a:lnTo>
                      <a:lnTo>
                        <a:pt x="322" y="1233"/>
                      </a:lnTo>
                      <a:lnTo>
                        <a:pt x="325" y="1235"/>
                      </a:lnTo>
                      <a:lnTo>
                        <a:pt x="319" y="1235"/>
                      </a:lnTo>
                      <a:lnTo>
                        <a:pt x="319" y="1233"/>
                      </a:lnTo>
                      <a:lnTo>
                        <a:pt x="322" y="1227"/>
                      </a:lnTo>
                      <a:lnTo>
                        <a:pt x="319" y="1225"/>
                      </a:lnTo>
                      <a:lnTo>
                        <a:pt x="322" y="1219"/>
                      </a:lnTo>
                      <a:lnTo>
                        <a:pt x="317" y="1209"/>
                      </a:lnTo>
                      <a:lnTo>
                        <a:pt x="309" y="1209"/>
                      </a:lnTo>
                      <a:lnTo>
                        <a:pt x="309" y="1205"/>
                      </a:lnTo>
                      <a:lnTo>
                        <a:pt x="311" y="1200"/>
                      </a:lnTo>
                      <a:lnTo>
                        <a:pt x="314" y="1194"/>
                      </a:lnTo>
                      <a:lnTo>
                        <a:pt x="314" y="1192"/>
                      </a:lnTo>
                      <a:lnTo>
                        <a:pt x="311" y="1194"/>
                      </a:lnTo>
                      <a:lnTo>
                        <a:pt x="309" y="1197"/>
                      </a:lnTo>
                      <a:lnTo>
                        <a:pt x="306" y="1192"/>
                      </a:lnTo>
                      <a:lnTo>
                        <a:pt x="303" y="1192"/>
                      </a:lnTo>
                      <a:lnTo>
                        <a:pt x="303" y="1189"/>
                      </a:lnTo>
                      <a:lnTo>
                        <a:pt x="306" y="1189"/>
                      </a:lnTo>
                      <a:lnTo>
                        <a:pt x="306" y="1186"/>
                      </a:lnTo>
                      <a:lnTo>
                        <a:pt x="300" y="1181"/>
                      </a:lnTo>
                      <a:lnTo>
                        <a:pt x="303" y="1178"/>
                      </a:lnTo>
                      <a:lnTo>
                        <a:pt x="297" y="1178"/>
                      </a:lnTo>
                      <a:lnTo>
                        <a:pt x="297" y="1173"/>
                      </a:lnTo>
                      <a:lnTo>
                        <a:pt x="294" y="1169"/>
                      </a:lnTo>
                      <a:lnTo>
                        <a:pt x="294" y="1173"/>
                      </a:lnTo>
                      <a:lnTo>
                        <a:pt x="292" y="1169"/>
                      </a:lnTo>
                      <a:lnTo>
                        <a:pt x="286" y="1169"/>
                      </a:lnTo>
                      <a:lnTo>
                        <a:pt x="283" y="1169"/>
                      </a:lnTo>
                      <a:lnTo>
                        <a:pt x="283" y="1164"/>
                      </a:lnTo>
                      <a:lnTo>
                        <a:pt x="281" y="1164"/>
                      </a:lnTo>
                      <a:lnTo>
                        <a:pt x="278" y="1169"/>
                      </a:lnTo>
                      <a:lnTo>
                        <a:pt x="278" y="1178"/>
                      </a:lnTo>
                      <a:lnTo>
                        <a:pt x="275" y="1176"/>
                      </a:lnTo>
                      <a:lnTo>
                        <a:pt x="273" y="1167"/>
                      </a:lnTo>
                      <a:lnTo>
                        <a:pt x="267" y="1164"/>
                      </a:lnTo>
                      <a:lnTo>
                        <a:pt x="261" y="1161"/>
                      </a:lnTo>
                      <a:lnTo>
                        <a:pt x="261" y="1156"/>
                      </a:lnTo>
                      <a:lnTo>
                        <a:pt x="256" y="1156"/>
                      </a:lnTo>
                      <a:lnTo>
                        <a:pt x="253" y="1153"/>
                      </a:lnTo>
                      <a:lnTo>
                        <a:pt x="248" y="1156"/>
                      </a:lnTo>
                      <a:lnTo>
                        <a:pt x="248" y="1153"/>
                      </a:lnTo>
                      <a:lnTo>
                        <a:pt x="245" y="1150"/>
                      </a:lnTo>
                      <a:lnTo>
                        <a:pt x="248" y="1148"/>
                      </a:lnTo>
                      <a:lnTo>
                        <a:pt x="245" y="1145"/>
                      </a:lnTo>
                      <a:lnTo>
                        <a:pt x="248" y="1145"/>
                      </a:lnTo>
                      <a:lnTo>
                        <a:pt x="245" y="1142"/>
                      </a:lnTo>
                      <a:lnTo>
                        <a:pt x="242" y="1145"/>
                      </a:lnTo>
                      <a:lnTo>
                        <a:pt x="237" y="1142"/>
                      </a:lnTo>
                      <a:lnTo>
                        <a:pt x="240" y="1140"/>
                      </a:lnTo>
                      <a:lnTo>
                        <a:pt x="242" y="1137"/>
                      </a:lnTo>
                      <a:lnTo>
                        <a:pt x="237" y="1140"/>
                      </a:lnTo>
                      <a:lnTo>
                        <a:pt x="237" y="1137"/>
                      </a:lnTo>
                      <a:lnTo>
                        <a:pt x="234" y="1137"/>
                      </a:lnTo>
                      <a:lnTo>
                        <a:pt x="231" y="1133"/>
                      </a:lnTo>
                      <a:lnTo>
                        <a:pt x="228" y="1133"/>
                      </a:lnTo>
                      <a:lnTo>
                        <a:pt x="231" y="1131"/>
                      </a:lnTo>
                      <a:lnTo>
                        <a:pt x="225" y="1131"/>
                      </a:lnTo>
                      <a:lnTo>
                        <a:pt x="223" y="1131"/>
                      </a:lnTo>
                      <a:lnTo>
                        <a:pt x="223" y="1128"/>
                      </a:lnTo>
                      <a:lnTo>
                        <a:pt x="220" y="1131"/>
                      </a:lnTo>
                      <a:lnTo>
                        <a:pt x="215" y="1131"/>
                      </a:lnTo>
                      <a:lnTo>
                        <a:pt x="215" y="1128"/>
                      </a:lnTo>
                      <a:lnTo>
                        <a:pt x="212" y="1128"/>
                      </a:lnTo>
                      <a:lnTo>
                        <a:pt x="212" y="1125"/>
                      </a:lnTo>
                      <a:lnTo>
                        <a:pt x="201" y="1120"/>
                      </a:lnTo>
                      <a:lnTo>
                        <a:pt x="198" y="1128"/>
                      </a:lnTo>
                      <a:lnTo>
                        <a:pt x="192" y="1123"/>
                      </a:lnTo>
                      <a:lnTo>
                        <a:pt x="187" y="1123"/>
                      </a:lnTo>
                      <a:lnTo>
                        <a:pt x="184" y="1123"/>
                      </a:lnTo>
                      <a:lnTo>
                        <a:pt x="179" y="1125"/>
                      </a:lnTo>
                      <a:lnTo>
                        <a:pt x="168" y="1123"/>
                      </a:lnTo>
                      <a:lnTo>
                        <a:pt x="165" y="1123"/>
                      </a:lnTo>
                      <a:lnTo>
                        <a:pt x="165" y="1125"/>
                      </a:lnTo>
                      <a:lnTo>
                        <a:pt x="159" y="1123"/>
                      </a:lnTo>
                      <a:lnTo>
                        <a:pt x="159" y="1125"/>
                      </a:lnTo>
                      <a:lnTo>
                        <a:pt x="154" y="1128"/>
                      </a:lnTo>
                      <a:lnTo>
                        <a:pt x="151" y="1125"/>
                      </a:lnTo>
                      <a:lnTo>
                        <a:pt x="148" y="1125"/>
                      </a:lnTo>
                      <a:lnTo>
                        <a:pt x="143" y="1123"/>
                      </a:lnTo>
                      <a:lnTo>
                        <a:pt x="140" y="1120"/>
                      </a:lnTo>
                      <a:lnTo>
                        <a:pt x="137" y="1117"/>
                      </a:lnTo>
                      <a:lnTo>
                        <a:pt x="123" y="1115"/>
                      </a:lnTo>
                      <a:lnTo>
                        <a:pt x="123" y="1112"/>
                      </a:lnTo>
                      <a:lnTo>
                        <a:pt x="118" y="1115"/>
                      </a:lnTo>
                      <a:lnTo>
                        <a:pt x="110" y="1112"/>
                      </a:lnTo>
                      <a:lnTo>
                        <a:pt x="107" y="1115"/>
                      </a:lnTo>
                      <a:lnTo>
                        <a:pt x="102" y="1112"/>
                      </a:lnTo>
                      <a:lnTo>
                        <a:pt x="93" y="1117"/>
                      </a:lnTo>
                      <a:lnTo>
                        <a:pt x="90" y="1117"/>
                      </a:lnTo>
                      <a:lnTo>
                        <a:pt x="82" y="1120"/>
                      </a:lnTo>
                      <a:lnTo>
                        <a:pt x="79" y="1117"/>
                      </a:lnTo>
                      <a:lnTo>
                        <a:pt x="74" y="1117"/>
                      </a:lnTo>
                      <a:lnTo>
                        <a:pt x="71" y="1115"/>
                      </a:lnTo>
                      <a:lnTo>
                        <a:pt x="71" y="1117"/>
                      </a:lnTo>
                      <a:lnTo>
                        <a:pt x="63" y="1117"/>
                      </a:lnTo>
                      <a:lnTo>
                        <a:pt x="51" y="1115"/>
                      </a:lnTo>
                      <a:lnTo>
                        <a:pt x="51" y="1112"/>
                      </a:lnTo>
                      <a:lnTo>
                        <a:pt x="49" y="1109"/>
                      </a:lnTo>
                      <a:lnTo>
                        <a:pt x="49" y="1107"/>
                      </a:lnTo>
                      <a:lnTo>
                        <a:pt x="51" y="1104"/>
                      </a:lnTo>
                      <a:lnTo>
                        <a:pt x="49" y="1098"/>
                      </a:lnTo>
                      <a:lnTo>
                        <a:pt x="57" y="1092"/>
                      </a:lnTo>
                      <a:lnTo>
                        <a:pt x="54" y="1092"/>
                      </a:lnTo>
                      <a:lnTo>
                        <a:pt x="54" y="1089"/>
                      </a:lnTo>
                      <a:lnTo>
                        <a:pt x="51" y="1087"/>
                      </a:lnTo>
                      <a:lnTo>
                        <a:pt x="49" y="1084"/>
                      </a:lnTo>
                      <a:lnTo>
                        <a:pt x="49" y="1073"/>
                      </a:lnTo>
                      <a:lnTo>
                        <a:pt x="46" y="1068"/>
                      </a:lnTo>
                      <a:lnTo>
                        <a:pt x="46" y="1064"/>
                      </a:lnTo>
                      <a:lnTo>
                        <a:pt x="46" y="1062"/>
                      </a:lnTo>
                      <a:lnTo>
                        <a:pt x="43" y="1059"/>
                      </a:lnTo>
                      <a:lnTo>
                        <a:pt x="41" y="1046"/>
                      </a:lnTo>
                      <a:lnTo>
                        <a:pt x="43" y="1046"/>
                      </a:lnTo>
                      <a:lnTo>
                        <a:pt x="46" y="1040"/>
                      </a:lnTo>
                      <a:lnTo>
                        <a:pt x="46" y="1038"/>
                      </a:lnTo>
                      <a:lnTo>
                        <a:pt x="49" y="1038"/>
                      </a:lnTo>
                      <a:lnTo>
                        <a:pt x="49" y="1035"/>
                      </a:lnTo>
                      <a:lnTo>
                        <a:pt x="49" y="1032"/>
                      </a:lnTo>
                      <a:lnTo>
                        <a:pt x="46" y="1029"/>
                      </a:lnTo>
                      <a:lnTo>
                        <a:pt x="41" y="1029"/>
                      </a:lnTo>
                      <a:lnTo>
                        <a:pt x="43" y="1023"/>
                      </a:lnTo>
                      <a:lnTo>
                        <a:pt x="38" y="1020"/>
                      </a:lnTo>
                      <a:lnTo>
                        <a:pt x="35" y="1018"/>
                      </a:lnTo>
                      <a:lnTo>
                        <a:pt x="33" y="1015"/>
                      </a:lnTo>
                      <a:lnTo>
                        <a:pt x="30" y="1010"/>
                      </a:lnTo>
                      <a:lnTo>
                        <a:pt x="27" y="1004"/>
                      </a:lnTo>
                      <a:lnTo>
                        <a:pt x="27" y="999"/>
                      </a:lnTo>
                      <a:lnTo>
                        <a:pt x="24" y="995"/>
                      </a:lnTo>
                      <a:lnTo>
                        <a:pt x="24" y="990"/>
                      </a:lnTo>
                      <a:lnTo>
                        <a:pt x="27" y="990"/>
                      </a:lnTo>
                      <a:lnTo>
                        <a:pt x="24" y="979"/>
                      </a:lnTo>
                      <a:lnTo>
                        <a:pt x="30" y="977"/>
                      </a:lnTo>
                      <a:lnTo>
                        <a:pt x="27" y="971"/>
                      </a:lnTo>
                      <a:lnTo>
                        <a:pt x="30" y="966"/>
                      </a:lnTo>
                      <a:lnTo>
                        <a:pt x="27" y="963"/>
                      </a:lnTo>
                      <a:lnTo>
                        <a:pt x="30" y="963"/>
                      </a:lnTo>
                      <a:lnTo>
                        <a:pt x="30" y="957"/>
                      </a:lnTo>
                      <a:lnTo>
                        <a:pt x="35" y="954"/>
                      </a:lnTo>
                      <a:lnTo>
                        <a:pt x="38" y="952"/>
                      </a:lnTo>
                      <a:lnTo>
                        <a:pt x="38" y="949"/>
                      </a:lnTo>
                      <a:lnTo>
                        <a:pt x="43" y="946"/>
                      </a:lnTo>
                      <a:lnTo>
                        <a:pt x="43" y="943"/>
                      </a:lnTo>
                      <a:lnTo>
                        <a:pt x="46" y="941"/>
                      </a:lnTo>
                      <a:lnTo>
                        <a:pt x="46" y="935"/>
                      </a:lnTo>
                      <a:lnTo>
                        <a:pt x="43" y="935"/>
                      </a:lnTo>
                      <a:lnTo>
                        <a:pt x="41" y="930"/>
                      </a:lnTo>
                      <a:lnTo>
                        <a:pt x="38" y="927"/>
                      </a:lnTo>
                      <a:lnTo>
                        <a:pt x="30" y="918"/>
                      </a:lnTo>
                      <a:lnTo>
                        <a:pt x="27" y="910"/>
                      </a:lnTo>
                      <a:lnTo>
                        <a:pt x="27" y="902"/>
                      </a:lnTo>
                      <a:lnTo>
                        <a:pt x="30" y="900"/>
                      </a:lnTo>
                      <a:lnTo>
                        <a:pt x="27" y="897"/>
                      </a:lnTo>
                      <a:lnTo>
                        <a:pt x="30" y="890"/>
                      </a:lnTo>
                      <a:lnTo>
                        <a:pt x="33" y="890"/>
                      </a:lnTo>
                      <a:lnTo>
                        <a:pt x="30" y="882"/>
                      </a:lnTo>
                      <a:lnTo>
                        <a:pt x="27" y="877"/>
                      </a:lnTo>
                      <a:lnTo>
                        <a:pt x="5" y="852"/>
                      </a:lnTo>
                      <a:lnTo>
                        <a:pt x="2" y="849"/>
                      </a:lnTo>
                      <a:lnTo>
                        <a:pt x="0" y="847"/>
                      </a:lnTo>
                      <a:lnTo>
                        <a:pt x="0" y="841"/>
                      </a:lnTo>
                      <a:lnTo>
                        <a:pt x="2" y="839"/>
                      </a:lnTo>
                      <a:lnTo>
                        <a:pt x="2" y="839"/>
                      </a:lnTo>
                      <a:close/>
                    </a:path>
                  </a:pathLst>
                </a:custGeom>
                <a:grpFill/>
                <a:ln w="12700" cap="flat" cmpd="sng" algn="ctr">
                  <a:solidFill>
                    <a:schemeClr val="bg1">
                      <a:lumMod val="85000"/>
                    </a:schemeClr>
                  </a:solidFill>
                  <a:prstDash val="solid"/>
                  <a:round/>
                  <a:headEnd type="none" w="med" len="med"/>
                  <a:tailEnd type="none" w="med" len="med"/>
                </a:ln>
              </p:spPr>
            </p:sp>
            <p:sp>
              <p:nvSpPr>
                <p:cNvPr id="43" name="ee4p_BR_4"/>
                <p:cNvSpPr>
                  <a:spLocks/>
                </p:cNvSpPr>
                <p:nvPr>
                  <p:custDataLst>
                    <p:tags r:id="rId5"/>
                  </p:custDataLst>
                </p:nvPr>
              </p:nvSpPr>
              <p:spPr bwMode="auto">
                <a:xfrm>
                  <a:off x="2530019" y="1898971"/>
                  <a:ext cx="1865883" cy="1412525"/>
                </a:xfrm>
                <a:custGeom>
                  <a:avLst/>
                  <a:gdLst/>
                  <a:ahLst/>
                  <a:cxnLst>
                    <a:cxn ang="0">
                      <a:pos x="205" y="3703"/>
                    </a:cxn>
                    <a:cxn ang="0">
                      <a:pos x="238" y="3540"/>
                    </a:cxn>
                    <a:cxn ang="0">
                      <a:pos x="325" y="3333"/>
                    </a:cxn>
                    <a:cxn ang="0">
                      <a:pos x="381" y="3135"/>
                    </a:cxn>
                    <a:cxn ang="0">
                      <a:pos x="491" y="3032"/>
                    </a:cxn>
                    <a:cxn ang="0">
                      <a:pos x="621" y="2945"/>
                    </a:cxn>
                    <a:cxn ang="0">
                      <a:pos x="770" y="2842"/>
                    </a:cxn>
                    <a:cxn ang="0">
                      <a:pos x="920" y="2815"/>
                    </a:cxn>
                    <a:cxn ang="0">
                      <a:pos x="1051" y="2776"/>
                    </a:cxn>
                    <a:cxn ang="0">
                      <a:pos x="1176" y="2756"/>
                    </a:cxn>
                    <a:cxn ang="0">
                      <a:pos x="1322" y="2674"/>
                    </a:cxn>
                    <a:cxn ang="0">
                      <a:pos x="1463" y="2768"/>
                    </a:cxn>
                    <a:cxn ang="0">
                      <a:pos x="1778" y="1521"/>
                    </a:cxn>
                    <a:cxn ang="0">
                      <a:pos x="1700" y="1258"/>
                    </a:cxn>
                    <a:cxn ang="0">
                      <a:pos x="1574" y="1074"/>
                    </a:cxn>
                    <a:cxn ang="0">
                      <a:pos x="1662" y="670"/>
                    </a:cxn>
                    <a:cxn ang="0">
                      <a:pos x="1843" y="687"/>
                    </a:cxn>
                    <a:cxn ang="0">
                      <a:pos x="1871" y="522"/>
                    </a:cxn>
                    <a:cxn ang="0">
                      <a:pos x="1618" y="222"/>
                    </a:cxn>
                    <a:cxn ang="0">
                      <a:pos x="2269" y="199"/>
                    </a:cxn>
                    <a:cxn ang="0">
                      <a:pos x="2520" y="89"/>
                    </a:cxn>
                    <a:cxn ang="0">
                      <a:pos x="3110" y="629"/>
                    </a:cxn>
                    <a:cxn ang="0">
                      <a:pos x="3301" y="524"/>
                    </a:cxn>
                    <a:cxn ang="0">
                      <a:pos x="3356" y="665"/>
                    </a:cxn>
                    <a:cxn ang="0">
                      <a:pos x="3511" y="544"/>
                    </a:cxn>
                    <a:cxn ang="0">
                      <a:pos x="3636" y="409"/>
                    </a:cxn>
                    <a:cxn ang="0">
                      <a:pos x="3826" y="301"/>
                    </a:cxn>
                    <a:cxn ang="0">
                      <a:pos x="3930" y="279"/>
                    </a:cxn>
                    <a:cxn ang="0">
                      <a:pos x="4047" y="110"/>
                    </a:cxn>
                    <a:cxn ang="0">
                      <a:pos x="4221" y="48"/>
                    </a:cxn>
                    <a:cxn ang="0">
                      <a:pos x="4472" y="276"/>
                    </a:cxn>
                    <a:cxn ang="0">
                      <a:pos x="4585" y="713"/>
                    </a:cxn>
                    <a:cxn ang="0">
                      <a:pos x="4695" y="1041"/>
                    </a:cxn>
                    <a:cxn ang="0">
                      <a:pos x="4681" y="1212"/>
                    </a:cxn>
                    <a:cxn ang="0">
                      <a:pos x="4640" y="1289"/>
                    </a:cxn>
                    <a:cxn ang="0">
                      <a:pos x="4842" y="1526"/>
                    </a:cxn>
                    <a:cxn ang="0">
                      <a:pos x="4968" y="1429"/>
                    </a:cxn>
                    <a:cxn ang="0">
                      <a:pos x="5073" y="1192"/>
                    </a:cxn>
                    <a:cxn ang="0">
                      <a:pos x="5284" y="1231"/>
                    </a:cxn>
                    <a:cxn ang="0">
                      <a:pos x="5413" y="1275"/>
                    </a:cxn>
                    <a:cxn ang="0">
                      <a:pos x="5473" y="1109"/>
                    </a:cxn>
                    <a:cxn ang="0">
                      <a:pos x="5565" y="886"/>
                    </a:cxn>
                    <a:cxn ang="0">
                      <a:pos x="6128" y="1184"/>
                    </a:cxn>
                    <a:cxn ang="0">
                      <a:pos x="6258" y="1352"/>
                    </a:cxn>
                    <a:cxn ang="0">
                      <a:pos x="6437" y="1457"/>
                    </a:cxn>
                    <a:cxn ang="0">
                      <a:pos x="6567" y="1606"/>
                    </a:cxn>
                    <a:cxn ang="0">
                      <a:pos x="6733" y="1661"/>
                    </a:cxn>
                    <a:cxn ang="0">
                      <a:pos x="6945" y="1808"/>
                    </a:cxn>
                    <a:cxn ang="0">
                      <a:pos x="7155" y="1805"/>
                    </a:cxn>
                    <a:cxn ang="0">
                      <a:pos x="6319" y="3651"/>
                    </a:cxn>
                    <a:cxn ang="0">
                      <a:pos x="6340" y="4119"/>
                    </a:cxn>
                    <a:cxn ang="0">
                      <a:pos x="6258" y="4508"/>
                    </a:cxn>
                    <a:cxn ang="0">
                      <a:pos x="4911" y="4583"/>
                    </a:cxn>
                    <a:cxn ang="0">
                      <a:pos x="4728" y="4561"/>
                    </a:cxn>
                    <a:cxn ang="0">
                      <a:pos x="4579" y="4443"/>
                    </a:cxn>
                    <a:cxn ang="0">
                      <a:pos x="4137" y="4310"/>
                    </a:cxn>
                    <a:cxn ang="0">
                      <a:pos x="3997" y="4536"/>
                    </a:cxn>
                    <a:cxn ang="0">
                      <a:pos x="3767" y="4702"/>
                    </a:cxn>
                    <a:cxn ang="0">
                      <a:pos x="3594" y="4834"/>
                    </a:cxn>
                    <a:cxn ang="0">
                      <a:pos x="3401" y="4842"/>
                    </a:cxn>
                    <a:cxn ang="0">
                      <a:pos x="3238" y="4937"/>
                    </a:cxn>
                    <a:cxn ang="0">
                      <a:pos x="3011" y="4895"/>
                    </a:cxn>
                    <a:cxn ang="0">
                      <a:pos x="1314" y="4332"/>
                    </a:cxn>
                  </a:cxnLst>
                  <a:rect l="0" t="0" r="r" b="b"/>
                  <a:pathLst>
                    <a:path w="7198" h="5052">
                      <a:moveTo>
                        <a:pt x="0" y="3921"/>
                      </a:moveTo>
                      <a:lnTo>
                        <a:pt x="3" y="3919"/>
                      </a:lnTo>
                      <a:lnTo>
                        <a:pt x="11" y="3910"/>
                      </a:lnTo>
                      <a:lnTo>
                        <a:pt x="25" y="3894"/>
                      </a:lnTo>
                      <a:lnTo>
                        <a:pt x="31" y="3883"/>
                      </a:lnTo>
                      <a:lnTo>
                        <a:pt x="31" y="3876"/>
                      </a:lnTo>
                      <a:lnTo>
                        <a:pt x="25" y="3874"/>
                      </a:lnTo>
                      <a:lnTo>
                        <a:pt x="25" y="3866"/>
                      </a:lnTo>
                      <a:lnTo>
                        <a:pt x="25" y="3860"/>
                      </a:lnTo>
                      <a:lnTo>
                        <a:pt x="19" y="3850"/>
                      </a:lnTo>
                      <a:lnTo>
                        <a:pt x="19" y="3846"/>
                      </a:lnTo>
                      <a:lnTo>
                        <a:pt x="25" y="3835"/>
                      </a:lnTo>
                      <a:lnTo>
                        <a:pt x="33" y="3827"/>
                      </a:lnTo>
                      <a:lnTo>
                        <a:pt x="36" y="3819"/>
                      </a:lnTo>
                      <a:lnTo>
                        <a:pt x="36" y="3816"/>
                      </a:lnTo>
                      <a:lnTo>
                        <a:pt x="39" y="3807"/>
                      </a:lnTo>
                      <a:lnTo>
                        <a:pt x="41" y="3807"/>
                      </a:lnTo>
                      <a:lnTo>
                        <a:pt x="44" y="3805"/>
                      </a:lnTo>
                      <a:lnTo>
                        <a:pt x="49" y="3797"/>
                      </a:lnTo>
                      <a:lnTo>
                        <a:pt x="55" y="3794"/>
                      </a:lnTo>
                      <a:lnTo>
                        <a:pt x="64" y="3781"/>
                      </a:lnTo>
                      <a:lnTo>
                        <a:pt x="67" y="3774"/>
                      </a:lnTo>
                      <a:lnTo>
                        <a:pt x="77" y="3766"/>
                      </a:lnTo>
                      <a:lnTo>
                        <a:pt x="80" y="3764"/>
                      </a:lnTo>
                      <a:lnTo>
                        <a:pt x="88" y="3758"/>
                      </a:lnTo>
                      <a:lnTo>
                        <a:pt x="91" y="3758"/>
                      </a:lnTo>
                      <a:lnTo>
                        <a:pt x="100" y="3758"/>
                      </a:lnTo>
                      <a:lnTo>
                        <a:pt x="102" y="3750"/>
                      </a:lnTo>
                      <a:lnTo>
                        <a:pt x="116" y="3738"/>
                      </a:lnTo>
                      <a:lnTo>
                        <a:pt x="124" y="3736"/>
                      </a:lnTo>
                      <a:lnTo>
                        <a:pt x="130" y="3736"/>
                      </a:lnTo>
                      <a:lnTo>
                        <a:pt x="133" y="3733"/>
                      </a:lnTo>
                      <a:lnTo>
                        <a:pt x="141" y="3733"/>
                      </a:lnTo>
                      <a:lnTo>
                        <a:pt x="149" y="3728"/>
                      </a:lnTo>
                      <a:lnTo>
                        <a:pt x="152" y="3728"/>
                      </a:lnTo>
                      <a:lnTo>
                        <a:pt x="157" y="3725"/>
                      </a:lnTo>
                      <a:lnTo>
                        <a:pt x="163" y="3725"/>
                      </a:lnTo>
                      <a:lnTo>
                        <a:pt x="171" y="3722"/>
                      </a:lnTo>
                      <a:lnTo>
                        <a:pt x="171" y="3714"/>
                      </a:lnTo>
                      <a:lnTo>
                        <a:pt x="174" y="3712"/>
                      </a:lnTo>
                      <a:lnTo>
                        <a:pt x="179" y="3709"/>
                      </a:lnTo>
                      <a:lnTo>
                        <a:pt x="182" y="3703"/>
                      </a:lnTo>
                      <a:lnTo>
                        <a:pt x="188" y="3703"/>
                      </a:lnTo>
                      <a:lnTo>
                        <a:pt x="190" y="3705"/>
                      </a:lnTo>
                      <a:lnTo>
                        <a:pt x="193" y="3703"/>
                      </a:lnTo>
                      <a:lnTo>
                        <a:pt x="199" y="3703"/>
                      </a:lnTo>
                      <a:lnTo>
                        <a:pt x="205" y="3703"/>
                      </a:lnTo>
                      <a:lnTo>
                        <a:pt x="213" y="3700"/>
                      </a:lnTo>
                      <a:lnTo>
                        <a:pt x="226" y="3700"/>
                      </a:lnTo>
                      <a:lnTo>
                        <a:pt x="232" y="3697"/>
                      </a:lnTo>
                      <a:lnTo>
                        <a:pt x="232" y="3695"/>
                      </a:lnTo>
                      <a:lnTo>
                        <a:pt x="238" y="3692"/>
                      </a:lnTo>
                      <a:lnTo>
                        <a:pt x="238" y="3695"/>
                      </a:lnTo>
                      <a:lnTo>
                        <a:pt x="240" y="3697"/>
                      </a:lnTo>
                      <a:lnTo>
                        <a:pt x="246" y="3692"/>
                      </a:lnTo>
                      <a:lnTo>
                        <a:pt x="243" y="3689"/>
                      </a:lnTo>
                      <a:lnTo>
                        <a:pt x="246" y="3687"/>
                      </a:lnTo>
                      <a:lnTo>
                        <a:pt x="246" y="3684"/>
                      </a:lnTo>
                      <a:lnTo>
                        <a:pt x="248" y="3684"/>
                      </a:lnTo>
                      <a:lnTo>
                        <a:pt x="251" y="3681"/>
                      </a:lnTo>
                      <a:lnTo>
                        <a:pt x="251" y="3676"/>
                      </a:lnTo>
                      <a:lnTo>
                        <a:pt x="256" y="3672"/>
                      </a:lnTo>
                      <a:lnTo>
                        <a:pt x="259" y="3676"/>
                      </a:lnTo>
                      <a:lnTo>
                        <a:pt x="262" y="3676"/>
                      </a:lnTo>
                      <a:lnTo>
                        <a:pt x="268" y="3667"/>
                      </a:lnTo>
                      <a:lnTo>
                        <a:pt x="271" y="3664"/>
                      </a:lnTo>
                      <a:lnTo>
                        <a:pt x="268" y="3661"/>
                      </a:lnTo>
                      <a:lnTo>
                        <a:pt x="271" y="3659"/>
                      </a:lnTo>
                      <a:lnTo>
                        <a:pt x="274" y="3651"/>
                      </a:lnTo>
                      <a:lnTo>
                        <a:pt x="276" y="3648"/>
                      </a:lnTo>
                      <a:lnTo>
                        <a:pt x="276" y="3645"/>
                      </a:lnTo>
                      <a:lnTo>
                        <a:pt x="279" y="3643"/>
                      </a:lnTo>
                      <a:lnTo>
                        <a:pt x="276" y="3634"/>
                      </a:lnTo>
                      <a:lnTo>
                        <a:pt x="279" y="3631"/>
                      </a:lnTo>
                      <a:lnTo>
                        <a:pt x="282" y="3631"/>
                      </a:lnTo>
                      <a:lnTo>
                        <a:pt x="282" y="3626"/>
                      </a:lnTo>
                      <a:lnTo>
                        <a:pt x="279" y="3620"/>
                      </a:lnTo>
                      <a:lnTo>
                        <a:pt x="274" y="3618"/>
                      </a:lnTo>
                      <a:lnTo>
                        <a:pt x="271" y="3607"/>
                      </a:lnTo>
                      <a:lnTo>
                        <a:pt x="268" y="3604"/>
                      </a:lnTo>
                      <a:lnTo>
                        <a:pt x="266" y="3590"/>
                      </a:lnTo>
                      <a:lnTo>
                        <a:pt x="262" y="3592"/>
                      </a:lnTo>
                      <a:lnTo>
                        <a:pt x="262" y="3587"/>
                      </a:lnTo>
                      <a:lnTo>
                        <a:pt x="259" y="3582"/>
                      </a:lnTo>
                      <a:lnTo>
                        <a:pt x="259" y="3576"/>
                      </a:lnTo>
                      <a:lnTo>
                        <a:pt x="259" y="3574"/>
                      </a:lnTo>
                      <a:lnTo>
                        <a:pt x="259" y="3571"/>
                      </a:lnTo>
                      <a:lnTo>
                        <a:pt x="251" y="3562"/>
                      </a:lnTo>
                      <a:lnTo>
                        <a:pt x="248" y="3562"/>
                      </a:lnTo>
                      <a:lnTo>
                        <a:pt x="246" y="3554"/>
                      </a:lnTo>
                      <a:lnTo>
                        <a:pt x="240" y="3551"/>
                      </a:lnTo>
                      <a:lnTo>
                        <a:pt x="238" y="3549"/>
                      </a:lnTo>
                      <a:lnTo>
                        <a:pt x="238" y="3543"/>
                      </a:lnTo>
                      <a:lnTo>
                        <a:pt x="238" y="3540"/>
                      </a:lnTo>
                      <a:lnTo>
                        <a:pt x="238" y="3529"/>
                      </a:lnTo>
                      <a:lnTo>
                        <a:pt x="223" y="3515"/>
                      </a:lnTo>
                      <a:lnTo>
                        <a:pt x="223" y="3510"/>
                      </a:lnTo>
                      <a:lnTo>
                        <a:pt x="223" y="3499"/>
                      </a:lnTo>
                      <a:lnTo>
                        <a:pt x="232" y="3490"/>
                      </a:lnTo>
                      <a:lnTo>
                        <a:pt x="229" y="3488"/>
                      </a:lnTo>
                      <a:lnTo>
                        <a:pt x="232" y="3485"/>
                      </a:lnTo>
                      <a:lnTo>
                        <a:pt x="229" y="3469"/>
                      </a:lnTo>
                      <a:lnTo>
                        <a:pt x="232" y="3469"/>
                      </a:lnTo>
                      <a:lnTo>
                        <a:pt x="238" y="3462"/>
                      </a:lnTo>
                      <a:lnTo>
                        <a:pt x="238" y="3460"/>
                      </a:lnTo>
                      <a:lnTo>
                        <a:pt x="240" y="3457"/>
                      </a:lnTo>
                      <a:lnTo>
                        <a:pt x="243" y="3457"/>
                      </a:lnTo>
                      <a:lnTo>
                        <a:pt x="248" y="3454"/>
                      </a:lnTo>
                      <a:lnTo>
                        <a:pt x="248" y="3449"/>
                      </a:lnTo>
                      <a:lnTo>
                        <a:pt x="251" y="3438"/>
                      </a:lnTo>
                      <a:lnTo>
                        <a:pt x="251" y="3436"/>
                      </a:lnTo>
                      <a:lnTo>
                        <a:pt x="251" y="3430"/>
                      </a:lnTo>
                      <a:lnTo>
                        <a:pt x="251" y="3427"/>
                      </a:lnTo>
                      <a:lnTo>
                        <a:pt x="254" y="3421"/>
                      </a:lnTo>
                      <a:lnTo>
                        <a:pt x="256" y="3424"/>
                      </a:lnTo>
                      <a:lnTo>
                        <a:pt x="256" y="3419"/>
                      </a:lnTo>
                      <a:lnTo>
                        <a:pt x="256" y="3416"/>
                      </a:lnTo>
                      <a:lnTo>
                        <a:pt x="256" y="3411"/>
                      </a:lnTo>
                      <a:lnTo>
                        <a:pt x="262" y="3405"/>
                      </a:lnTo>
                      <a:lnTo>
                        <a:pt x="262" y="3403"/>
                      </a:lnTo>
                      <a:lnTo>
                        <a:pt x="262" y="3400"/>
                      </a:lnTo>
                      <a:lnTo>
                        <a:pt x="266" y="3397"/>
                      </a:lnTo>
                      <a:lnTo>
                        <a:pt x="268" y="3397"/>
                      </a:lnTo>
                      <a:lnTo>
                        <a:pt x="271" y="3397"/>
                      </a:lnTo>
                      <a:lnTo>
                        <a:pt x="279" y="3393"/>
                      </a:lnTo>
                      <a:lnTo>
                        <a:pt x="279" y="3383"/>
                      </a:lnTo>
                      <a:lnTo>
                        <a:pt x="282" y="3380"/>
                      </a:lnTo>
                      <a:lnTo>
                        <a:pt x="287" y="3380"/>
                      </a:lnTo>
                      <a:lnTo>
                        <a:pt x="287" y="3377"/>
                      </a:lnTo>
                      <a:lnTo>
                        <a:pt x="295" y="3375"/>
                      </a:lnTo>
                      <a:lnTo>
                        <a:pt x="301" y="3367"/>
                      </a:lnTo>
                      <a:lnTo>
                        <a:pt x="304" y="3367"/>
                      </a:lnTo>
                      <a:lnTo>
                        <a:pt x="304" y="3358"/>
                      </a:lnTo>
                      <a:lnTo>
                        <a:pt x="307" y="3358"/>
                      </a:lnTo>
                      <a:lnTo>
                        <a:pt x="309" y="3350"/>
                      </a:lnTo>
                      <a:lnTo>
                        <a:pt x="312" y="3350"/>
                      </a:lnTo>
                      <a:lnTo>
                        <a:pt x="317" y="3347"/>
                      </a:lnTo>
                      <a:lnTo>
                        <a:pt x="317" y="3341"/>
                      </a:lnTo>
                      <a:lnTo>
                        <a:pt x="325" y="3339"/>
                      </a:lnTo>
                      <a:lnTo>
                        <a:pt x="325" y="3336"/>
                      </a:lnTo>
                      <a:lnTo>
                        <a:pt x="325" y="3333"/>
                      </a:lnTo>
                      <a:lnTo>
                        <a:pt x="328" y="3331"/>
                      </a:lnTo>
                      <a:lnTo>
                        <a:pt x="328" y="3328"/>
                      </a:lnTo>
                      <a:lnTo>
                        <a:pt x="331" y="3328"/>
                      </a:lnTo>
                      <a:lnTo>
                        <a:pt x="331" y="3322"/>
                      </a:lnTo>
                      <a:lnTo>
                        <a:pt x="331" y="3319"/>
                      </a:lnTo>
                      <a:lnTo>
                        <a:pt x="331" y="3316"/>
                      </a:lnTo>
                      <a:lnTo>
                        <a:pt x="331" y="3314"/>
                      </a:lnTo>
                      <a:lnTo>
                        <a:pt x="337" y="3311"/>
                      </a:lnTo>
                      <a:lnTo>
                        <a:pt x="340" y="3314"/>
                      </a:lnTo>
                      <a:lnTo>
                        <a:pt x="343" y="3311"/>
                      </a:lnTo>
                      <a:lnTo>
                        <a:pt x="340" y="3306"/>
                      </a:lnTo>
                      <a:lnTo>
                        <a:pt x="340" y="3300"/>
                      </a:lnTo>
                      <a:lnTo>
                        <a:pt x="337" y="3298"/>
                      </a:lnTo>
                      <a:lnTo>
                        <a:pt x="337" y="3292"/>
                      </a:lnTo>
                      <a:lnTo>
                        <a:pt x="340" y="3283"/>
                      </a:lnTo>
                      <a:lnTo>
                        <a:pt x="345" y="3281"/>
                      </a:lnTo>
                      <a:lnTo>
                        <a:pt x="343" y="3275"/>
                      </a:lnTo>
                      <a:lnTo>
                        <a:pt x="345" y="3273"/>
                      </a:lnTo>
                      <a:lnTo>
                        <a:pt x="345" y="3270"/>
                      </a:lnTo>
                      <a:lnTo>
                        <a:pt x="345" y="3262"/>
                      </a:lnTo>
                      <a:lnTo>
                        <a:pt x="343" y="3256"/>
                      </a:lnTo>
                      <a:lnTo>
                        <a:pt x="343" y="3245"/>
                      </a:lnTo>
                      <a:lnTo>
                        <a:pt x="343" y="3242"/>
                      </a:lnTo>
                      <a:lnTo>
                        <a:pt x="345" y="3231"/>
                      </a:lnTo>
                      <a:lnTo>
                        <a:pt x="348" y="3226"/>
                      </a:lnTo>
                      <a:lnTo>
                        <a:pt x="345" y="3223"/>
                      </a:lnTo>
                      <a:lnTo>
                        <a:pt x="351" y="3221"/>
                      </a:lnTo>
                      <a:lnTo>
                        <a:pt x="353" y="3212"/>
                      </a:lnTo>
                      <a:lnTo>
                        <a:pt x="356" y="3209"/>
                      </a:lnTo>
                      <a:lnTo>
                        <a:pt x="356" y="3206"/>
                      </a:lnTo>
                      <a:lnTo>
                        <a:pt x="359" y="3201"/>
                      </a:lnTo>
                      <a:lnTo>
                        <a:pt x="359" y="3195"/>
                      </a:lnTo>
                      <a:lnTo>
                        <a:pt x="364" y="3193"/>
                      </a:lnTo>
                      <a:lnTo>
                        <a:pt x="364" y="3190"/>
                      </a:lnTo>
                      <a:lnTo>
                        <a:pt x="367" y="3181"/>
                      </a:lnTo>
                      <a:lnTo>
                        <a:pt x="367" y="3176"/>
                      </a:lnTo>
                      <a:lnTo>
                        <a:pt x="373" y="3170"/>
                      </a:lnTo>
                      <a:lnTo>
                        <a:pt x="373" y="3168"/>
                      </a:lnTo>
                      <a:lnTo>
                        <a:pt x="376" y="3165"/>
                      </a:lnTo>
                      <a:lnTo>
                        <a:pt x="378" y="3162"/>
                      </a:lnTo>
                      <a:lnTo>
                        <a:pt x="378" y="3160"/>
                      </a:lnTo>
                      <a:lnTo>
                        <a:pt x="381" y="3157"/>
                      </a:lnTo>
                      <a:lnTo>
                        <a:pt x="381" y="3152"/>
                      </a:lnTo>
                      <a:lnTo>
                        <a:pt x="381" y="3148"/>
                      </a:lnTo>
                      <a:lnTo>
                        <a:pt x="378" y="3143"/>
                      </a:lnTo>
                      <a:lnTo>
                        <a:pt x="381" y="3137"/>
                      </a:lnTo>
                      <a:lnTo>
                        <a:pt x="381" y="3135"/>
                      </a:lnTo>
                      <a:lnTo>
                        <a:pt x="381" y="3126"/>
                      </a:lnTo>
                      <a:lnTo>
                        <a:pt x="381" y="3124"/>
                      </a:lnTo>
                      <a:lnTo>
                        <a:pt x="378" y="3124"/>
                      </a:lnTo>
                      <a:lnTo>
                        <a:pt x="381" y="3121"/>
                      </a:lnTo>
                      <a:lnTo>
                        <a:pt x="376" y="3112"/>
                      </a:lnTo>
                      <a:lnTo>
                        <a:pt x="376" y="3109"/>
                      </a:lnTo>
                      <a:lnTo>
                        <a:pt x="373" y="3109"/>
                      </a:lnTo>
                      <a:lnTo>
                        <a:pt x="373" y="3107"/>
                      </a:lnTo>
                      <a:lnTo>
                        <a:pt x="376" y="3104"/>
                      </a:lnTo>
                      <a:lnTo>
                        <a:pt x="378" y="3101"/>
                      </a:lnTo>
                      <a:lnTo>
                        <a:pt x="381" y="3101"/>
                      </a:lnTo>
                      <a:lnTo>
                        <a:pt x="384" y="3096"/>
                      </a:lnTo>
                      <a:lnTo>
                        <a:pt x="389" y="3096"/>
                      </a:lnTo>
                      <a:lnTo>
                        <a:pt x="389" y="3099"/>
                      </a:lnTo>
                      <a:lnTo>
                        <a:pt x="397" y="3096"/>
                      </a:lnTo>
                      <a:lnTo>
                        <a:pt x="400" y="3093"/>
                      </a:lnTo>
                      <a:lnTo>
                        <a:pt x="404" y="3083"/>
                      </a:lnTo>
                      <a:lnTo>
                        <a:pt x="409" y="3085"/>
                      </a:lnTo>
                      <a:lnTo>
                        <a:pt x="414" y="3083"/>
                      </a:lnTo>
                      <a:lnTo>
                        <a:pt x="417" y="3079"/>
                      </a:lnTo>
                      <a:lnTo>
                        <a:pt x="420" y="3076"/>
                      </a:lnTo>
                      <a:lnTo>
                        <a:pt x="422" y="3079"/>
                      </a:lnTo>
                      <a:lnTo>
                        <a:pt x="425" y="3076"/>
                      </a:lnTo>
                      <a:lnTo>
                        <a:pt x="428" y="3071"/>
                      </a:lnTo>
                      <a:lnTo>
                        <a:pt x="433" y="3074"/>
                      </a:lnTo>
                      <a:lnTo>
                        <a:pt x="433" y="3071"/>
                      </a:lnTo>
                      <a:lnTo>
                        <a:pt x="436" y="3068"/>
                      </a:lnTo>
                      <a:lnTo>
                        <a:pt x="433" y="3066"/>
                      </a:lnTo>
                      <a:lnTo>
                        <a:pt x="433" y="3063"/>
                      </a:lnTo>
                      <a:lnTo>
                        <a:pt x="439" y="3063"/>
                      </a:lnTo>
                      <a:lnTo>
                        <a:pt x="439" y="3060"/>
                      </a:lnTo>
                      <a:lnTo>
                        <a:pt x="445" y="3060"/>
                      </a:lnTo>
                      <a:lnTo>
                        <a:pt x="445" y="3058"/>
                      </a:lnTo>
                      <a:lnTo>
                        <a:pt x="453" y="3063"/>
                      </a:lnTo>
                      <a:lnTo>
                        <a:pt x="458" y="3060"/>
                      </a:lnTo>
                      <a:lnTo>
                        <a:pt x="461" y="3060"/>
                      </a:lnTo>
                      <a:lnTo>
                        <a:pt x="466" y="3063"/>
                      </a:lnTo>
                      <a:lnTo>
                        <a:pt x="469" y="3058"/>
                      </a:lnTo>
                      <a:lnTo>
                        <a:pt x="472" y="3058"/>
                      </a:lnTo>
                      <a:lnTo>
                        <a:pt x="472" y="3060"/>
                      </a:lnTo>
                      <a:lnTo>
                        <a:pt x="478" y="3058"/>
                      </a:lnTo>
                      <a:lnTo>
                        <a:pt x="486" y="3052"/>
                      </a:lnTo>
                      <a:lnTo>
                        <a:pt x="486" y="3043"/>
                      </a:lnTo>
                      <a:lnTo>
                        <a:pt x="489" y="3040"/>
                      </a:lnTo>
                      <a:lnTo>
                        <a:pt x="489" y="3038"/>
                      </a:lnTo>
                      <a:lnTo>
                        <a:pt x="486" y="3035"/>
                      </a:lnTo>
                      <a:lnTo>
                        <a:pt x="491" y="3032"/>
                      </a:lnTo>
                      <a:lnTo>
                        <a:pt x="494" y="3030"/>
                      </a:lnTo>
                      <a:lnTo>
                        <a:pt x="499" y="3030"/>
                      </a:lnTo>
                      <a:lnTo>
                        <a:pt x="502" y="3027"/>
                      </a:lnTo>
                      <a:lnTo>
                        <a:pt x="511" y="3019"/>
                      </a:lnTo>
                      <a:lnTo>
                        <a:pt x="514" y="3019"/>
                      </a:lnTo>
                      <a:lnTo>
                        <a:pt x="519" y="3019"/>
                      </a:lnTo>
                      <a:lnTo>
                        <a:pt x="522" y="3011"/>
                      </a:lnTo>
                      <a:lnTo>
                        <a:pt x="527" y="3011"/>
                      </a:lnTo>
                      <a:lnTo>
                        <a:pt x="527" y="3016"/>
                      </a:lnTo>
                      <a:lnTo>
                        <a:pt x="530" y="3016"/>
                      </a:lnTo>
                      <a:lnTo>
                        <a:pt x="532" y="3011"/>
                      </a:lnTo>
                      <a:lnTo>
                        <a:pt x="535" y="3014"/>
                      </a:lnTo>
                      <a:lnTo>
                        <a:pt x="535" y="3016"/>
                      </a:lnTo>
                      <a:lnTo>
                        <a:pt x="538" y="3016"/>
                      </a:lnTo>
                      <a:lnTo>
                        <a:pt x="538" y="3014"/>
                      </a:lnTo>
                      <a:lnTo>
                        <a:pt x="538" y="3007"/>
                      </a:lnTo>
                      <a:lnTo>
                        <a:pt x="547" y="3005"/>
                      </a:lnTo>
                      <a:lnTo>
                        <a:pt x="547" y="2999"/>
                      </a:lnTo>
                      <a:lnTo>
                        <a:pt x="544" y="2997"/>
                      </a:lnTo>
                      <a:lnTo>
                        <a:pt x="544" y="2994"/>
                      </a:lnTo>
                      <a:lnTo>
                        <a:pt x="550" y="2991"/>
                      </a:lnTo>
                      <a:lnTo>
                        <a:pt x="550" y="2997"/>
                      </a:lnTo>
                      <a:lnTo>
                        <a:pt x="552" y="2994"/>
                      </a:lnTo>
                      <a:lnTo>
                        <a:pt x="555" y="2999"/>
                      </a:lnTo>
                      <a:lnTo>
                        <a:pt x="558" y="2999"/>
                      </a:lnTo>
                      <a:lnTo>
                        <a:pt x="558" y="2994"/>
                      </a:lnTo>
                      <a:lnTo>
                        <a:pt x="563" y="2994"/>
                      </a:lnTo>
                      <a:lnTo>
                        <a:pt x="563" y="2989"/>
                      </a:lnTo>
                      <a:lnTo>
                        <a:pt x="560" y="2986"/>
                      </a:lnTo>
                      <a:lnTo>
                        <a:pt x="563" y="2986"/>
                      </a:lnTo>
                      <a:lnTo>
                        <a:pt x="566" y="2989"/>
                      </a:lnTo>
                      <a:lnTo>
                        <a:pt x="571" y="2983"/>
                      </a:lnTo>
                      <a:lnTo>
                        <a:pt x="577" y="2983"/>
                      </a:lnTo>
                      <a:lnTo>
                        <a:pt x="577" y="2974"/>
                      </a:lnTo>
                      <a:lnTo>
                        <a:pt x="577" y="2971"/>
                      </a:lnTo>
                      <a:lnTo>
                        <a:pt x="577" y="2966"/>
                      </a:lnTo>
                      <a:lnTo>
                        <a:pt x="580" y="2963"/>
                      </a:lnTo>
                      <a:lnTo>
                        <a:pt x="583" y="2955"/>
                      </a:lnTo>
                      <a:lnTo>
                        <a:pt x="591" y="2955"/>
                      </a:lnTo>
                      <a:lnTo>
                        <a:pt x="596" y="2950"/>
                      </a:lnTo>
                      <a:lnTo>
                        <a:pt x="601" y="2950"/>
                      </a:lnTo>
                      <a:lnTo>
                        <a:pt x="601" y="2947"/>
                      </a:lnTo>
                      <a:lnTo>
                        <a:pt x="599" y="2945"/>
                      </a:lnTo>
                      <a:lnTo>
                        <a:pt x="601" y="2945"/>
                      </a:lnTo>
                      <a:lnTo>
                        <a:pt x="607" y="2945"/>
                      </a:lnTo>
                      <a:lnTo>
                        <a:pt x="610" y="2942"/>
                      </a:lnTo>
                      <a:lnTo>
                        <a:pt x="621" y="2945"/>
                      </a:lnTo>
                      <a:lnTo>
                        <a:pt x="619" y="2947"/>
                      </a:lnTo>
                      <a:lnTo>
                        <a:pt x="619" y="2953"/>
                      </a:lnTo>
                      <a:lnTo>
                        <a:pt x="624" y="2950"/>
                      </a:lnTo>
                      <a:lnTo>
                        <a:pt x="629" y="2938"/>
                      </a:lnTo>
                      <a:lnTo>
                        <a:pt x="632" y="2945"/>
                      </a:lnTo>
                      <a:lnTo>
                        <a:pt x="637" y="2942"/>
                      </a:lnTo>
                      <a:lnTo>
                        <a:pt x="646" y="2938"/>
                      </a:lnTo>
                      <a:lnTo>
                        <a:pt x="646" y="2933"/>
                      </a:lnTo>
                      <a:lnTo>
                        <a:pt x="649" y="2930"/>
                      </a:lnTo>
                      <a:lnTo>
                        <a:pt x="654" y="2936"/>
                      </a:lnTo>
                      <a:lnTo>
                        <a:pt x="657" y="2933"/>
                      </a:lnTo>
                      <a:lnTo>
                        <a:pt x="654" y="2930"/>
                      </a:lnTo>
                      <a:lnTo>
                        <a:pt x="665" y="2925"/>
                      </a:lnTo>
                      <a:lnTo>
                        <a:pt x="668" y="2925"/>
                      </a:lnTo>
                      <a:lnTo>
                        <a:pt x="668" y="2922"/>
                      </a:lnTo>
                      <a:lnTo>
                        <a:pt x="673" y="2919"/>
                      </a:lnTo>
                      <a:lnTo>
                        <a:pt x="676" y="2917"/>
                      </a:lnTo>
                      <a:lnTo>
                        <a:pt x="682" y="2919"/>
                      </a:lnTo>
                      <a:lnTo>
                        <a:pt x="693" y="2911"/>
                      </a:lnTo>
                      <a:lnTo>
                        <a:pt x="696" y="2906"/>
                      </a:lnTo>
                      <a:lnTo>
                        <a:pt x="701" y="2902"/>
                      </a:lnTo>
                      <a:lnTo>
                        <a:pt x="698" y="2900"/>
                      </a:lnTo>
                      <a:lnTo>
                        <a:pt x="706" y="2892"/>
                      </a:lnTo>
                      <a:lnTo>
                        <a:pt x="715" y="2889"/>
                      </a:lnTo>
                      <a:lnTo>
                        <a:pt x="718" y="2884"/>
                      </a:lnTo>
                      <a:lnTo>
                        <a:pt x="718" y="2878"/>
                      </a:lnTo>
                      <a:lnTo>
                        <a:pt x="726" y="2881"/>
                      </a:lnTo>
                      <a:lnTo>
                        <a:pt x="729" y="2884"/>
                      </a:lnTo>
                      <a:lnTo>
                        <a:pt x="731" y="2886"/>
                      </a:lnTo>
                      <a:lnTo>
                        <a:pt x="731" y="2881"/>
                      </a:lnTo>
                      <a:lnTo>
                        <a:pt x="731" y="2878"/>
                      </a:lnTo>
                      <a:lnTo>
                        <a:pt x="739" y="2878"/>
                      </a:lnTo>
                      <a:lnTo>
                        <a:pt x="742" y="2873"/>
                      </a:lnTo>
                      <a:lnTo>
                        <a:pt x="745" y="2869"/>
                      </a:lnTo>
                      <a:lnTo>
                        <a:pt x="749" y="2873"/>
                      </a:lnTo>
                      <a:lnTo>
                        <a:pt x="757" y="2869"/>
                      </a:lnTo>
                      <a:lnTo>
                        <a:pt x="754" y="2867"/>
                      </a:lnTo>
                      <a:lnTo>
                        <a:pt x="757" y="2864"/>
                      </a:lnTo>
                      <a:lnTo>
                        <a:pt x="754" y="2861"/>
                      </a:lnTo>
                      <a:lnTo>
                        <a:pt x="757" y="2859"/>
                      </a:lnTo>
                      <a:lnTo>
                        <a:pt x="759" y="2859"/>
                      </a:lnTo>
                      <a:lnTo>
                        <a:pt x="762" y="2856"/>
                      </a:lnTo>
                      <a:lnTo>
                        <a:pt x="762" y="2853"/>
                      </a:lnTo>
                      <a:lnTo>
                        <a:pt x="765" y="2853"/>
                      </a:lnTo>
                      <a:lnTo>
                        <a:pt x="765" y="2850"/>
                      </a:lnTo>
                      <a:lnTo>
                        <a:pt x="762" y="2845"/>
                      </a:lnTo>
                      <a:lnTo>
                        <a:pt x="770" y="2842"/>
                      </a:lnTo>
                      <a:lnTo>
                        <a:pt x="770" y="2848"/>
                      </a:lnTo>
                      <a:lnTo>
                        <a:pt x="773" y="2845"/>
                      </a:lnTo>
                      <a:lnTo>
                        <a:pt x="773" y="2840"/>
                      </a:lnTo>
                      <a:lnTo>
                        <a:pt x="775" y="2842"/>
                      </a:lnTo>
                      <a:lnTo>
                        <a:pt x="778" y="2840"/>
                      </a:lnTo>
                      <a:lnTo>
                        <a:pt x="778" y="2837"/>
                      </a:lnTo>
                      <a:lnTo>
                        <a:pt x="782" y="2833"/>
                      </a:lnTo>
                      <a:lnTo>
                        <a:pt x="787" y="2837"/>
                      </a:lnTo>
                      <a:lnTo>
                        <a:pt x="792" y="2831"/>
                      </a:lnTo>
                      <a:lnTo>
                        <a:pt x="798" y="2828"/>
                      </a:lnTo>
                      <a:lnTo>
                        <a:pt x="808" y="2825"/>
                      </a:lnTo>
                      <a:lnTo>
                        <a:pt x="814" y="2823"/>
                      </a:lnTo>
                      <a:lnTo>
                        <a:pt x="820" y="2823"/>
                      </a:lnTo>
                      <a:lnTo>
                        <a:pt x="823" y="2820"/>
                      </a:lnTo>
                      <a:lnTo>
                        <a:pt x="826" y="2825"/>
                      </a:lnTo>
                      <a:lnTo>
                        <a:pt x="826" y="2828"/>
                      </a:lnTo>
                      <a:lnTo>
                        <a:pt x="831" y="2828"/>
                      </a:lnTo>
                      <a:lnTo>
                        <a:pt x="834" y="2825"/>
                      </a:lnTo>
                      <a:lnTo>
                        <a:pt x="834" y="2820"/>
                      </a:lnTo>
                      <a:lnTo>
                        <a:pt x="834" y="2817"/>
                      </a:lnTo>
                      <a:lnTo>
                        <a:pt x="836" y="2815"/>
                      </a:lnTo>
                      <a:lnTo>
                        <a:pt x="839" y="2820"/>
                      </a:lnTo>
                      <a:lnTo>
                        <a:pt x="839" y="2825"/>
                      </a:lnTo>
                      <a:lnTo>
                        <a:pt x="844" y="2825"/>
                      </a:lnTo>
                      <a:lnTo>
                        <a:pt x="851" y="2831"/>
                      </a:lnTo>
                      <a:lnTo>
                        <a:pt x="853" y="2831"/>
                      </a:lnTo>
                      <a:lnTo>
                        <a:pt x="859" y="2828"/>
                      </a:lnTo>
                      <a:lnTo>
                        <a:pt x="867" y="2831"/>
                      </a:lnTo>
                      <a:lnTo>
                        <a:pt x="872" y="2825"/>
                      </a:lnTo>
                      <a:lnTo>
                        <a:pt x="875" y="2831"/>
                      </a:lnTo>
                      <a:lnTo>
                        <a:pt x="886" y="2823"/>
                      </a:lnTo>
                      <a:lnTo>
                        <a:pt x="884" y="2820"/>
                      </a:lnTo>
                      <a:lnTo>
                        <a:pt x="886" y="2817"/>
                      </a:lnTo>
                      <a:lnTo>
                        <a:pt x="889" y="2815"/>
                      </a:lnTo>
                      <a:lnTo>
                        <a:pt x="889" y="2817"/>
                      </a:lnTo>
                      <a:lnTo>
                        <a:pt x="889" y="2820"/>
                      </a:lnTo>
                      <a:lnTo>
                        <a:pt x="886" y="2828"/>
                      </a:lnTo>
                      <a:lnTo>
                        <a:pt x="880" y="2831"/>
                      </a:lnTo>
                      <a:lnTo>
                        <a:pt x="880" y="2833"/>
                      </a:lnTo>
                      <a:lnTo>
                        <a:pt x="886" y="2837"/>
                      </a:lnTo>
                      <a:lnTo>
                        <a:pt x="889" y="2840"/>
                      </a:lnTo>
                      <a:lnTo>
                        <a:pt x="895" y="2840"/>
                      </a:lnTo>
                      <a:lnTo>
                        <a:pt x="903" y="2833"/>
                      </a:lnTo>
                      <a:lnTo>
                        <a:pt x="908" y="2828"/>
                      </a:lnTo>
                      <a:lnTo>
                        <a:pt x="913" y="2817"/>
                      </a:lnTo>
                      <a:lnTo>
                        <a:pt x="920" y="2820"/>
                      </a:lnTo>
                      <a:lnTo>
                        <a:pt x="920" y="2815"/>
                      </a:lnTo>
                      <a:lnTo>
                        <a:pt x="922" y="2812"/>
                      </a:lnTo>
                      <a:lnTo>
                        <a:pt x="928" y="2815"/>
                      </a:lnTo>
                      <a:lnTo>
                        <a:pt x="936" y="2820"/>
                      </a:lnTo>
                      <a:lnTo>
                        <a:pt x="938" y="2820"/>
                      </a:lnTo>
                      <a:lnTo>
                        <a:pt x="938" y="2817"/>
                      </a:lnTo>
                      <a:lnTo>
                        <a:pt x="933" y="2812"/>
                      </a:lnTo>
                      <a:lnTo>
                        <a:pt x="933" y="2804"/>
                      </a:lnTo>
                      <a:lnTo>
                        <a:pt x="938" y="2807"/>
                      </a:lnTo>
                      <a:lnTo>
                        <a:pt x="941" y="2809"/>
                      </a:lnTo>
                      <a:lnTo>
                        <a:pt x="944" y="2807"/>
                      </a:lnTo>
                      <a:lnTo>
                        <a:pt x="944" y="2804"/>
                      </a:lnTo>
                      <a:lnTo>
                        <a:pt x="946" y="2801"/>
                      </a:lnTo>
                      <a:lnTo>
                        <a:pt x="953" y="2801"/>
                      </a:lnTo>
                      <a:lnTo>
                        <a:pt x="958" y="2807"/>
                      </a:lnTo>
                      <a:lnTo>
                        <a:pt x="961" y="2807"/>
                      </a:lnTo>
                      <a:lnTo>
                        <a:pt x="964" y="2809"/>
                      </a:lnTo>
                      <a:lnTo>
                        <a:pt x="964" y="2812"/>
                      </a:lnTo>
                      <a:lnTo>
                        <a:pt x="969" y="2812"/>
                      </a:lnTo>
                      <a:lnTo>
                        <a:pt x="977" y="2801"/>
                      </a:lnTo>
                      <a:lnTo>
                        <a:pt x="982" y="2795"/>
                      </a:lnTo>
                      <a:lnTo>
                        <a:pt x="989" y="2801"/>
                      </a:lnTo>
                      <a:lnTo>
                        <a:pt x="994" y="2798"/>
                      </a:lnTo>
                      <a:lnTo>
                        <a:pt x="997" y="2795"/>
                      </a:lnTo>
                      <a:lnTo>
                        <a:pt x="999" y="2798"/>
                      </a:lnTo>
                      <a:lnTo>
                        <a:pt x="999" y="2804"/>
                      </a:lnTo>
                      <a:lnTo>
                        <a:pt x="1002" y="2804"/>
                      </a:lnTo>
                      <a:lnTo>
                        <a:pt x="1010" y="2804"/>
                      </a:lnTo>
                      <a:lnTo>
                        <a:pt x="1013" y="2807"/>
                      </a:lnTo>
                      <a:lnTo>
                        <a:pt x="1013" y="2809"/>
                      </a:lnTo>
                      <a:lnTo>
                        <a:pt x="1015" y="2807"/>
                      </a:lnTo>
                      <a:lnTo>
                        <a:pt x="1015" y="2801"/>
                      </a:lnTo>
                      <a:lnTo>
                        <a:pt x="1010" y="2798"/>
                      </a:lnTo>
                      <a:lnTo>
                        <a:pt x="1007" y="2792"/>
                      </a:lnTo>
                      <a:lnTo>
                        <a:pt x="1013" y="2792"/>
                      </a:lnTo>
                      <a:lnTo>
                        <a:pt x="1018" y="2801"/>
                      </a:lnTo>
                      <a:lnTo>
                        <a:pt x="1024" y="2804"/>
                      </a:lnTo>
                      <a:lnTo>
                        <a:pt x="1030" y="2798"/>
                      </a:lnTo>
                      <a:lnTo>
                        <a:pt x="1033" y="2795"/>
                      </a:lnTo>
                      <a:lnTo>
                        <a:pt x="1030" y="2784"/>
                      </a:lnTo>
                      <a:lnTo>
                        <a:pt x="1027" y="2779"/>
                      </a:lnTo>
                      <a:lnTo>
                        <a:pt x="1030" y="2779"/>
                      </a:lnTo>
                      <a:lnTo>
                        <a:pt x="1038" y="2781"/>
                      </a:lnTo>
                      <a:lnTo>
                        <a:pt x="1043" y="2779"/>
                      </a:lnTo>
                      <a:lnTo>
                        <a:pt x="1046" y="2779"/>
                      </a:lnTo>
                      <a:lnTo>
                        <a:pt x="1046" y="2787"/>
                      </a:lnTo>
                      <a:lnTo>
                        <a:pt x="1049" y="2787"/>
                      </a:lnTo>
                      <a:lnTo>
                        <a:pt x="1051" y="2776"/>
                      </a:lnTo>
                      <a:lnTo>
                        <a:pt x="1054" y="2776"/>
                      </a:lnTo>
                      <a:lnTo>
                        <a:pt x="1058" y="2779"/>
                      </a:lnTo>
                      <a:lnTo>
                        <a:pt x="1054" y="2784"/>
                      </a:lnTo>
                      <a:lnTo>
                        <a:pt x="1058" y="2795"/>
                      </a:lnTo>
                      <a:lnTo>
                        <a:pt x="1063" y="2790"/>
                      </a:lnTo>
                      <a:lnTo>
                        <a:pt x="1063" y="2784"/>
                      </a:lnTo>
                      <a:lnTo>
                        <a:pt x="1066" y="2781"/>
                      </a:lnTo>
                      <a:lnTo>
                        <a:pt x="1068" y="2781"/>
                      </a:lnTo>
                      <a:lnTo>
                        <a:pt x="1071" y="2781"/>
                      </a:lnTo>
                      <a:lnTo>
                        <a:pt x="1074" y="2781"/>
                      </a:lnTo>
                      <a:lnTo>
                        <a:pt x="1074" y="2787"/>
                      </a:lnTo>
                      <a:lnTo>
                        <a:pt x="1079" y="2784"/>
                      </a:lnTo>
                      <a:lnTo>
                        <a:pt x="1076" y="2779"/>
                      </a:lnTo>
                      <a:lnTo>
                        <a:pt x="1084" y="2779"/>
                      </a:lnTo>
                      <a:lnTo>
                        <a:pt x="1094" y="2790"/>
                      </a:lnTo>
                      <a:lnTo>
                        <a:pt x="1096" y="2784"/>
                      </a:lnTo>
                      <a:lnTo>
                        <a:pt x="1096" y="2779"/>
                      </a:lnTo>
                      <a:lnTo>
                        <a:pt x="1099" y="2776"/>
                      </a:lnTo>
                      <a:lnTo>
                        <a:pt x="1104" y="2773"/>
                      </a:lnTo>
                      <a:lnTo>
                        <a:pt x="1107" y="2776"/>
                      </a:lnTo>
                      <a:lnTo>
                        <a:pt x="1104" y="2781"/>
                      </a:lnTo>
                      <a:lnTo>
                        <a:pt x="1107" y="2784"/>
                      </a:lnTo>
                      <a:lnTo>
                        <a:pt x="1115" y="2779"/>
                      </a:lnTo>
                      <a:lnTo>
                        <a:pt x="1115" y="2773"/>
                      </a:lnTo>
                      <a:lnTo>
                        <a:pt x="1120" y="2773"/>
                      </a:lnTo>
                      <a:lnTo>
                        <a:pt x="1118" y="2781"/>
                      </a:lnTo>
                      <a:lnTo>
                        <a:pt x="1123" y="2784"/>
                      </a:lnTo>
                      <a:lnTo>
                        <a:pt x="1127" y="2784"/>
                      </a:lnTo>
                      <a:lnTo>
                        <a:pt x="1129" y="2779"/>
                      </a:lnTo>
                      <a:lnTo>
                        <a:pt x="1135" y="2779"/>
                      </a:lnTo>
                      <a:lnTo>
                        <a:pt x="1137" y="2779"/>
                      </a:lnTo>
                      <a:lnTo>
                        <a:pt x="1143" y="2779"/>
                      </a:lnTo>
                      <a:lnTo>
                        <a:pt x="1145" y="2773"/>
                      </a:lnTo>
                      <a:lnTo>
                        <a:pt x="1143" y="2768"/>
                      </a:lnTo>
                      <a:lnTo>
                        <a:pt x="1140" y="2764"/>
                      </a:lnTo>
                      <a:lnTo>
                        <a:pt x="1140" y="2762"/>
                      </a:lnTo>
                      <a:lnTo>
                        <a:pt x="1145" y="2764"/>
                      </a:lnTo>
                      <a:lnTo>
                        <a:pt x="1148" y="2768"/>
                      </a:lnTo>
                      <a:lnTo>
                        <a:pt x="1151" y="2773"/>
                      </a:lnTo>
                      <a:lnTo>
                        <a:pt x="1160" y="2776"/>
                      </a:lnTo>
                      <a:lnTo>
                        <a:pt x="1163" y="2779"/>
                      </a:lnTo>
                      <a:lnTo>
                        <a:pt x="1165" y="2773"/>
                      </a:lnTo>
                      <a:lnTo>
                        <a:pt x="1165" y="2771"/>
                      </a:lnTo>
                      <a:lnTo>
                        <a:pt x="1168" y="2768"/>
                      </a:lnTo>
                      <a:lnTo>
                        <a:pt x="1171" y="2768"/>
                      </a:lnTo>
                      <a:lnTo>
                        <a:pt x="1173" y="2764"/>
                      </a:lnTo>
                      <a:lnTo>
                        <a:pt x="1176" y="2756"/>
                      </a:lnTo>
                      <a:lnTo>
                        <a:pt x="1181" y="2754"/>
                      </a:lnTo>
                      <a:lnTo>
                        <a:pt x="1189" y="2751"/>
                      </a:lnTo>
                      <a:lnTo>
                        <a:pt x="1187" y="2743"/>
                      </a:lnTo>
                      <a:lnTo>
                        <a:pt x="1189" y="2740"/>
                      </a:lnTo>
                      <a:lnTo>
                        <a:pt x="1201" y="2735"/>
                      </a:lnTo>
                      <a:lnTo>
                        <a:pt x="1196" y="2726"/>
                      </a:lnTo>
                      <a:lnTo>
                        <a:pt x="1192" y="2721"/>
                      </a:lnTo>
                      <a:lnTo>
                        <a:pt x="1198" y="2721"/>
                      </a:lnTo>
                      <a:lnTo>
                        <a:pt x="1204" y="2723"/>
                      </a:lnTo>
                      <a:lnTo>
                        <a:pt x="1209" y="2721"/>
                      </a:lnTo>
                      <a:lnTo>
                        <a:pt x="1209" y="2718"/>
                      </a:lnTo>
                      <a:lnTo>
                        <a:pt x="1212" y="2715"/>
                      </a:lnTo>
                      <a:lnTo>
                        <a:pt x="1209" y="2710"/>
                      </a:lnTo>
                      <a:lnTo>
                        <a:pt x="1212" y="2702"/>
                      </a:lnTo>
                      <a:lnTo>
                        <a:pt x="1214" y="2699"/>
                      </a:lnTo>
                      <a:lnTo>
                        <a:pt x="1217" y="2693"/>
                      </a:lnTo>
                      <a:lnTo>
                        <a:pt x="1225" y="2695"/>
                      </a:lnTo>
                      <a:lnTo>
                        <a:pt x="1232" y="2687"/>
                      </a:lnTo>
                      <a:lnTo>
                        <a:pt x="1234" y="2685"/>
                      </a:lnTo>
                      <a:lnTo>
                        <a:pt x="1237" y="2685"/>
                      </a:lnTo>
                      <a:lnTo>
                        <a:pt x="1242" y="2685"/>
                      </a:lnTo>
                      <a:lnTo>
                        <a:pt x="1250" y="2693"/>
                      </a:lnTo>
                      <a:lnTo>
                        <a:pt x="1258" y="2695"/>
                      </a:lnTo>
                      <a:lnTo>
                        <a:pt x="1262" y="2695"/>
                      </a:lnTo>
                      <a:lnTo>
                        <a:pt x="1265" y="2702"/>
                      </a:lnTo>
                      <a:lnTo>
                        <a:pt x="1270" y="2702"/>
                      </a:lnTo>
                      <a:lnTo>
                        <a:pt x="1273" y="2695"/>
                      </a:lnTo>
                      <a:lnTo>
                        <a:pt x="1273" y="2687"/>
                      </a:lnTo>
                      <a:lnTo>
                        <a:pt x="1273" y="2677"/>
                      </a:lnTo>
                      <a:lnTo>
                        <a:pt x="1275" y="2679"/>
                      </a:lnTo>
                      <a:lnTo>
                        <a:pt x="1278" y="2682"/>
                      </a:lnTo>
                      <a:lnTo>
                        <a:pt x="1281" y="2687"/>
                      </a:lnTo>
                      <a:lnTo>
                        <a:pt x="1281" y="2671"/>
                      </a:lnTo>
                      <a:lnTo>
                        <a:pt x="1289" y="2671"/>
                      </a:lnTo>
                      <a:lnTo>
                        <a:pt x="1291" y="2671"/>
                      </a:lnTo>
                      <a:lnTo>
                        <a:pt x="1291" y="2677"/>
                      </a:lnTo>
                      <a:lnTo>
                        <a:pt x="1286" y="2687"/>
                      </a:lnTo>
                      <a:lnTo>
                        <a:pt x="1286" y="2693"/>
                      </a:lnTo>
                      <a:lnTo>
                        <a:pt x="1289" y="2695"/>
                      </a:lnTo>
                      <a:lnTo>
                        <a:pt x="1291" y="2699"/>
                      </a:lnTo>
                      <a:lnTo>
                        <a:pt x="1298" y="2695"/>
                      </a:lnTo>
                      <a:lnTo>
                        <a:pt x="1306" y="2693"/>
                      </a:lnTo>
                      <a:lnTo>
                        <a:pt x="1311" y="2690"/>
                      </a:lnTo>
                      <a:lnTo>
                        <a:pt x="1317" y="2687"/>
                      </a:lnTo>
                      <a:lnTo>
                        <a:pt x="1319" y="2685"/>
                      </a:lnTo>
                      <a:lnTo>
                        <a:pt x="1325" y="2679"/>
                      </a:lnTo>
                      <a:lnTo>
                        <a:pt x="1322" y="2674"/>
                      </a:lnTo>
                      <a:lnTo>
                        <a:pt x="1336" y="2677"/>
                      </a:lnTo>
                      <a:lnTo>
                        <a:pt x="1339" y="2685"/>
                      </a:lnTo>
                      <a:lnTo>
                        <a:pt x="1334" y="2695"/>
                      </a:lnTo>
                      <a:lnTo>
                        <a:pt x="1336" y="2699"/>
                      </a:lnTo>
                      <a:lnTo>
                        <a:pt x="1342" y="2699"/>
                      </a:lnTo>
                      <a:lnTo>
                        <a:pt x="1344" y="2687"/>
                      </a:lnTo>
                      <a:lnTo>
                        <a:pt x="1347" y="2685"/>
                      </a:lnTo>
                      <a:lnTo>
                        <a:pt x="1355" y="2690"/>
                      </a:lnTo>
                      <a:lnTo>
                        <a:pt x="1358" y="2690"/>
                      </a:lnTo>
                      <a:lnTo>
                        <a:pt x="1358" y="2685"/>
                      </a:lnTo>
                      <a:lnTo>
                        <a:pt x="1367" y="2685"/>
                      </a:lnTo>
                      <a:lnTo>
                        <a:pt x="1369" y="2682"/>
                      </a:lnTo>
                      <a:lnTo>
                        <a:pt x="1363" y="2677"/>
                      </a:lnTo>
                      <a:lnTo>
                        <a:pt x="1369" y="2674"/>
                      </a:lnTo>
                      <a:lnTo>
                        <a:pt x="1375" y="2677"/>
                      </a:lnTo>
                      <a:lnTo>
                        <a:pt x="1386" y="2677"/>
                      </a:lnTo>
                      <a:lnTo>
                        <a:pt x="1388" y="2674"/>
                      </a:lnTo>
                      <a:lnTo>
                        <a:pt x="1394" y="2677"/>
                      </a:lnTo>
                      <a:lnTo>
                        <a:pt x="1400" y="2687"/>
                      </a:lnTo>
                      <a:lnTo>
                        <a:pt x="1403" y="2693"/>
                      </a:lnTo>
                      <a:lnTo>
                        <a:pt x="1408" y="2695"/>
                      </a:lnTo>
                      <a:lnTo>
                        <a:pt x="1411" y="2690"/>
                      </a:lnTo>
                      <a:lnTo>
                        <a:pt x="1413" y="2687"/>
                      </a:lnTo>
                      <a:lnTo>
                        <a:pt x="1411" y="2682"/>
                      </a:lnTo>
                      <a:lnTo>
                        <a:pt x="1413" y="2679"/>
                      </a:lnTo>
                      <a:lnTo>
                        <a:pt x="1419" y="2685"/>
                      </a:lnTo>
                      <a:lnTo>
                        <a:pt x="1424" y="2687"/>
                      </a:lnTo>
                      <a:lnTo>
                        <a:pt x="1427" y="2690"/>
                      </a:lnTo>
                      <a:lnTo>
                        <a:pt x="1427" y="2702"/>
                      </a:lnTo>
                      <a:lnTo>
                        <a:pt x="1429" y="2715"/>
                      </a:lnTo>
                      <a:lnTo>
                        <a:pt x="1427" y="2718"/>
                      </a:lnTo>
                      <a:lnTo>
                        <a:pt x="1419" y="2721"/>
                      </a:lnTo>
                      <a:lnTo>
                        <a:pt x="1419" y="2726"/>
                      </a:lnTo>
                      <a:lnTo>
                        <a:pt x="1429" y="2735"/>
                      </a:lnTo>
                      <a:lnTo>
                        <a:pt x="1424" y="2740"/>
                      </a:lnTo>
                      <a:lnTo>
                        <a:pt x="1429" y="2740"/>
                      </a:lnTo>
                      <a:lnTo>
                        <a:pt x="1444" y="2735"/>
                      </a:lnTo>
                      <a:lnTo>
                        <a:pt x="1444" y="2738"/>
                      </a:lnTo>
                      <a:lnTo>
                        <a:pt x="1441" y="2740"/>
                      </a:lnTo>
                      <a:lnTo>
                        <a:pt x="1436" y="2743"/>
                      </a:lnTo>
                      <a:lnTo>
                        <a:pt x="1438" y="2748"/>
                      </a:lnTo>
                      <a:lnTo>
                        <a:pt x="1444" y="2751"/>
                      </a:lnTo>
                      <a:lnTo>
                        <a:pt x="1452" y="2751"/>
                      </a:lnTo>
                      <a:lnTo>
                        <a:pt x="1455" y="2754"/>
                      </a:lnTo>
                      <a:lnTo>
                        <a:pt x="1457" y="2751"/>
                      </a:lnTo>
                      <a:lnTo>
                        <a:pt x="1460" y="2754"/>
                      </a:lnTo>
                      <a:lnTo>
                        <a:pt x="1463" y="2768"/>
                      </a:lnTo>
                      <a:lnTo>
                        <a:pt x="1465" y="2771"/>
                      </a:lnTo>
                      <a:lnTo>
                        <a:pt x="1469" y="2771"/>
                      </a:lnTo>
                      <a:lnTo>
                        <a:pt x="1474" y="2768"/>
                      </a:lnTo>
                      <a:lnTo>
                        <a:pt x="1474" y="2762"/>
                      </a:lnTo>
                      <a:lnTo>
                        <a:pt x="1477" y="2759"/>
                      </a:lnTo>
                      <a:lnTo>
                        <a:pt x="1485" y="2756"/>
                      </a:lnTo>
                      <a:lnTo>
                        <a:pt x="1485" y="2754"/>
                      </a:lnTo>
                      <a:lnTo>
                        <a:pt x="1477" y="2748"/>
                      </a:lnTo>
                      <a:lnTo>
                        <a:pt x="1482" y="2738"/>
                      </a:lnTo>
                      <a:lnTo>
                        <a:pt x="1485" y="2735"/>
                      </a:lnTo>
                      <a:lnTo>
                        <a:pt x="1490" y="2738"/>
                      </a:lnTo>
                      <a:lnTo>
                        <a:pt x="1493" y="2740"/>
                      </a:lnTo>
                      <a:lnTo>
                        <a:pt x="1498" y="2738"/>
                      </a:lnTo>
                      <a:lnTo>
                        <a:pt x="1501" y="2735"/>
                      </a:lnTo>
                      <a:lnTo>
                        <a:pt x="1501" y="2732"/>
                      </a:lnTo>
                      <a:lnTo>
                        <a:pt x="1501" y="2729"/>
                      </a:lnTo>
                      <a:lnTo>
                        <a:pt x="1505" y="2738"/>
                      </a:lnTo>
                      <a:lnTo>
                        <a:pt x="1507" y="2740"/>
                      </a:lnTo>
                      <a:lnTo>
                        <a:pt x="1513" y="2740"/>
                      </a:lnTo>
                      <a:lnTo>
                        <a:pt x="1518" y="2740"/>
                      </a:lnTo>
                      <a:lnTo>
                        <a:pt x="1513" y="2746"/>
                      </a:lnTo>
                      <a:lnTo>
                        <a:pt x="1515" y="2754"/>
                      </a:lnTo>
                      <a:lnTo>
                        <a:pt x="1518" y="2754"/>
                      </a:lnTo>
                      <a:lnTo>
                        <a:pt x="1526" y="2756"/>
                      </a:lnTo>
                      <a:lnTo>
                        <a:pt x="1529" y="2759"/>
                      </a:lnTo>
                      <a:lnTo>
                        <a:pt x="1529" y="2764"/>
                      </a:lnTo>
                      <a:lnTo>
                        <a:pt x="1532" y="2764"/>
                      </a:lnTo>
                      <a:lnTo>
                        <a:pt x="1543" y="2759"/>
                      </a:lnTo>
                      <a:lnTo>
                        <a:pt x="1554" y="2754"/>
                      </a:lnTo>
                      <a:lnTo>
                        <a:pt x="1562" y="2743"/>
                      </a:lnTo>
                      <a:lnTo>
                        <a:pt x="1565" y="2729"/>
                      </a:lnTo>
                      <a:lnTo>
                        <a:pt x="1565" y="2713"/>
                      </a:lnTo>
                      <a:lnTo>
                        <a:pt x="1570" y="2707"/>
                      </a:lnTo>
                      <a:lnTo>
                        <a:pt x="1574" y="2707"/>
                      </a:lnTo>
                      <a:lnTo>
                        <a:pt x="1593" y="2594"/>
                      </a:lnTo>
                      <a:lnTo>
                        <a:pt x="1612" y="2487"/>
                      </a:lnTo>
                      <a:lnTo>
                        <a:pt x="1672" y="2144"/>
                      </a:lnTo>
                      <a:lnTo>
                        <a:pt x="1703" y="1965"/>
                      </a:lnTo>
                      <a:lnTo>
                        <a:pt x="1741" y="1736"/>
                      </a:lnTo>
                      <a:lnTo>
                        <a:pt x="1769" y="1582"/>
                      </a:lnTo>
                      <a:lnTo>
                        <a:pt x="1766" y="1567"/>
                      </a:lnTo>
                      <a:lnTo>
                        <a:pt x="1769" y="1562"/>
                      </a:lnTo>
                      <a:lnTo>
                        <a:pt x="1774" y="1557"/>
                      </a:lnTo>
                      <a:lnTo>
                        <a:pt x="1774" y="1551"/>
                      </a:lnTo>
                      <a:lnTo>
                        <a:pt x="1774" y="1534"/>
                      </a:lnTo>
                      <a:lnTo>
                        <a:pt x="1778" y="1526"/>
                      </a:lnTo>
                      <a:lnTo>
                        <a:pt x="1778" y="1521"/>
                      </a:lnTo>
                      <a:lnTo>
                        <a:pt x="1783" y="1518"/>
                      </a:lnTo>
                      <a:lnTo>
                        <a:pt x="1792" y="1515"/>
                      </a:lnTo>
                      <a:lnTo>
                        <a:pt x="1792" y="1510"/>
                      </a:lnTo>
                      <a:lnTo>
                        <a:pt x="1786" y="1498"/>
                      </a:lnTo>
                      <a:lnTo>
                        <a:pt x="1786" y="1482"/>
                      </a:lnTo>
                      <a:lnTo>
                        <a:pt x="1786" y="1480"/>
                      </a:lnTo>
                      <a:lnTo>
                        <a:pt x="1781" y="1468"/>
                      </a:lnTo>
                      <a:lnTo>
                        <a:pt x="1778" y="1457"/>
                      </a:lnTo>
                      <a:lnTo>
                        <a:pt x="1781" y="1449"/>
                      </a:lnTo>
                      <a:lnTo>
                        <a:pt x="1786" y="1437"/>
                      </a:lnTo>
                      <a:lnTo>
                        <a:pt x="1786" y="1427"/>
                      </a:lnTo>
                      <a:lnTo>
                        <a:pt x="1792" y="1421"/>
                      </a:lnTo>
                      <a:lnTo>
                        <a:pt x="1792" y="1416"/>
                      </a:lnTo>
                      <a:lnTo>
                        <a:pt x="1792" y="1408"/>
                      </a:lnTo>
                      <a:lnTo>
                        <a:pt x="1781" y="1394"/>
                      </a:lnTo>
                      <a:lnTo>
                        <a:pt x="1778" y="1391"/>
                      </a:lnTo>
                      <a:lnTo>
                        <a:pt x="1781" y="1380"/>
                      </a:lnTo>
                      <a:lnTo>
                        <a:pt x="1778" y="1377"/>
                      </a:lnTo>
                      <a:lnTo>
                        <a:pt x="1772" y="1375"/>
                      </a:lnTo>
                      <a:lnTo>
                        <a:pt x="1772" y="1372"/>
                      </a:lnTo>
                      <a:lnTo>
                        <a:pt x="1774" y="1372"/>
                      </a:lnTo>
                      <a:lnTo>
                        <a:pt x="1778" y="1366"/>
                      </a:lnTo>
                      <a:lnTo>
                        <a:pt x="1783" y="1366"/>
                      </a:lnTo>
                      <a:lnTo>
                        <a:pt x="1781" y="1360"/>
                      </a:lnTo>
                      <a:lnTo>
                        <a:pt x="1774" y="1358"/>
                      </a:lnTo>
                      <a:lnTo>
                        <a:pt x="1769" y="1360"/>
                      </a:lnTo>
                      <a:lnTo>
                        <a:pt x="1764" y="1352"/>
                      </a:lnTo>
                      <a:lnTo>
                        <a:pt x="1764" y="1347"/>
                      </a:lnTo>
                      <a:lnTo>
                        <a:pt x="1756" y="1339"/>
                      </a:lnTo>
                      <a:lnTo>
                        <a:pt x="1750" y="1336"/>
                      </a:lnTo>
                      <a:lnTo>
                        <a:pt x="1748" y="1333"/>
                      </a:lnTo>
                      <a:lnTo>
                        <a:pt x="1741" y="1333"/>
                      </a:lnTo>
                      <a:lnTo>
                        <a:pt x="1739" y="1330"/>
                      </a:lnTo>
                      <a:lnTo>
                        <a:pt x="1739" y="1327"/>
                      </a:lnTo>
                      <a:lnTo>
                        <a:pt x="1739" y="1314"/>
                      </a:lnTo>
                      <a:lnTo>
                        <a:pt x="1739" y="1308"/>
                      </a:lnTo>
                      <a:lnTo>
                        <a:pt x="1733" y="1303"/>
                      </a:lnTo>
                      <a:lnTo>
                        <a:pt x="1731" y="1303"/>
                      </a:lnTo>
                      <a:lnTo>
                        <a:pt x="1720" y="1294"/>
                      </a:lnTo>
                      <a:lnTo>
                        <a:pt x="1725" y="1286"/>
                      </a:lnTo>
                      <a:lnTo>
                        <a:pt x="1725" y="1281"/>
                      </a:lnTo>
                      <a:lnTo>
                        <a:pt x="1720" y="1278"/>
                      </a:lnTo>
                      <a:lnTo>
                        <a:pt x="1717" y="1278"/>
                      </a:lnTo>
                      <a:lnTo>
                        <a:pt x="1714" y="1273"/>
                      </a:lnTo>
                      <a:lnTo>
                        <a:pt x="1703" y="1264"/>
                      </a:lnTo>
                      <a:lnTo>
                        <a:pt x="1705" y="1261"/>
                      </a:lnTo>
                      <a:lnTo>
                        <a:pt x="1700" y="1258"/>
                      </a:lnTo>
                      <a:lnTo>
                        <a:pt x="1703" y="1256"/>
                      </a:lnTo>
                      <a:lnTo>
                        <a:pt x="1697" y="1256"/>
                      </a:lnTo>
                      <a:lnTo>
                        <a:pt x="1700" y="1250"/>
                      </a:lnTo>
                      <a:lnTo>
                        <a:pt x="1700" y="1247"/>
                      </a:lnTo>
                      <a:lnTo>
                        <a:pt x="1703" y="1245"/>
                      </a:lnTo>
                      <a:lnTo>
                        <a:pt x="1709" y="1245"/>
                      </a:lnTo>
                      <a:lnTo>
                        <a:pt x="1705" y="1239"/>
                      </a:lnTo>
                      <a:lnTo>
                        <a:pt x="1709" y="1237"/>
                      </a:lnTo>
                      <a:lnTo>
                        <a:pt x="1714" y="1228"/>
                      </a:lnTo>
                      <a:lnTo>
                        <a:pt x="1717" y="1220"/>
                      </a:lnTo>
                      <a:lnTo>
                        <a:pt x="1720" y="1214"/>
                      </a:lnTo>
                      <a:lnTo>
                        <a:pt x="1723" y="1209"/>
                      </a:lnTo>
                      <a:lnTo>
                        <a:pt x="1720" y="1209"/>
                      </a:lnTo>
                      <a:lnTo>
                        <a:pt x="1720" y="1204"/>
                      </a:lnTo>
                      <a:lnTo>
                        <a:pt x="1717" y="1201"/>
                      </a:lnTo>
                      <a:lnTo>
                        <a:pt x="1714" y="1201"/>
                      </a:lnTo>
                      <a:lnTo>
                        <a:pt x="1712" y="1196"/>
                      </a:lnTo>
                      <a:lnTo>
                        <a:pt x="1705" y="1192"/>
                      </a:lnTo>
                      <a:lnTo>
                        <a:pt x="1709" y="1187"/>
                      </a:lnTo>
                      <a:lnTo>
                        <a:pt x="1712" y="1178"/>
                      </a:lnTo>
                      <a:lnTo>
                        <a:pt x="1705" y="1170"/>
                      </a:lnTo>
                      <a:lnTo>
                        <a:pt x="1703" y="1168"/>
                      </a:lnTo>
                      <a:lnTo>
                        <a:pt x="1705" y="1156"/>
                      </a:lnTo>
                      <a:lnTo>
                        <a:pt x="1700" y="1151"/>
                      </a:lnTo>
                      <a:lnTo>
                        <a:pt x="1695" y="1151"/>
                      </a:lnTo>
                      <a:lnTo>
                        <a:pt x="1692" y="1151"/>
                      </a:lnTo>
                      <a:lnTo>
                        <a:pt x="1692" y="1143"/>
                      </a:lnTo>
                      <a:lnTo>
                        <a:pt x="1681" y="1140"/>
                      </a:lnTo>
                      <a:lnTo>
                        <a:pt x="1672" y="1137"/>
                      </a:lnTo>
                      <a:lnTo>
                        <a:pt x="1672" y="1135"/>
                      </a:lnTo>
                      <a:lnTo>
                        <a:pt x="1662" y="1132"/>
                      </a:lnTo>
                      <a:lnTo>
                        <a:pt x="1656" y="1129"/>
                      </a:lnTo>
                      <a:lnTo>
                        <a:pt x="1654" y="1127"/>
                      </a:lnTo>
                      <a:lnTo>
                        <a:pt x="1651" y="1120"/>
                      </a:lnTo>
                      <a:lnTo>
                        <a:pt x="1648" y="1120"/>
                      </a:lnTo>
                      <a:lnTo>
                        <a:pt x="1643" y="1112"/>
                      </a:lnTo>
                      <a:lnTo>
                        <a:pt x="1636" y="1109"/>
                      </a:lnTo>
                      <a:lnTo>
                        <a:pt x="1631" y="1109"/>
                      </a:lnTo>
                      <a:lnTo>
                        <a:pt x="1631" y="1104"/>
                      </a:lnTo>
                      <a:lnTo>
                        <a:pt x="1623" y="1101"/>
                      </a:lnTo>
                      <a:lnTo>
                        <a:pt x="1618" y="1101"/>
                      </a:lnTo>
                      <a:lnTo>
                        <a:pt x="1610" y="1084"/>
                      </a:lnTo>
                      <a:lnTo>
                        <a:pt x="1603" y="1087"/>
                      </a:lnTo>
                      <a:lnTo>
                        <a:pt x="1593" y="1084"/>
                      </a:lnTo>
                      <a:lnTo>
                        <a:pt x="1590" y="1087"/>
                      </a:lnTo>
                      <a:lnTo>
                        <a:pt x="1579" y="1079"/>
                      </a:lnTo>
                      <a:lnTo>
                        <a:pt x="1574" y="1074"/>
                      </a:lnTo>
                      <a:lnTo>
                        <a:pt x="1570" y="1068"/>
                      </a:lnTo>
                      <a:lnTo>
                        <a:pt x="1567" y="1068"/>
                      </a:lnTo>
                      <a:lnTo>
                        <a:pt x="1565" y="1063"/>
                      </a:lnTo>
                      <a:lnTo>
                        <a:pt x="1562" y="1060"/>
                      </a:lnTo>
                      <a:lnTo>
                        <a:pt x="1554" y="1049"/>
                      </a:lnTo>
                      <a:lnTo>
                        <a:pt x="1551" y="1046"/>
                      </a:lnTo>
                      <a:lnTo>
                        <a:pt x="1549" y="1041"/>
                      </a:lnTo>
                      <a:lnTo>
                        <a:pt x="1526" y="1022"/>
                      </a:lnTo>
                      <a:lnTo>
                        <a:pt x="1524" y="1018"/>
                      </a:lnTo>
                      <a:lnTo>
                        <a:pt x="1524" y="1007"/>
                      </a:lnTo>
                      <a:lnTo>
                        <a:pt x="1526" y="1002"/>
                      </a:lnTo>
                      <a:lnTo>
                        <a:pt x="1529" y="994"/>
                      </a:lnTo>
                      <a:lnTo>
                        <a:pt x="1526" y="946"/>
                      </a:lnTo>
                      <a:lnTo>
                        <a:pt x="1526" y="913"/>
                      </a:lnTo>
                      <a:lnTo>
                        <a:pt x="1529" y="836"/>
                      </a:lnTo>
                      <a:lnTo>
                        <a:pt x="1529" y="739"/>
                      </a:lnTo>
                      <a:lnTo>
                        <a:pt x="1529" y="707"/>
                      </a:lnTo>
                      <a:lnTo>
                        <a:pt x="1532" y="707"/>
                      </a:lnTo>
                      <a:lnTo>
                        <a:pt x="1534" y="707"/>
                      </a:lnTo>
                      <a:lnTo>
                        <a:pt x="1538" y="713"/>
                      </a:lnTo>
                      <a:lnTo>
                        <a:pt x="1541" y="715"/>
                      </a:lnTo>
                      <a:lnTo>
                        <a:pt x="1546" y="715"/>
                      </a:lnTo>
                      <a:lnTo>
                        <a:pt x="1549" y="713"/>
                      </a:lnTo>
                      <a:lnTo>
                        <a:pt x="1551" y="707"/>
                      </a:lnTo>
                      <a:lnTo>
                        <a:pt x="1546" y="701"/>
                      </a:lnTo>
                      <a:lnTo>
                        <a:pt x="1557" y="701"/>
                      </a:lnTo>
                      <a:lnTo>
                        <a:pt x="1559" y="707"/>
                      </a:lnTo>
                      <a:lnTo>
                        <a:pt x="1570" y="710"/>
                      </a:lnTo>
                      <a:lnTo>
                        <a:pt x="1576" y="704"/>
                      </a:lnTo>
                      <a:lnTo>
                        <a:pt x="1582" y="696"/>
                      </a:lnTo>
                      <a:lnTo>
                        <a:pt x="1584" y="698"/>
                      </a:lnTo>
                      <a:lnTo>
                        <a:pt x="1590" y="696"/>
                      </a:lnTo>
                      <a:lnTo>
                        <a:pt x="1593" y="701"/>
                      </a:lnTo>
                      <a:lnTo>
                        <a:pt x="1603" y="698"/>
                      </a:lnTo>
                      <a:lnTo>
                        <a:pt x="1610" y="696"/>
                      </a:lnTo>
                      <a:lnTo>
                        <a:pt x="1612" y="696"/>
                      </a:lnTo>
                      <a:lnTo>
                        <a:pt x="1615" y="693"/>
                      </a:lnTo>
                      <a:lnTo>
                        <a:pt x="1620" y="696"/>
                      </a:lnTo>
                      <a:lnTo>
                        <a:pt x="1623" y="696"/>
                      </a:lnTo>
                      <a:lnTo>
                        <a:pt x="1623" y="701"/>
                      </a:lnTo>
                      <a:lnTo>
                        <a:pt x="1631" y="696"/>
                      </a:lnTo>
                      <a:lnTo>
                        <a:pt x="1634" y="690"/>
                      </a:lnTo>
                      <a:lnTo>
                        <a:pt x="1643" y="687"/>
                      </a:lnTo>
                      <a:lnTo>
                        <a:pt x="1648" y="679"/>
                      </a:lnTo>
                      <a:lnTo>
                        <a:pt x="1654" y="685"/>
                      </a:lnTo>
                      <a:lnTo>
                        <a:pt x="1659" y="682"/>
                      </a:lnTo>
                      <a:lnTo>
                        <a:pt x="1662" y="670"/>
                      </a:lnTo>
                      <a:lnTo>
                        <a:pt x="1667" y="668"/>
                      </a:lnTo>
                      <a:lnTo>
                        <a:pt x="1672" y="668"/>
                      </a:lnTo>
                      <a:lnTo>
                        <a:pt x="1672" y="662"/>
                      </a:lnTo>
                      <a:lnTo>
                        <a:pt x="1676" y="660"/>
                      </a:lnTo>
                      <a:lnTo>
                        <a:pt x="1687" y="662"/>
                      </a:lnTo>
                      <a:lnTo>
                        <a:pt x="1689" y="665"/>
                      </a:lnTo>
                      <a:lnTo>
                        <a:pt x="1695" y="674"/>
                      </a:lnTo>
                      <a:lnTo>
                        <a:pt x="1697" y="674"/>
                      </a:lnTo>
                      <a:lnTo>
                        <a:pt x="1700" y="677"/>
                      </a:lnTo>
                      <a:lnTo>
                        <a:pt x="1705" y="677"/>
                      </a:lnTo>
                      <a:lnTo>
                        <a:pt x="1705" y="674"/>
                      </a:lnTo>
                      <a:lnTo>
                        <a:pt x="1712" y="674"/>
                      </a:lnTo>
                      <a:lnTo>
                        <a:pt x="1712" y="665"/>
                      </a:lnTo>
                      <a:lnTo>
                        <a:pt x="1723" y="660"/>
                      </a:lnTo>
                      <a:lnTo>
                        <a:pt x="1723" y="654"/>
                      </a:lnTo>
                      <a:lnTo>
                        <a:pt x="1733" y="654"/>
                      </a:lnTo>
                      <a:lnTo>
                        <a:pt x="1736" y="654"/>
                      </a:lnTo>
                      <a:lnTo>
                        <a:pt x="1736" y="649"/>
                      </a:lnTo>
                      <a:lnTo>
                        <a:pt x="1739" y="644"/>
                      </a:lnTo>
                      <a:lnTo>
                        <a:pt x="1741" y="644"/>
                      </a:lnTo>
                      <a:lnTo>
                        <a:pt x="1745" y="644"/>
                      </a:lnTo>
                      <a:lnTo>
                        <a:pt x="1748" y="638"/>
                      </a:lnTo>
                      <a:lnTo>
                        <a:pt x="1750" y="635"/>
                      </a:lnTo>
                      <a:lnTo>
                        <a:pt x="1758" y="632"/>
                      </a:lnTo>
                      <a:lnTo>
                        <a:pt x="1761" y="632"/>
                      </a:lnTo>
                      <a:lnTo>
                        <a:pt x="1764" y="635"/>
                      </a:lnTo>
                      <a:lnTo>
                        <a:pt x="1766" y="641"/>
                      </a:lnTo>
                      <a:lnTo>
                        <a:pt x="1772" y="641"/>
                      </a:lnTo>
                      <a:lnTo>
                        <a:pt x="1774" y="644"/>
                      </a:lnTo>
                      <a:lnTo>
                        <a:pt x="1774" y="649"/>
                      </a:lnTo>
                      <a:lnTo>
                        <a:pt x="1778" y="652"/>
                      </a:lnTo>
                      <a:lnTo>
                        <a:pt x="1786" y="657"/>
                      </a:lnTo>
                      <a:lnTo>
                        <a:pt x="1786" y="662"/>
                      </a:lnTo>
                      <a:lnTo>
                        <a:pt x="1802" y="679"/>
                      </a:lnTo>
                      <a:lnTo>
                        <a:pt x="1808" y="685"/>
                      </a:lnTo>
                      <a:lnTo>
                        <a:pt x="1810" y="682"/>
                      </a:lnTo>
                      <a:lnTo>
                        <a:pt x="1814" y="679"/>
                      </a:lnTo>
                      <a:lnTo>
                        <a:pt x="1814" y="674"/>
                      </a:lnTo>
                      <a:lnTo>
                        <a:pt x="1822" y="677"/>
                      </a:lnTo>
                      <a:lnTo>
                        <a:pt x="1827" y="674"/>
                      </a:lnTo>
                      <a:lnTo>
                        <a:pt x="1830" y="668"/>
                      </a:lnTo>
                      <a:lnTo>
                        <a:pt x="1835" y="670"/>
                      </a:lnTo>
                      <a:lnTo>
                        <a:pt x="1833" y="674"/>
                      </a:lnTo>
                      <a:lnTo>
                        <a:pt x="1835" y="682"/>
                      </a:lnTo>
                      <a:lnTo>
                        <a:pt x="1833" y="687"/>
                      </a:lnTo>
                      <a:lnTo>
                        <a:pt x="1841" y="687"/>
                      </a:lnTo>
                      <a:lnTo>
                        <a:pt x="1843" y="687"/>
                      </a:lnTo>
                      <a:lnTo>
                        <a:pt x="1850" y="687"/>
                      </a:lnTo>
                      <a:lnTo>
                        <a:pt x="1855" y="685"/>
                      </a:lnTo>
                      <a:lnTo>
                        <a:pt x="1855" y="687"/>
                      </a:lnTo>
                      <a:lnTo>
                        <a:pt x="1866" y="685"/>
                      </a:lnTo>
                      <a:lnTo>
                        <a:pt x="1871" y="687"/>
                      </a:lnTo>
                      <a:lnTo>
                        <a:pt x="1871" y="682"/>
                      </a:lnTo>
                      <a:lnTo>
                        <a:pt x="1871" y="677"/>
                      </a:lnTo>
                      <a:lnTo>
                        <a:pt x="1874" y="674"/>
                      </a:lnTo>
                      <a:lnTo>
                        <a:pt x="1874" y="668"/>
                      </a:lnTo>
                      <a:lnTo>
                        <a:pt x="1879" y="665"/>
                      </a:lnTo>
                      <a:lnTo>
                        <a:pt x="1883" y="668"/>
                      </a:lnTo>
                      <a:lnTo>
                        <a:pt x="1888" y="668"/>
                      </a:lnTo>
                      <a:lnTo>
                        <a:pt x="1894" y="670"/>
                      </a:lnTo>
                      <a:lnTo>
                        <a:pt x="1899" y="670"/>
                      </a:lnTo>
                      <a:lnTo>
                        <a:pt x="1902" y="674"/>
                      </a:lnTo>
                      <a:lnTo>
                        <a:pt x="1904" y="674"/>
                      </a:lnTo>
                      <a:lnTo>
                        <a:pt x="1907" y="668"/>
                      </a:lnTo>
                      <a:lnTo>
                        <a:pt x="1894" y="646"/>
                      </a:lnTo>
                      <a:lnTo>
                        <a:pt x="1886" y="641"/>
                      </a:lnTo>
                      <a:lnTo>
                        <a:pt x="1879" y="638"/>
                      </a:lnTo>
                      <a:lnTo>
                        <a:pt x="1877" y="635"/>
                      </a:lnTo>
                      <a:lnTo>
                        <a:pt x="1877" y="627"/>
                      </a:lnTo>
                      <a:lnTo>
                        <a:pt x="1883" y="621"/>
                      </a:lnTo>
                      <a:lnTo>
                        <a:pt x="1888" y="621"/>
                      </a:lnTo>
                      <a:lnTo>
                        <a:pt x="1891" y="621"/>
                      </a:lnTo>
                      <a:lnTo>
                        <a:pt x="1894" y="613"/>
                      </a:lnTo>
                      <a:lnTo>
                        <a:pt x="1891" y="601"/>
                      </a:lnTo>
                      <a:lnTo>
                        <a:pt x="1888" y="599"/>
                      </a:lnTo>
                      <a:lnTo>
                        <a:pt x="1886" y="593"/>
                      </a:lnTo>
                      <a:lnTo>
                        <a:pt x="1886" y="585"/>
                      </a:lnTo>
                      <a:lnTo>
                        <a:pt x="1891" y="583"/>
                      </a:lnTo>
                      <a:lnTo>
                        <a:pt x="1896" y="583"/>
                      </a:lnTo>
                      <a:lnTo>
                        <a:pt x="1896" y="580"/>
                      </a:lnTo>
                      <a:lnTo>
                        <a:pt x="1899" y="575"/>
                      </a:lnTo>
                      <a:lnTo>
                        <a:pt x="1894" y="569"/>
                      </a:lnTo>
                      <a:lnTo>
                        <a:pt x="1891" y="569"/>
                      </a:lnTo>
                      <a:lnTo>
                        <a:pt x="1883" y="563"/>
                      </a:lnTo>
                      <a:lnTo>
                        <a:pt x="1877" y="563"/>
                      </a:lnTo>
                      <a:lnTo>
                        <a:pt x="1877" y="558"/>
                      </a:lnTo>
                      <a:lnTo>
                        <a:pt x="1877" y="555"/>
                      </a:lnTo>
                      <a:lnTo>
                        <a:pt x="1874" y="549"/>
                      </a:lnTo>
                      <a:lnTo>
                        <a:pt x="1877" y="547"/>
                      </a:lnTo>
                      <a:lnTo>
                        <a:pt x="1886" y="544"/>
                      </a:lnTo>
                      <a:lnTo>
                        <a:pt x="1883" y="539"/>
                      </a:lnTo>
                      <a:lnTo>
                        <a:pt x="1869" y="533"/>
                      </a:lnTo>
                      <a:lnTo>
                        <a:pt x="1863" y="527"/>
                      </a:lnTo>
                      <a:lnTo>
                        <a:pt x="1871" y="522"/>
                      </a:lnTo>
                      <a:lnTo>
                        <a:pt x="1869" y="516"/>
                      </a:lnTo>
                      <a:lnTo>
                        <a:pt x="1866" y="514"/>
                      </a:lnTo>
                      <a:lnTo>
                        <a:pt x="1843" y="494"/>
                      </a:lnTo>
                      <a:lnTo>
                        <a:pt x="1841" y="494"/>
                      </a:lnTo>
                      <a:lnTo>
                        <a:pt x="1835" y="498"/>
                      </a:lnTo>
                      <a:lnTo>
                        <a:pt x="1833" y="491"/>
                      </a:lnTo>
                      <a:lnTo>
                        <a:pt x="1827" y="491"/>
                      </a:lnTo>
                      <a:lnTo>
                        <a:pt x="1827" y="489"/>
                      </a:lnTo>
                      <a:lnTo>
                        <a:pt x="1822" y="483"/>
                      </a:lnTo>
                      <a:lnTo>
                        <a:pt x="1810" y="483"/>
                      </a:lnTo>
                      <a:lnTo>
                        <a:pt x="1805" y="486"/>
                      </a:lnTo>
                      <a:lnTo>
                        <a:pt x="1800" y="483"/>
                      </a:lnTo>
                      <a:lnTo>
                        <a:pt x="1797" y="486"/>
                      </a:lnTo>
                      <a:lnTo>
                        <a:pt x="1783" y="500"/>
                      </a:lnTo>
                      <a:lnTo>
                        <a:pt x="1774" y="498"/>
                      </a:lnTo>
                      <a:lnTo>
                        <a:pt x="1774" y="491"/>
                      </a:lnTo>
                      <a:lnTo>
                        <a:pt x="1774" y="489"/>
                      </a:lnTo>
                      <a:lnTo>
                        <a:pt x="1772" y="486"/>
                      </a:lnTo>
                      <a:lnTo>
                        <a:pt x="1766" y="489"/>
                      </a:lnTo>
                      <a:lnTo>
                        <a:pt x="1753" y="486"/>
                      </a:lnTo>
                      <a:lnTo>
                        <a:pt x="1741" y="489"/>
                      </a:lnTo>
                      <a:lnTo>
                        <a:pt x="1723" y="489"/>
                      </a:lnTo>
                      <a:lnTo>
                        <a:pt x="1714" y="486"/>
                      </a:lnTo>
                      <a:lnTo>
                        <a:pt x="1705" y="478"/>
                      </a:lnTo>
                      <a:lnTo>
                        <a:pt x="1700" y="478"/>
                      </a:lnTo>
                      <a:lnTo>
                        <a:pt x="1697" y="483"/>
                      </a:lnTo>
                      <a:lnTo>
                        <a:pt x="1689" y="483"/>
                      </a:lnTo>
                      <a:lnTo>
                        <a:pt x="1681" y="486"/>
                      </a:lnTo>
                      <a:lnTo>
                        <a:pt x="1676" y="489"/>
                      </a:lnTo>
                      <a:lnTo>
                        <a:pt x="1670" y="486"/>
                      </a:lnTo>
                      <a:lnTo>
                        <a:pt x="1667" y="489"/>
                      </a:lnTo>
                      <a:lnTo>
                        <a:pt x="1664" y="483"/>
                      </a:lnTo>
                      <a:lnTo>
                        <a:pt x="1664" y="475"/>
                      </a:lnTo>
                      <a:lnTo>
                        <a:pt x="1664" y="470"/>
                      </a:lnTo>
                      <a:lnTo>
                        <a:pt x="1656" y="472"/>
                      </a:lnTo>
                      <a:lnTo>
                        <a:pt x="1654" y="472"/>
                      </a:lnTo>
                      <a:lnTo>
                        <a:pt x="1646" y="472"/>
                      </a:lnTo>
                      <a:lnTo>
                        <a:pt x="1634" y="481"/>
                      </a:lnTo>
                      <a:lnTo>
                        <a:pt x="1628" y="483"/>
                      </a:lnTo>
                      <a:lnTo>
                        <a:pt x="1626" y="491"/>
                      </a:lnTo>
                      <a:lnTo>
                        <a:pt x="1623" y="494"/>
                      </a:lnTo>
                      <a:lnTo>
                        <a:pt x="1615" y="491"/>
                      </a:lnTo>
                      <a:lnTo>
                        <a:pt x="1610" y="486"/>
                      </a:lnTo>
                      <a:lnTo>
                        <a:pt x="1610" y="398"/>
                      </a:lnTo>
                      <a:lnTo>
                        <a:pt x="1610" y="282"/>
                      </a:lnTo>
                      <a:lnTo>
                        <a:pt x="1610" y="222"/>
                      </a:lnTo>
                      <a:lnTo>
                        <a:pt x="1618" y="222"/>
                      </a:lnTo>
                      <a:lnTo>
                        <a:pt x="1615" y="224"/>
                      </a:lnTo>
                      <a:lnTo>
                        <a:pt x="1618" y="227"/>
                      </a:lnTo>
                      <a:lnTo>
                        <a:pt x="1628" y="224"/>
                      </a:lnTo>
                      <a:lnTo>
                        <a:pt x="1634" y="227"/>
                      </a:lnTo>
                      <a:lnTo>
                        <a:pt x="1634" y="224"/>
                      </a:lnTo>
                      <a:lnTo>
                        <a:pt x="1636" y="219"/>
                      </a:lnTo>
                      <a:lnTo>
                        <a:pt x="1640" y="219"/>
                      </a:lnTo>
                      <a:lnTo>
                        <a:pt x="1651" y="210"/>
                      </a:lnTo>
                      <a:lnTo>
                        <a:pt x="1656" y="210"/>
                      </a:lnTo>
                      <a:lnTo>
                        <a:pt x="1662" y="210"/>
                      </a:lnTo>
                      <a:lnTo>
                        <a:pt x="1664" y="207"/>
                      </a:lnTo>
                      <a:lnTo>
                        <a:pt x="1667" y="210"/>
                      </a:lnTo>
                      <a:lnTo>
                        <a:pt x="1676" y="210"/>
                      </a:lnTo>
                      <a:lnTo>
                        <a:pt x="1676" y="213"/>
                      </a:lnTo>
                      <a:lnTo>
                        <a:pt x="1681" y="213"/>
                      </a:lnTo>
                      <a:lnTo>
                        <a:pt x="1687" y="213"/>
                      </a:lnTo>
                      <a:lnTo>
                        <a:pt x="1689" y="210"/>
                      </a:lnTo>
                      <a:lnTo>
                        <a:pt x="1695" y="213"/>
                      </a:lnTo>
                      <a:lnTo>
                        <a:pt x="1697" y="207"/>
                      </a:lnTo>
                      <a:lnTo>
                        <a:pt x="1700" y="207"/>
                      </a:lnTo>
                      <a:lnTo>
                        <a:pt x="1709" y="202"/>
                      </a:lnTo>
                      <a:lnTo>
                        <a:pt x="1723" y="196"/>
                      </a:lnTo>
                      <a:lnTo>
                        <a:pt x="1728" y="191"/>
                      </a:lnTo>
                      <a:lnTo>
                        <a:pt x="1753" y="202"/>
                      </a:lnTo>
                      <a:lnTo>
                        <a:pt x="1756" y="199"/>
                      </a:lnTo>
                      <a:lnTo>
                        <a:pt x="1756" y="202"/>
                      </a:lnTo>
                      <a:lnTo>
                        <a:pt x="1758" y="205"/>
                      </a:lnTo>
                      <a:lnTo>
                        <a:pt x="1761" y="199"/>
                      </a:lnTo>
                      <a:lnTo>
                        <a:pt x="1764" y="202"/>
                      </a:lnTo>
                      <a:lnTo>
                        <a:pt x="1766" y="205"/>
                      </a:lnTo>
                      <a:lnTo>
                        <a:pt x="1769" y="202"/>
                      </a:lnTo>
                      <a:lnTo>
                        <a:pt x="1781" y="205"/>
                      </a:lnTo>
                      <a:lnTo>
                        <a:pt x="1794" y="213"/>
                      </a:lnTo>
                      <a:lnTo>
                        <a:pt x="1794" y="219"/>
                      </a:lnTo>
                      <a:lnTo>
                        <a:pt x="1797" y="215"/>
                      </a:lnTo>
                      <a:lnTo>
                        <a:pt x="1879" y="215"/>
                      </a:lnTo>
                      <a:lnTo>
                        <a:pt x="2075" y="215"/>
                      </a:lnTo>
                      <a:lnTo>
                        <a:pt x="2294" y="215"/>
                      </a:lnTo>
                      <a:lnTo>
                        <a:pt x="2297" y="215"/>
                      </a:lnTo>
                      <a:lnTo>
                        <a:pt x="2297" y="210"/>
                      </a:lnTo>
                      <a:lnTo>
                        <a:pt x="2294" y="207"/>
                      </a:lnTo>
                      <a:lnTo>
                        <a:pt x="2285" y="207"/>
                      </a:lnTo>
                      <a:lnTo>
                        <a:pt x="2291" y="199"/>
                      </a:lnTo>
                      <a:lnTo>
                        <a:pt x="2283" y="194"/>
                      </a:lnTo>
                      <a:lnTo>
                        <a:pt x="2277" y="194"/>
                      </a:lnTo>
                      <a:lnTo>
                        <a:pt x="2275" y="196"/>
                      </a:lnTo>
                      <a:lnTo>
                        <a:pt x="2269" y="199"/>
                      </a:lnTo>
                      <a:lnTo>
                        <a:pt x="2264" y="199"/>
                      </a:lnTo>
                      <a:lnTo>
                        <a:pt x="2261" y="188"/>
                      </a:lnTo>
                      <a:lnTo>
                        <a:pt x="2264" y="174"/>
                      </a:lnTo>
                      <a:lnTo>
                        <a:pt x="2261" y="174"/>
                      </a:lnTo>
                      <a:lnTo>
                        <a:pt x="2252" y="174"/>
                      </a:lnTo>
                      <a:lnTo>
                        <a:pt x="2252" y="169"/>
                      </a:lnTo>
                      <a:lnTo>
                        <a:pt x="2252" y="161"/>
                      </a:lnTo>
                      <a:lnTo>
                        <a:pt x="2257" y="155"/>
                      </a:lnTo>
                      <a:lnTo>
                        <a:pt x="2261" y="133"/>
                      </a:lnTo>
                      <a:lnTo>
                        <a:pt x="2264" y="130"/>
                      </a:lnTo>
                      <a:lnTo>
                        <a:pt x="2269" y="125"/>
                      </a:lnTo>
                      <a:lnTo>
                        <a:pt x="2275" y="119"/>
                      </a:lnTo>
                      <a:lnTo>
                        <a:pt x="2280" y="119"/>
                      </a:lnTo>
                      <a:lnTo>
                        <a:pt x="2285" y="110"/>
                      </a:lnTo>
                      <a:lnTo>
                        <a:pt x="2291" y="108"/>
                      </a:lnTo>
                      <a:lnTo>
                        <a:pt x="2297" y="114"/>
                      </a:lnTo>
                      <a:lnTo>
                        <a:pt x="2302" y="110"/>
                      </a:lnTo>
                      <a:lnTo>
                        <a:pt x="2305" y="110"/>
                      </a:lnTo>
                      <a:lnTo>
                        <a:pt x="2310" y="117"/>
                      </a:lnTo>
                      <a:lnTo>
                        <a:pt x="2313" y="127"/>
                      </a:lnTo>
                      <a:lnTo>
                        <a:pt x="2318" y="130"/>
                      </a:lnTo>
                      <a:lnTo>
                        <a:pt x="2321" y="141"/>
                      </a:lnTo>
                      <a:lnTo>
                        <a:pt x="2324" y="144"/>
                      </a:lnTo>
                      <a:lnTo>
                        <a:pt x="2326" y="144"/>
                      </a:lnTo>
                      <a:lnTo>
                        <a:pt x="2333" y="146"/>
                      </a:lnTo>
                      <a:lnTo>
                        <a:pt x="2341" y="144"/>
                      </a:lnTo>
                      <a:lnTo>
                        <a:pt x="2349" y="153"/>
                      </a:lnTo>
                      <a:lnTo>
                        <a:pt x="2357" y="161"/>
                      </a:lnTo>
                      <a:lnTo>
                        <a:pt x="2371" y="174"/>
                      </a:lnTo>
                      <a:lnTo>
                        <a:pt x="2385" y="174"/>
                      </a:lnTo>
                      <a:lnTo>
                        <a:pt x="2387" y="171"/>
                      </a:lnTo>
                      <a:lnTo>
                        <a:pt x="2390" y="166"/>
                      </a:lnTo>
                      <a:lnTo>
                        <a:pt x="2396" y="163"/>
                      </a:lnTo>
                      <a:lnTo>
                        <a:pt x="2399" y="158"/>
                      </a:lnTo>
                      <a:lnTo>
                        <a:pt x="2396" y="146"/>
                      </a:lnTo>
                      <a:lnTo>
                        <a:pt x="2407" y="144"/>
                      </a:lnTo>
                      <a:lnTo>
                        <a:pt x="2418" y="135"/>
                      </a:lnTo>
                      <a:lnTo>
                        <a:pt x="2426" y="125"/>
                      </a:lnTo>
                      <a:lnTo>
                        <a:pt x="2429" y="122"/>
                      </a:lnTo>
                      <a:lnTo>
                        <a:pt x="2435" y="117"/>
                      </a:lnTo>
                      <a:lnTo>
                        <a:pt x="2448" y="89"/>
                      </a:lnTo>
                      <a:lnTo>
                        <a:pt x="2454" y="86"/>
                      </a:lnTo>
                      <a:lnTo>
                        <a:pt x="2462" y="86"/>
                      </a:lnTo>
                      <a:lnTo>
                        <a:pt x="2481" y="94"/>
                      </a:lnTo>
                      <a:lnTo>
                        <a:pt x="2501" y="94"/>
                      </a:lnTo>
                      <a:lnTo>
                        <a:pt x="2515" y="94"/>
                      </a:lnTo>
                      <a:lnTo>
                        <a:pt x="2520" y="89"/>
                      </a:lnTo>
                      <a:lnTo>
                        <a:pt x="2528" y="67"/>
                      </a:lnTo>
                      <a:lnTo>
                        <a:pt x="2540" y="58"/>
                      </a:lnTo>
                      <a:lnTo>
                        <a:pt x="2542" y="45"/>
                      </a:lnTo>
                      <a:lnTo>
                        <a:pt x="2548" y="36"/>
                      </a:lnTo>
                      <a:lnTo>
                        <a:pt x="2553" y="31"/>
                      </a:lnTo>
                      <a:lnTo>
                        <a:pt x="2584" y="17"/>
                      </a:lnTo>
                      <a:lnTo>
                        <a:pt x="2589" y="6"/>
                      </a:lnTo>
                      <a:lnTo>
                        <a:pt x="2592" y="0"/>
                      </a:lnTo>
                      <a:lnTo>
                        <a:pt x="2600" y="0"/>
                      </a:lnTo>
                      <a:lnTo>
                        <a:pt x="2609" y="0"/>
                      </a:lnTo>
                      <a:lnTo>
                        <a:pt x="2617" y="6"/>
                      </a:lnTo>
                      <a:lnTo>
                        <a:pt x="2627" y="17"/>
                      </a:lnTo>
                      <a:lnTo>
                        <a:pt x="2630" y="61"/>
                      </a:lnTo>
                      <a:lnTo>
                        <a:pt x="2633" y="69"/>
                      </a:lnTo>
                      <a:lnTo>
                        <a:pt x="2633" y="92"/>
                      </a:lnTo>
                      <a:lnTo>
                        <a:pt x="2645" y="133"/>
                      </a:lnTo>
                      <a:lnTo>
                        <a:pt x="2650" y="150"/>
                      </a:lnTo>
                      <a:lnTo>
                        <a:pt x="2653" y="155"/>
                      </a:lnTo>
                      <a:lnTo>
                        <a:pt x="2666" y="163"/>
                      </a:lnTo>
                      <a:lnTo>
                        <a:pt x="2672" y="161"/>
                      </a:lnTo>
                      <a:lnTo>
                        <a:pt x="2694" y="163"/>
                      </a:lnTo>
                      <a:lnTo>
                        <a:pt x="2702" y="166"/>
                      </a:lnTo>
                      <a:lnTo>
                        <a:pt x="2711" y="177"/>
                      </a:lnTo>
                      <a:lnTo>
                        <a:pt x="2716" y="188"/>
                      </a:lnTo>
                      <a:lnTo>
                        <a:pt x="2719" y="199"/>
                      </a:lnTo>
                      <a:lnTo>
                        <a:pt x="2727" y="215"/>
                      </a:lnTo>
                      <a:lnTo>
                        <a:pt x="2724" y="227"/>
                      </a:lnTo>
                      <a:lnTo>
                        <a:pt x="2727" y="238"/>
                      </a:lnTo>
                      <a:lnTo>
                        <a:pt x="2730" y="246"/>
                      </a:lnTo>
                      <a:lnTo>
                        <a:pt x="2732" y="255"/>
                      </a:lnTo>
                      <a:lnTo>
                        <a:pt x="2735" y="312"/>
                      </a:lnTo>
                      <a:lnTo>
                        <a:pt x="2735" y="324"/>
                      </a:lnTo>
                      <a:lnTo>
                        <a:pt x="2738" y="337"/>
                      </a:lnTo>
                      <a:lnTo>
                        <a:pt x="2732" y="353"/>
                      </a:lnTo>
                      <a:lnTo>
                        <a:pt x="2730" y="386"/>
                      </a:lnTo>
                      <a:lnTo>
                        <a:pt x="2730" y="425"/>
                      </a:lnTo>
                      <a:lnTo>
                        <a:pt x="2732" y="437"/>
                      </a:lnTo>
                      <a:lnTo>
                        <a:pt x="2730" y="453"/>
                      </a:lnTo>
                      <a:lnTo>
                        <a:pt x="2824" y="425"/>
                      </a:lnTo>
                      <a:lnTo>
                        <a:pt x="2929" y="522"/>
                      </a:lnTo>
                      <a:lnTo>
                        <a:pt x="3044" y="624"/>
                      </a:lnTo>
                      <a:lnTo>
                        <a:pt x="3086" y="613"/>
                      </a:lnTo>
                      <a:lnTo>
                        <a:pt x="3097" y="616"/>
                      </a:lnTo>
                      <a:lnTo>
                        <a:pt x="3100" y="618"/>
                      </a:lnTo>
                      <a:lnTo>
                        <a:pt x="3105" y="624"/>
                      </a:lnTo>
                      <a:lnTo>
                        <a:pt x="3108" y="629"/>
                      </a:lnTo>
                      <a:lnTo>
                        <a:pt x="3110" y="629"/>
                      </a:lnTo>
                      <a:lnTo>
                        <a:pt x="3125" y="627"/>
                      </a:lnTo>
                      <a:lnTo>
                        <a:pt x="3128" y="621"/>
                      </a:lnTo>
                      <a:lnTo>
                        <a:pt x="3130" y="621"/>
                      </a:lnTo>
                      <a:lnTo>
                        <a:pt x="3136" y="624"/>
                      </a:lnTo>
                      <a:lnTo>
                        <a:pt x="3141" y="618"/>
                      </a:lnTo>
                      <a:lnTo>
                        <a:pt x="3141" y="616"/>
                      </a:lnTo>
                      <a:lnTo>
                        <a:pt x="3144" y="608"/>
                      </a:lnTo>
                      <a:lnTo>
                        <a:pt x="3144" y="605"/>
                      </a:lnTo>
                      <a:lnTo>
                        <a:pt x="3149" y="605"/>
                      </a:lnTo>
                      <a:lnTo>
                        <a:pt x="3158" y="601"/>
                      </a:lnTo>
                      <a:lnTo>
                        <a:pt x="3166" y="605"/>
                      </a:lnTo>
                      <a:lnTo>
                        <a:pt x="3171" y="605"/>
                      </a:lnTo>
                      <a:lnTo>
                        <a:pt x="3177" y="601"/>
                      </a:lnTo>
                      <a:lnTo>
                        <a:pt x="3179" y="601"/>
                      </a:lnTo>
                      <a:lnTo>
                        <a:pt x="3182" y="601"/>
                      </a:lnTo>
                      <a:lnTo>
                        <a:pt x="3185" y="601"/>
                      </a:lnTo>
                      <a:lnTo>
                        <a:pt x="3188" y="601"/>
                      </a:lnTo>
                      <a:lnTo>
                        <a:pt x="3188" y="596"/>
                      </a:lnTo>
                      <a:lnTo>
                        <a:pt x="3194" y="591"/>
                      </a:lnTo>
                      <a:lnTo>
                        <a:pt x="3194" y="583"/>
                      </a:lnTo>
                      <a:lnTo>
                        <a:pt x="3199" y="580"/>
                      </a:lnTo>
                      <a:lnTo>
                        <a:pt x="3199" y="572"/>
                      </a:lnTo>
                      <a:lnTo>
                        <a:pt x="3202" y="569"/>
                      </a:lnTo>
                      <a:lnTo>
                        <a:pt x="3210" y="569"/>
                      </a:lnTo>
                      <a:lnTo>
                        <a:pt x="3213" y="572"/>
                      </a:lnTo>
                      <a:lnTo>
                        <a:pt x="3215" y="566"/>
                      </a:lnTo>
                      <a:lnTo>
                        <a:pt x="3222" y="563"/>
                      </a:lnTo>
                      <a:lnTo>
                        <a:pt x="3224" y="555"/>
                      </a:lnTo>
                      <a:lnTo>
                        <a:pt x="3222" y="549"/>
                      </a:lnTo>
                      <a:lnTo>
                        <a:pt x="3230" y="552"/>
                      </a:lnTo>
                      <a:lnTo>
                        <a:pt x="3240" y="547"/>
                      </a:lnTo>
                      <a:lnTo>
                        <a:pt x="3248" y="541"/>
                      </a:lnTo>
                      <a:lnTo>
                        <a:pt x="3251" y="544"/>
                      </a:lnTo>
                      <a:lnTo>
                        <a:pt x="3258" y="541"/>
                      </a:lnTo>
                      <a:lnTo>
                        <a:pt x="3260" y="539"/>
                      </a:lnTo>
                      <a:lnTo>
                        <a:pt x="3263" y="536"/>
                      </a:lnTo>
                      <a:lnTo>
                        <a:pt x="3266" y="539"/>
                      </a:lnTo>
                      <a:lnTo>
                        <a:pt x="3268" y="536"/>
                      </a:lnTo>
                      <a:lnTo>
                        <a:pt x="3271" y="530"/>
                      </a:lnTo>
                      <a:lnTo>
                        <a:pt x="3274" y="530"/>
                      </a:lnTo>
                      <a:lnTo>
                        <a:pt x="3279" y="522"/>
                      </a:lnTo>
                      <a:lnTo>
                        <a:pt x="3284" y="522"/>
                      </a:lnTo>
                      <a:lnTo>
                        <a:pt x="3291" y="522"/>
                      </a:lnTo>
                      <a:lnTo>
                        <a:pt x="3293" y="522"/>
                      </a:lnTo>
                      <a:lnTo>
                        <a:pt x="3296" y="519"/>
                      </a:lnTo>
                      <a:lnTo>
                        <a:pt x="3299" y="522"/>
                      </a:lnTo>
                      <a:lnTo>
                        <a:pt x="3301" y="524"/>
                      </a:lnTo>
                      <a:lnTo>
                        <a:pt x="3304" y="527"/>
                      </a:lnTo>
                      <a:lnTo>
                        <a:pt x="3307" y="522"/>
                      </a:lnTo>
                      <a:lnTo>
                        <a:pt x="3315" y="516"/>
                      </a:lnTo>
                      <a:lnTo>
                        <a:pt x="3327" y="527"/>
                      </a:lnTo>
                      <a:lnTo>
                        <a:pt x="3324" y="519"/>
                      </a:lnTo>
                      <a:lnTo>
                        <a:pt x="3329" y="519"/>
                      </a:lnTo>
                      <a:lnTo>
                        <a:pt x="3332" y="516"/>
                      </a:lnTo>
                      <a:lnTo>
                        <a:pt x="3332" y="519"/>
                      </a:lnTo>
                      <a:lnTo>
                        <a:pt x="3340" y="522"/>
                      </a:lnTo>
                      <a:lnTo>
                        <a:pt x="3343" y="519"/>
                      </a:lnTo>
                      <a:lnTo>
                        <a:pt x="3345" y="527"/>
                      </a:lnTo>
                      <a:lnTo>
                        <a:pt x="3348" y="524"/>
                      </a:lnTo>
                      <a:lnTo>
                        <a:pt x="3353" y="524"/>
                      </a:lnTo>
                      <a:lnTo>
                        <a:pt x="3351" y="527"/>
                      </a:lnTo>
                      <a:lnTo>
                        <a:pt x="3353" y="533"/>
                      </a:lnTo>
                      <a:lnTo>
                        <a:pt x="3360" y="533"/>
                      </a:lnTo>
                      <a:lnTo>
                        <a:pt x="3362" y="539"/>
                      </a:lnTo>
                      <a:lnTo>
                        <a:pt x="3365" y="541"/>
                      </a:lnTo>
                      <a:lnTo>
                        <a:pt x="3362" y="544"/>
                      </a:lnTo>
                      <a:lnTo>
                        <a:pt x="3368" y="549"/>
                      </a:lnTo>
                      <a:lnTo>
                        <a:pt x="3368" y="552"/>
                      </a:lnTo>
                      <a:lnTo>
                        <a:pt x="3373" y="558"/>
                      </a:lnTo>
                      <a:lnTo>
                        <a:pt x="3370" y="566"/>
                      </a:lnTo>
                      <a:lnTo>
                        <a:pt x="3370" y="569"/>
                      </a:lnTo>
                      <a:lnTo>
                        <a:pt x="3378" y="569"/>
                      </a:lnTo>
                      <a:lnTo>
                        <a:pt x="3378" y="572"/>
                      </a:lnTo>
                      <a:lnTo>
                        <a:pt x="3373" y="577"/>
                      </a:lnTo>
                      <a:lnTo>
                        <a:pt x="3376" y="588"/>
                      </a:lnTo>
                      <a:lnTo>
                        <a:pt x="3373" y="588"/>
                      </a:lnTo>
                      <a:lnTo>
                        <a:pt x="3370" y="591"/>
                      </a:lnTo>
                      <a:lnTo>
                        <a:pt x="3368" y="588"/>
                      </a:lnTo>
                      <a:lnTo>
                        <a:pt x="3365" y="591"/>
                      </a:lnTo>
                      <a:lnTo>
                        <a:pt x="3368" y="596"/>
                      </a:lnTo>
                      <a:lnTo>
                        <a:pt x="3365" y="605"/>
                      </a:lnTo>
                      <a:lnTo>
                        <a:pt x="3360" y="605"/>
                      </a:lnTo>
                      <a:lnTo>
                        <a:pt x="3360" y="608"/>
                      </a:lnTo>
                      <a:lnTo>
                        <a:pt x="3356" y="616"/>
                      </a:lnTo>
                      <a:lnTo>
                        <a:pt x="3353" y="616"/>
                      </a:lnTo>
                      <a:lnTo>
                        <a:pt x="3345" y="621"/>
                      </a:lnTo>
                      <a:lnTo>
                        <a:pt x="3345" y="629"/>
                      </a:lnTo>
                      <a:lnTo>
                        <a:pt x="3340" y="638"/>
                      </a:lnTo>
                      <a:lnTo>
                        <a:pt x="3343" y="641"/>
                      </a:lnTo>
                      <a:lnTo>
                        <a:pt x="3345" y="644"/>
                      </a:lnTo>
                      <a:lnTo>
                        <a:pt x="3351" y="657"/>
                      </a:lnTo>
                      <a:lnTo>
                        <a:pt x="3353" y="660"/>
                      </a:lnTo>
                      <a:lnTo>
                        <a:pt x="3353" y="665"/>
                      </a:lnTo>
                      <a:lnTo>
                        <a:pt x="3356" y="665"/>
                      </a:lnTo>
                      <a:lnTo>
                        <a:pt x="3360" y="668"/>
                      </a:lnTo>
                      <a:lnTo>
                        <a:pt x="3365" y="660"/>
                      </a:lnTo>
                      <a:lnTo>
                        <a:pt x="3376" y="660"/>
                      </a:lnTo>
                      <a:lnTo>
                        <a:pt x="3378" y="657"/>
                      </a:lnTo>
                      <a:lnTo>
                        <a:pt x="3381" y="657"/>
                      </a:lnTo>
                      <a:lnTo>
                        <a:pt x="3384" y="654"/>
                      </a:lnTo>
                      <a:lnTo>
                        <a:pt x="3386" y="654"/>
                      </a:lnTo>
                      <a:lnTo>
                        <a:pt x="3396" y="654"/>
                      </a:lnTo>
                      <a:lnTo>
                        <a:pt x="3401" y="652"/>
                      </a:lnTo>
                      <a:lnTo>
                        <a:pt x="3401" y="649"/>
                      </a:lnTo>
                      <a:lnTo>
                        <a:pt x="3406" y="644"/>
                      </a:lnTo>
                      <a:lnTo>
                        <a:pt x="3409" y="635"/>
                      </a:lnTo>
                      <a:lnTo>
                        <a:pt x="3412" y="632"/>
                      </a:lnTo>
                      <a:lnTo>
                        <a:pt x="3412" y="627"/>
                      </a:lnTo>
                      <a:lnTo>
                        <a:pt x="3412" y="624"/>
                      </a:lnTo>
                      <a:lnTo>
                        <a:pt x="3417" y="627"/>
                      </a:lnTo>
                      <a:lnTo>
                        <a:pt x="3420" y="624"/>
                      </a:lnTo>
                      <a:lnTo>
                        <a:pt x="3417" y="618"/>
                      </a:lnTo>
                      <a:lnTo>
                        <a:pt x="3420" y="616"/>
                      </a:lnTo>
                      <a:lnTo>
                        <a:pt x="3417" y="613"/>
                      </a:lnTo>
                      <a:lnTo>
                        <a:pt x="3417" y="610"/>
                      </a:lnTo>
                      <a:lnTo>
                        <a:pt x="3412" y="599"/>
                      </a:lnTo>
                      <a:lnTo>
                        <a:pt x="3417" y="596"/>
                      </a:lnTo>
                      <a:lnTo>
                        <a:pt x="3420" y="588"/>
                      </a:lnTo>
                      <a:lnTo>
                        <a:pt x="3422" y="585"/>
                      </a:lnTo>
                      <a:lnTo>
                        <a:pt x="3425" y="585"/>
                      </a:lnTo>
                      <a:lnTo>
                        <a:pt x="3429" y="580"/>
                      </a:lnTo>
                      <a:lnTo>
                        <a:pt x="3437" y="575"/>
                      </a:lnTo>
                      <a:lnTo>
                        <a:pt x="3434" y="572"/>
                      </a:lnTo>
                      <a:lnTo>
                        <a:pt x="3439" y="566"/>
                      </a:lnTo>
                      <a:lnTo>
                        <a:pt x="3445" y="549"/>
                      </a:lnTo>
                      <a:lnTo>
                        <a:pt x="3447" y="552"/>
                      </a:lnTo>
                      <a:lnTo>
                        <a:pt x="3455" y="547"/>
                      </a:lnTo>
                      <a:lnTo>
                        <a:pt x="3467" y="547"/>
                      </a:lnTo>
                      <a:lnTo>
                        <a:pt x="3470" y="547"/>
                      </a:lnTo>
                      <a:lnTo>
                        <a:pt x="3473" y="549"/>
                      </a:lnTo>
                      <a:lnTo>
                        <a:pt x="3470" y="552"/>
                      </a:lnTo>
                      <a:lnTo>
                        <a:pt x="3473" y="555"/>
                      </a:lnTo>
                      <a:lnTo>
                        <a:pt x="3475" y="552"/>
                      </a:lnTo>
                      <a:lnTo>
                        <a:pt x="3481" y="555"/>
                      </a:lnTo>
                      <a:lnTo>
                        <a:pt x="3489" y="552"/>
                      </a:lnTo>
                      <a:lnTo>
                        <a:pt x="3494" y="552"/>
                      </a:lnTo>
                      <a:lnTo>
                        <a:pt x="3498" y="558"/>
                      </a:lnTo>
                      <a:lnTo>
                        <a:pt x="3494" y="560"/>
                      </a:lnTo>
                      <a:lnTo>
                        <a:pt x="3500" y="560"/>
                      </a:lnTo>
                      <a:lnTo>
                        <a:pt x="3506" y="555"/>
                      </a:lnTo>
                      <a:lnTo>
                        <a:pt x="3511" y="544"/>
                      </a:lnTo>
                      <a:lnTo>
                        <a:pt x="3514" y="530"/>
                      </a:lnTo>
                      <a:lnTo>
                        <a:pt x="3516" y="527"/>
                      </a:lnTo>
                      <a:lnTo>
                        <a:pt x="3519" y="519"/>
                      </a:lnTo>
                      <a:lnTo>
                        <a:pt x="3511" y="516"/>
                      </a:lnTo>
                      <a:lnTo>
                        <a:pt x="3511" y="514"/>
                      </a:lnTo>
                      <a:lnTo>
                        <a:pt x="3511" y="511"/>
                      </a:lnTo>
                      <a:lnTo>
                        <a:pt x="3514" y="508"/>
                      </a:lnTo>
                      <a:lnTo>
                        <a:pt x="3516" y="498"/>
                      </a:lnTo>
                      <a:lnTo>
                        <a:pt x="3516" y="486"/>
                      </a:lnTo>
                      <a:lnTo>
                        <a:pt x="3519" y="478"/>
                      </a:lnTo>
                      <a:lnTo>
                        <a:pt x="3516" y="470"/>
                      </a:lnTo>
                      <a:lnTo>
                        <a:pt x="3522" y="470"/>
                      </a:lnTo>
                      <a:lnTo>
                        <a:pt x="3531" y="467"/>
                      </a:lnTo>
                      <a:lnTo>
                        <a:pt x="3531" y="461"/>
                      </a:lnTo>
                      <a:lnTo>
                        <a:pt x="3539" y="455"/>
                      </a:lnTo>
                      <a:lnTo>
                        <a:pt x="3544" y="461"/>
                      </a:lnTo>
                      <a:lnTo>
                        <a:pt x="3547" y="461"/>
                      </a:lnTo>
                      <a:lnTo>
                        <a:pt x="3550" y="458"/>
                      </a:lnTo>
                      <a:lnTo>
                        <a:pt x="3555" y="464"/>
                      </a:lnTo>
                      <a:lnTo>
                        <a:pt x="3552" y="472"/>
                      </a:lnTo>
                      <a:lnTo>
                        <a:pt x="3555" y="475"/>
                      </a:lnTo>
                      <a:lnTo>
                        <a:pt x="3560" y="472"/>
                      </a:lnTo>
                      <a:lnTo>
                        <a:pt x="3572" y="475"/>
                      </a:lnTo>
                      <a:lnTo>
                        <a:pt x="3572" y="470"/>
                      </a:lnTo>
                      <a:lnTo>
                        <a:pt x="3577" y="467"/>
                      </a:lnTo>
                      <a:lnTo>
                        <a:pt x="3583" y="458"/>
                      </a:lnTo>
                      <a:lnTo>
                        <a:pt x="3591" y="450"/>
                      </a:lnTo>
                      <a:lnTo>
                        <a:pt x="3596" y="442"/>
                      </a:lnTo>
                      <a:lnTo>
                        <a:pt x="3593" y="439"/>
                      </a:lnTo>
                      <a:lnTo>
                        <a:pt x="3591" y="431"/>
                      </a:lnTo>
                      <a:lnTo>
                        <a:pt x="3596" y="425"/>
                      </a:lnTo>
                      <a:lnTo>
                        <a:pt x="3600" y="425"/>
                      </a:lnTo>
                      <a:lnTo>
                        <a:pt x="3602" y="429"/>
                      </a:lnTo>
                      <a:lnTo>
                        <a:pt x="3602" y="431"/>
                      </a:lnTo>
                      <a:lnTo>
                        <a:pt x="3605" y="434"/>
                      </a:lnTo>
                      <a:lnTo>
                        <a:pt x="3611" y="431"/>
                      </a:lnTo>
                      <a:lnTo>
                        <a:pt x="3613" y="425"/>
                      </a:lnTo>
                      <a:lnTo>
                        <a:pt x="3619" y="420"/>
                      </a:lnTo>
                      <a:lnTo>
                        <a:pt x="3616" y="417"/>
                      </a:lnTo>
                      <a:lnTo>
                        <a:pt x="3621" y="417"/>
                      </a:lnTo>
                      <a:lnTo>
                        <a:pt x="3624" y="417"/>
                      </a:lnTo>
                      <a:lnTo>
                        <a:pt x="3624" y="425"/>
                      </a:lnTo>
                      <a:lnTo>
                        <a:pt x="3629" y="425"/>
                      </a:lnTo>
                      <a:lnTo>
                        <a:pt x="3633" y="425"/>
                      </a:lnTo>
                      <a:lnTo>
                        <a:pt x="3633" y="420"/>
                      </a:lnTo>
                      <a:lnTo>
                        <a:pt x="3638" y="412"/>
                      </a:lnTo>
                      <a:lnTo>
                        <a:pt x="3636" y="409"/>
                      </a:lnTo>
                      <a:lnTo>
                        <a:pt x="3652" y="398"/>
                      </a:lnTo>
                      <a:lnTo>
                        <a:pt x="3657" y="389"/>
                      </a:lnTo>
                      <a:lnTo>
                        <a:pt x="3660" y="393"/>
                      </a:lnTo>
                      <a:lnTo>
                        <a:pt x="3665" y="403"/>
                      </a:lnTo>
                      <a:lnTo>
                        <a:pt x="3662" y="406"/>
                      </a:lnTo>
                      <a:lnTo>
                        <a:pt x="3662" y="409"/>
                      </a:lnTo>
                      <a:lnTo>
                        <a:pt x="3669" y="414"/>
                      </a:lnTo>
                      <a:lnTo>
                        <a:pt x="3677" y="425"/>
                      </a:lnTo>
                      <a:lnTo>
                        <a:pt x="3680" y="429"/>
                      </a:lnTo>
                      <a:lnTo>
                        <a:pt x="3682" y="429"/>
                      </a:lnTo>
                      <a:lnTo>
                        <a:pt x="3693" y="422"/>
                      </a:lnTo>
                      <a:lnTo>
                        <a:pt x="3693" y="417"/>
                      </a:lnTo>
                      <a:lnTo>
                        <a:pt x="3696" y="417"/>
                      </a:lnTo>
                      <a:lnTo>
                        <a:pt x="3698" y="409"/>
                      </a:lnTo>
                      <a:lnTo>
                        <a:pt x="3698" y="406"/>
                      </a:lnTo>
                      <a:lnTo>
                        <a:pt x="3698" y="403"/>
                      </a:lnTo>
                      <a:lnTo>
                        <a:pt x="3702" y="401"/>
                      </a:lnTo>
                      <a:lnTo>
                        <a:pt x="3707" y="403"/>
                      </a:lnTo>
                      <a:lnTo>
                        <a:pt x="3710" y="403"/>
                      </a:lnTo>
                      <a:lnTo>
                        <a:pt x="3715" y="401"/>
                      </a:lnTo>
                      <a:lnTo>
                        <a:pt x="3718" y="401"/>
                      </a:lnTo>
                      <a:lnTo>
                        <a:pt x="3723" y="395"/>
                      </a:lnTo>
                      <a:lnTo>
                        <a:pt x="3729" y="386"/>
                      </a:lnTo>
                      <a:lnTo>
                        <a:pt x="3731" y="386"/>
                      </a:lnTo>
                      <a:lnTo>
                        <a:pt x="3738" y="381"/>
                      </a:lnTo>
                      <a:lnTo>
                        <a:pt x="3746" y="381"/>
                      </a:lnTo>
                      <a:lnTo>
                        <a:pt x="3751" y="373"/>
                      </a:lnTo>
                      <a:lnTo>
                        <a:pt x="3749" y="373"/>
                      </a:lnTo>
                      <a:lnTo>
                        <a:pt x="3751" y="368"/>
                      </a:lnTo>
                      <a:lnTo>
                        <a:pt x="3749" y="365"/>
                      </a:lnTo>
                      <a:lnTo>
                        <a:pt x="3754" y="362"/>
                      </a:lnTo>
                      <a:lnTo>
                        <a:pt x="3762" y="348"/>
                      </a:lnTo>
                      <a:lnTo>
                        <a:pt x="3771" y="343"/>
                      </a:lnTo>
                      <a:lnTo>
                        <a:pt x="3771" y="340"/>
                      </a:lnTo>
                      <a:lnTo>
                        <a:pt x="3771" y="337"/>
                      </a:lnTo>
                      <a:lnTo>
                        <a:pt x="3774" y="340"/>
                      </a:lnTo>
                      <a:lnTo>
                        <a:pt x="3782" y="337"/>
                      </a:lnTo>
                      <a:lnTo>
                        <a:pt x="3787" y="332"/>
                      </a:lnTo>
                      <a:lnTo>
                        <a:pt x="3792" y="326"/>
                      </a:lnTo>
                      <a:lnTo>
                        <a:pt x="3800" y="320"/>
                      </a:lnTo>
                      <a:lnTo>
                        <a:pt x="3803" y="324"/>
                      </a:lnTo>
                      <a:lnTo>
                        <a:pt x="3807" y="324"/>
                      </a:lnTo>
                      <a:lnTo>
                        <a:pt x="3815" y="317"/>
                      </a:lnTo>
                      <a:lnTo>
                        <a:pt x="3815" y="315"/>
                      </a:lnTo>
                      <a:lnTo>
                        <a:pt x="3820" y="309"/>
                      </a:lnTo>
                      <a:lnTo>
                        <a:pt x="3820" y="307"/>
                      </a:lnTo>
                      <a:lnTo>
                        <a:pt x="3826" y="301"/>
                      </a:lnTo>
                      <a:lnTo>
                        <a:pt x="3831" y="304"/>
                      </a:lnTo>
                      <a:lnTo>
                        <a:pt x="3834" y="304"/>
                      </a:lnTo>
                      <a:lnTo>
                        <a:pt x="3843" y="304"/>
                      </a:lnTo>
                      <a:lnTo>
                        <a:pt x="3845" y="312"/>
                      </a:lnTo>
                      <a:lnTo>
                        <a:pt x="3840" y="320"/>
                      </a:lnTo>
                      <a:lnTo>
                        <a:pt x="3831" y="329"/>
                      </a:lnTo>
                      <a:lnTo>
                        <a:pt x="3834" y="332"/>
                      </a:lnTo>
                      <a:lnTo>
                        <a:pt x="3831" y="334"/>
                      </a:lnTo>
                      <a:lnTo>
                        <a:pt x="3826" y="345"/>
                      </a:lnTo>
                      <a:lnTo>
                        <a:pt x="3826" y="348"/>
                      </a:lnTo>
                      <a:lnTo>
                        <a:pt x="3823" y="356"/>
                      </a:lnTo>
                      <a:lnTo>
                        <a:pt x="3826" y="360"/>
                      </a:lnTo>
                      <a:lnTo>
                        <a:pt x="3831" y="360"/>
                      </a:lnTo>
                      <a:lnTo>
                        <a:pt x="3840" y="360"/>
                      </a:lnTo>
                      <a:lnTo>
                        <a:pt x="3843" y="362"/>
                      </a:lnTo>
                      <a:lnTo>
                        <a:pt x="3845" y="368"/>
                      </a:lnTo>
                      <a:lnTo>
                        <a:pt x="3848" y="370"/>
                      </a:lnTo>
                      <a:lnTo>
                        <a:pt x="3851" y="368"/>
                      </a:lnTo>
                      <a:lnTo>
                        <a:pt x="3848" y="365"/>
                      </a:lnTo>
                      <a:lnTo>
                        <a:pt x="3848" y="362"/>
                      </a:lnTo>
                      <a:lnTo>
                        <a:pt x="3848" y="360"/>
                      </a:lnTo>
                      <a:lnTo>
                        <a:pt x="3853" y="356"/>
                      </a:lnTo>
                      <a:lnTo>
                        <a:pt x="3853" y="353"/>
                      </a:lnTo>
                      <a:lnTo>
                        <a:pt x="3853" y="351"/>
                      </a:lnTo>
                      <a:lnTo>
                        <a:pt x="3853" y="345"/>
                      </a:lnTo>
                      <a:lnTo>
                        <a:pt x="3853" y="340"/>
                      </a:lnTo>
                      <a:lnTo>
                        <a:pt x="3856" y="337"/>
                      </a:lnTo>
                      <a:lnTo>
                        <a:pt x="3859" y="334"/>
                      </a:lnTo>
                      <a:lnTo>
                        <a:pt x="3859" y="332"/>
                      </a:lnTo>
                      <a:lnTo>
                        <a:pt x="3861" y="329"/>
                      </a:lnTo>
                      <a:lnTo>
                        <a:pt x="3864" y="326"/>
                      </a:lnTo>
                      <a:lnTo>
                        <a:pt x="3872" y="320"/>
                      </a:lnTo>
                      <a:lnTo>
                        <a:pt x="3872" y="317"/>
                      </a:lnTo>
                      <a:lnTo>
                        <a:pt x="3879" y="317"/>
                      </a:lnTo>
                      <a:lnTo>
                        <a:pt x="3881" y="312"/>
                      </a:lnTo>
                      <a:lnTo>
                        <a:pt x="3887" y="309"/>
                      </a:lnTo>
                      <a:lnTo>
                        <a:pt x="3889" y="307"/>
                      </a:lnTo>
                      <a:lnTo>
                        <a:pt x="3895" y="309"/>
                      </a:lnTo>
                      <a:lnTo>
                        <a:pt x="3897" y="309"/>
                      </a:lnTo>
                      <a:lnTo>
                        <a:pt x="3905" y="301"/>
                      </a:lnTo>
                      <a:lnTo>
                        <a:pt x="3909" y="296"/>
                      </a:lnTo>
                      <a:lnTo>
                        <a:pt x="3914" y="287"/>
                      </a:lnTo>
                      <a:lnTo>
                        <a:pt x="3914" y="281"/>
                      </a:lnTo>
                      <a:lnTo>
                        <a:pt x="3917" y="281"/>
                      </a:lnTo>
                      <a:lnTo>
                        <a:pt x="3922" y="281"/>
                      </a:lnTo>
                      <a:lnTo>
                        <a:pt x="3928" y="279"/>
                      </a:lnTo>
                      <a:lnTo>
                        <a:pt x="3930" y="279"/>
                      </a:lnTo>
                      <a:lnTo>
                        <a:pt x="3936" y="279"/>
                      </a:lnTo>
                      <a:lnTo>
                        <a:pt x="3941" y="276"/>
                      </a:lnTo>
                      <a:lnTo>
                        <a:pt x="3941" y="268"/>
                      </a:lnTo>
                      <a:lnTo>
                        <a:pt x="3947" y="263"/>
                      </a:lnTo>
                      <a:lnTo>
                        <a:pt x="3950" y="255"/>
                      </a:lnTo>
                      <a:lnTo>
                        <a:pt x="3956" y="248"/>
                      </a:lnTo>
                      <a:lnTo>
                        <a:pt x="3958" y="238"/>
                      </a:lnTo>
                      <a:lnTo>
                        <a:pt x="3958" y="235"/>
                      </a:lnTo>
                      <a:lnTo>
                        <a:pt x="3961" y="227"/>
                      </a:lnTo>
                      <a:lnTo>
                        <a:pt x="3958" y="227"/>
                      </a:lnTo>
                      <a:lnTo>
                        <a:pt x="3956" y="219"/>
                      </a:lnTo>
                      <a:lnTo>
                        <a:pt x="3958" y="215"/>
                      </a:lnTo>
                      <a:lnTo>
                        <a:pt x="3958" y="213"/>
                      </a:lnTo>
                      <a:lnTo>
                        <a:pt x="3958" y="207"/>
                      </a:lnTo>
                      <a:lnTo>
                        <a:pt x="3956" y="207"/>
                      </a:lnTo>
                      <a:lnTo>
                        <a:pt x="3956" y="204"/>
                      </a:lnTo>
                      <a:lnTo>
                        <a:pt x="3961" y="191"/>
                      </a:lnTo>
                      <a:lnTo>
                        <a:pt x="3961" y="186"/>
                      </a:lnTo>
                      <a:lnTo>
                        <a:pt x="3964" y="182"/>
                      </a:lnTo>
                      <a:lnTo>
                        <a:pt x="3961" y="177"/>
                      </a:lnTo>
                      <a:lnTo>
                        <a:pt x="3964" y="177"/>
                      </a:lnTo>
                      <a:lnTo>
                        <a:pt x="3964" y="169"/>
                      </a:lnTo>
                      <a:lnTo>
                        <a:pt x="3958" y="169"/>
                      </a:lnTo>
                      <a:lnTo>
                        <a:pt x="3958" y="166"/>
                      </a:lnTo>
                      <a:lnTo>
                        <a:pt x="3961" y="153"/>
                      </a:lnTo>
                      <a:lnTo>
                        <a:pt x="3961" y="146"/>
                      </a:lnTo>
                      <a:lnTo>
                        <a:pt x="3961" y="138"/>
                      </a:lnTo>
                      <a:lnTo>
                        <a:pt x="3961" y="133"/>
                      </a:lnTo>
                      <a:lnTo>
                        <a:pt x="3966" y="130"/>
                      </a:lnTo>
                      <a:lnTo>
                        <a:pt x="3969" y="127"/>
                      </a:lnTo>
                      <a:lnTo>
                        <a:pt x="3978" y="125"/>
                      </a:lnTo>
                      <a:lnTo>
                        <a:pt x="3978" y="119"/>
                      </a:lnTo>
                      <a:lnTo>
                        <a:pt x="3981" y="119"/>
                      </a:lnTo>
                      <a:lnTo>
                        <a:pt x="3986" y="114"/>
                      </a:lnTo>
                      <a:lnTo>
                        <a:pt x="3989" y="110"/>
                      </a:lnTo>
                      <a:lnTo>
                        <a:pt x="3991" y="110"/>
                      </a:lnTo>
                      <a:lnTo>
                        <a:pt x="3997" y="105"/>
                      </a:lnTo>
                      <a:lnTo>
                        <a:pt x="3999" y="108"/>
                      </a:lnTo>
                      <a:lnTo>
                        <a:pt x="4002" y="105"/>
                      </a:lnTo>
                      <a:lnTo>
                        <a:pt x="4005" y="108"/>
                      </a:lnTo>
                      <a:lnTo>
                        <a:pt x="4011" y="108"/>
                      </a:lnTo>
                      <a:lnTo>
                        <a:pt x="4016" y="110"/>
                      </a:lnTo>
                      <a:lnTo>
                        <a:pt x="4025" y="105"/>
                      </a:lnTo>
                      <a:lnTo>
                        <a:pt x="4027" y="105"/>
                      </a:lnTo>
                      <a:lnTo>
                        <a:pt x="4030" y="108"/>
                      </a:lnTo>
                      <a:lnTo>
                        <a:pt x="4033" y="110"/>
                      </a:lnTo>
                      <a:lnTo>
                        <a:pt x="4047" y="110"/>
                      </a:lnTo>
                      <a:lnTo>
                        <a:pt x="4050" y="119"/>
                      </a:lnTo>
                      <a:lnTo>
                        <a:pt x="4055" y="117"/>
                      </a:lnTo>
                      <a:lnTo>
                        <a:pt x="4058" y="108"/>
                      </a:lnTo>
                      <a:lnTo>
                        <a:pt x="4068" y="108"/>
                      </a:lnTo>
                      <a:lnTo>
                        <a:pt x="4074" y="110"/>
                      </a:lnTo>
                      <a:lnTo>
                        <a:pt x="4076" y="108"/>
                      </a:lnTo>
                      <a:lnTo>
                        <a:pt x="4080" y="102"/>
                      </a:lnTo>
                      <a:lnTo>
                        <a:pt x="4083" y="102"/>
                      </a:lnTo>
                      <a:lnTo>
                        <a:pt x="4088" y="105"/>
                      </a:lnTo>
                      <a:lnTo>
                        <a:pt x="4091" y="102"/>
                      </a:lnTo>
                      <a:lnTo>
                        <a:pt x="4091" y="100"/>
                      </a:lnTo>
                      <a:lnTo>
                        <a:pt x="4093" y="97"/>
                      </a:lnTo>
                      <a:lnTo>
                        <a:pt x="4096" y="94"/>
                      </a:lnTo>
                      <a:lnTo>
                        <a:pt x="4096" y="92"/>
                      </a:lnTo>
                      <a:lnTo>
                        <a:pt x="4107" y="84"/>
                      </a:lnTo>
                      <a:lnTo>
                        <a:pt x="4110" y="86"/>
                      </a:lnTo>
                      <a:lnTo>
                        <a:pt x="4112" y="89"/>
                      </a:lnTo>
                      <a:lnTo>
                        <a:pt x="4110" y="94"/>
                      </a:lnTo>
                      <a:lnTo>
                        <a:pt x="4119" y="94"/>
                      </a:lnTo>
                      <a:lnTo>
                        <a:pt x="4121" y="97"/>
                      </a:lnTo>
                      <a:lnTo>
                        <a:pt x="4124" y="94"/>
                      </a:lnTo>
                      <a:lnTo>
                        <a:pt x="4124" y="89"/>
                      </a:lnTo>
                      <a:lnTo>
                        <a:pt x="4121" y="77"/>
                      </a:lnTo>
                      <a:lnTo>
                        <a:pt x="4124" y="75"/>
                      </a:lnTo>
                      <a:lnTo>
                        <a:pt x="4127" y="75"/>
                      </a:lnTo>
                      <a:lnTo>
                        <a:pt x="4129" y="75"/>
                      </a:lnTo>
                      <a:lnTo>
                        <a:pt x="4132" y="75"/>
                      </a:lnTo>
                      <a:lnTo>
                        <a:pt x="4137" y="67"/>
                      </a:lnTo>
                      <a:lnTo>
                        <a:pt x="4140" y="67"/>
                      </a:lnTo>
                      <a:lnTo>
                        <a:pt x="4140" y="64"/>
                      </a:lnTo>
                      <a:lnTo>
                        <a:pt x="4140" y="58"/>
                      </a:lnTo>
                      <a:lnTo>
                        <a:pt x="4145" y="58"/>
                      </a:lnTo>
                      <a:lnTo>
                        <a:pt x="4152" y="53"/>
                      </a:lnTo>
                      <a:lnTo>
                        <a:pt x="4154" y="53"/>
                      </a:lnTo>
                      <a:lnTo>
                        <a:pt x="4163" y="50"/>
                      </a:lnTo>
                      <a:lnTo>
                        <a:pt x="4165" y="48"/>
                      </a:lnTo>
                      <a:lnTo>
                        <a:pt x="4173" y="48"/>
                      </a:lnTo>
                      <a:lnTo>
                        <a:pt x="4185" y="53"/>
                      </a:lnTo>
                      <a:lnTo>
                        <a:pt x="4185" y="56"/>
                      </a:lnTo>
                      <a:lnTo>
                        <a:pt x="4193" y="56"/>
                      </a:lnTo>
                      <a:lnTo>
                        <a:pt x="4198" y="50"/>
                      </a:lnTo>
                      <a:lnTo>
                        <a:pt x="4201" y="45"/>
                      </a:lnTo>
                      <a:lnTo>
                        <a:pt x="4204" y="45"/>
                      </a:lnTo>
                      <a:lnTo>
                        <a:pt x="4212" y="50"/>
                      </a:lnTo>
                      <a:lnTo>
                        <a:pt x="4214" y="50"/>
                      </a:lnTo>
                      <a:lnTo>
                        <a:pt x="4218" y="48"/>
                      </a:lnTo>
                      <a:lnTo>
                        <a:pt x="4221" y="48"/>
                      </a:lnTo>
                      <a:lnTo>
                        <a:pt x="4229" y="41"/>
                      </a:lnTo>
                      <a:lnTo>
                        <a:pt x="4232" y="41"/>
                      </a:lnTo>
                      <a:lnTo>
                        <a:pt x="4232" y="36"/>
                      </a:lnTo>
                      <a:lnTo>
                        <a:pt x="4232" y="33"/>
                      </a:lnTo>
                      <a:lnTo>
                        <a:pt x="4234" y="25"/>
                      </a:lnTo>
                      <a:lnTo>
                        <a:pt x="4232" y="25"/>
                      </a:lnTo>
                      <a:lnTo>
                        <a:pt x="4232" y="20"/>
                      </a:lnTo>
                      <a:lnTo>
                        <a:pt x="4242" y="15"/>
                      </a:lnTo>
                      <a:lnTo>
                        <a:pt x="4245" y="20"/>
                      </a:lnTo>
                      <a:lnTo>
                        <a:pt x="4267" y="33"/>
                      </a:lnTo>
                      <a:lnTo>
                        <a:pt x="4278" y="39"/>
                      </a:lnTo>
                      <a:lnTo>
                        <a:pt x="4287" y="36"/>
                      </a:lnTo>
                      <a:lnTo>
                        <a:pt x="4314" y="28"/>
                      </a:lnTo>
                      <a:lnTo>
                        <a:pt x="4326" y="28"/>
                      </a:lnTo>
                      <a:lnTo>
                        <a:pt x="4328" y="31"/>
                      </a:lnTo>
                      <a:lnTo>
                        <a:pt x="4336" y="31"/>
                      </a:lnTo>
                      <a:lnTo>
                        <a:pt x="4336" y="36"/>
                      </a:lnTo>
                      <a:lnTo>
                        <a:pt x="4336" y="45"/>
                      </a:lnTo>
                      <a:lnTo>
                        <a:pt x="4339" y="53"/>
                      </a:lnTo>
                      <a:lnTo>
                        <a:pt x="4344" y="64"/>
                      </a:lnTo>
                      <a:lnTo>
                        <a:pt x="4350" y="69"/>
                      </a:lnTo>
                      <a:lnTo>
                        <a:pt x="4359" y="77"/>
                      </a:lnTo>
                      <a:lnTo>
                        <a:pt x="4364" y="86"/>
                      </a:lnTo>
                      <a:lnTo>
                        <a:pt x="4383" y="97"/>
                      </a:lnTo>
                      <a:lnTo>
                        <a:pt x="4400" y="94"/>
                      </a:lnTo>
                      <a:lnTo>
                        <a:pt x="4413" y="89"/>
                      </a:lnTo>
                      <a:lnTo>
                        <a:pt x="4425" y="92"/>
                      </a:lnTo>
                      <a:lnTo>
                        <a:pt x="4458" y="97"/>
                      </a:lnTo>
                      <a:lnTo>
                        <a:pt x="4464" y="97"/>
                      </a:lnTo>
                      <a:lnTo>
                        <a:pt x="4469" y="105"/>
                      </a:lnTo>
                      <a:lnTo>
                        <a:pt x="4469" y="108"/>
                      </a:lnTo>
                      <a:lnTo>
                        <a:pt x="4497" y="117"/>
                      </a:lnTo>
                      <a:lnTo>
                        <a:pt x="4505" y="122"/>
                      </a:lnTo>
                      <a:lnTo>
                        <a:pt x="4508" y="122"/>
                      </a:lnTo>
                      <a:lnTo>
                        <a:pt x="4513" y="127"/>
                      </a:lnTo>
                      <a:lnTo>
                        <a:pt x="4516" y="141"/>
                      </a:lnTo>
                      <a:lnTo>
                        <a:pt x="4513" y="155"/>
                      </a:lnTo>
                      <a:lnTo>
                        <a:pt x="4502" y="179"/>
                      </a:lnTo>
                      <a:lnTo>
                        <a:pt x="4505" y="224"/>
                      </a:lnTo>
                      <a:lnTo>
                        <a:pt x="4502" y="230"/>
                      </a:lnTo>
                      <a:lnTo>
                        <a:pt x="4490" y="238"/>
                      </a:lnTo>
                      <a:lnTo>
                        <a:pt x="4488" y="240"/>
                      </a:lnTo>
                      <a:lnTo>
                        <a:pt x="4485" y="246"/>
                      </a:lnTo>
                      <a:lnTo>
                        <a:pt x="4474" y="257"/>
                      </a:lnTo>
                      <a:lnTo>
                        <a:pt x="4472" y="268"/>
                      </a:lnTo>
                      <a:lnTo>
                        <a:pt x="4472" y="273"/>
                      </a:lnTo>
                      <a:lnTo>
                        <a:pt x="4472" y="276"/>
                      </a:lnTo>
                      <a:lnTo>
                        <a:pt x="4482" y="281"/>
                      </a:lnTo>
                      <a:lnTo>
                        <a:pt x="4490" y="293"/>
                      </a:lnTo>
                      <a:lnTo>
                        <a:pt x="4494" y="299"/>
                      </a:lnTo>
                      <a:lnTo>
                        <a:pt x="4499" y="301"/>
                      </a:lnTo>
                      <a:lnTo>
                        <a:pt x="4502" y="312"/>
                      </a:lnTo>
                      <a:lnTo>
                        <a:pt x="4508" y="317"/>
                      </a:lnTo>
                      <a:lnTo>
                        <a:pt x="4516" y="324"/>
                      </a:lnTo>
                      <a:lnTo>
                        <a:pt x="4524" y="332"/>
                      </a:lnTo>
                      <a:lnTo>
                        <a:pt x="4535" y="337"/>
                      </a:lnTo>
                      <a:lnTo>
                        <a:pt x="4538" y="337"/>
                      </a:lnTo>
                      <a:lnTo>
                        <a:pt x="4541" y="340"/>
                      </a:lnTo>
                      <a:lnTo>
                        <a:pt x="4546" y="353"/>
                      </a:lnTo>
                      <a:lnTo>
                        <a:pt x="4546" y="356"/>
                      </a:lnTo>
                      <a:lnTo>
                        <a:pt x="4543" y="362"/>
                      </a:lnTo>
                      <a:lnTo>
                        <a:pt x="4546" y="370"/>
                      </a:lnTo>
                      <a:lnTo>
                        <a:pt x="4551" y="373"/>
                      </a:lnTo>
                      <a:lnTo>
                        <a:pt x="4559" y="414"/>
                      </a:lnTo>
                      <a:lnTo>
                        <a:pt x="4574" y="447"/>
                      </a:lnTo>
                      <a:lnTo>
                        <a:pt x="4576" y="470"/>
                      </a:lnTo>
                      <a:lnTo>
                        <a:pt x="4585" y="486"/>
                      </a:lnTo>
                      <a:lnTo>
                        <a:pt x="4587" y="486"/>
                      </a:lnTo>
                      <a:lnTo>
                        <a:pt x="4602" y="486"/>
                      </a:lnTo>
                      <a:lnTo>
                        <a:pt x="4604" y="486"/>
                      </a:lnTo>
                      <a:lnTo>
                        <a:pt x="4607" y="486"/>
                      </a:lnTo>
                      <a:lnTo>
                        <a:pt x="4607" y="489"/>
                      </a:lnTo>
                      <a:lnTo>
                        <a:pt x="4604" y="498"/>
                      </a:lnTo>
                      <a:lnTo>
                        <a:pt x="4604" y="503"/>
                      </a:lnTo>
                      <a:lnTo>
                        <a:pt x="4607" y="506"/>
                      </a:lnTo>
                      <a:lnTo>
                        <a:pt x="4604" y="511"/>
                      </a:lnTo>
                      <a:lnTo>
                        <a:pt x="4607" y="516"/>
                      </a:lnTo>
                      <a:lnTo>
                        <a:pt x="4612" y="524"/>
                      </a:lnTo>
                      <a:lnTo>
                        <a:pt x="4618" y="533"/>
                      </a:lnTo>
                      <a:lnTo>
                        <a:pt x="4618" y="539"/>
                      </a:lnTo>
                      <a:lnTo>
                        <a:pt x="4615" y="549"/>
                      </a:lnTo>
                      <a:lnTo>
                        <a:pt x="4607" y="558"/>
                      </a:lnTo>
                      <a:lnTo>
                        <a:pt x="4602" y="577"/>
                      </a:lnTo>
                      <a:lnTo>
                        <a:pt x="4604" y="588"/>
                      </a:lnTo>
                      <a:lnTo>
                        <a:pt x="4610" y="593"/>
                      </a:lnTo>
                      <a:lnTo>
                        <a:pt x="4612" y="596"/>
                      </a:lnTo>
                      <a:lnTo>
                        <a:pt x="4612" y="613"/>
                      </a:lnTo>
                      <a:lnTo>
                        <a:pt x="4610" y="616"/>
                      </a:lnTo>
                      <a:lnTo>
                        <a:pt x="4596" y="627"/>
                      </a:lnTo>
                      <a:lnTo>
                        <a:pt x="4585" y="644"/>
                      </a:lnTo>
                      <a:lnTo>
                        <a:pt x="4582" y="652"/>
                      </a:lnTo>
                      <a:lnTo>
                        <a:pt x="4579" y="657"/>
                      </a:lnTo>
                      <a:lnTo>
                        <a:pt x="4587" y="696"/>
                      </a:lnTo>
                      <a:lnTo>
                        <a:pt x="4585" y="713"/>
                      </a:lnTo>
                      <a:lnTo>
                        <a:pt x="4582" y="729"/>
                      </a:lnTo>
                      <a:lnTo>
                        <a:pt x="4587" y="737"/>
                      </a:lnTo>
                      <a:lnTo>
                        <a:pt x="4587" y="756"/>
                      </a:lnTo>
                      <a:lnTo>
                        <a:pt x="4593" y="756"/>
                      </a:lnTo>
                      <a:lnTo>
                        <a:pt x="4602" y="751"/>
                      </a:lnTo>
                      <a:lnTo>
                        <a:pt x="4610" y="762"/>
                      </a:lnTo>
                      <a:lnTo>
                        <a:pt x="4612" y="765"/>
                      </a:lnTo>
                      <a:lnTo>
                        <a:pt x="4615" y="775"/>
                      </a:lnTo>
                      <a:lnTo>
                        <a:pt x="4618" y="782"/>
                      </a:lnTo>
                      <a:lnTo>
                        <a:pt x="4615" y="784"/>
                      </a:lnTo>
                      <a:lnTo>
                        <a:pt x="4615" y="787"/>
                      </a:lnTo>
                      <a:lnTo>
                        <a:pt x="4612" y="792"/>
                      </a:lnTo>
                      <a:lnTo>
                        <a:pt x="4610" y="800"/>
                      </a:lnTo>
                      <a:lnTo>
                        <a:pt x="4612" y="808"/>
                      </a:lnTo>
                      <a:lnTo>
                        <a:pt x="4610" y="826"/>
                      </a:lnTo>
                      <a:lnTo>
                        <a:pt x="4615" y="839"/>
                      </a:lnTo>
                      <a:lnTo>
                        <a:pt x="4615" y="853"/>
                      </a:lnTo>
                      <a:lnTo>
                        <a:pt x="4620" y="859"/>
                      </a:lnTo>
                      <a:lnTo>
                        <a:pt x="4626" y="869"/>
                      </a:lnTo>
                      <a:lnTo>
                        <a:pt x="4626" y="880"/>
                      </a:lnTo>
                      <a:lnTo>
                        <a:pt x="4626" y="892"/>
                      </a:lnTo>
                      <a:lnTo>
                        <a:pt x="4626" y="903"/>
                      </a:lnTo>
                      <a:lnTo>
                        <a:pt x="4632" y="911"/>
                      </a:lnTo>
                      <a:lnTo>
                        <a:pt x="4640" y="917"/>
                      </a:lnTo>
                      <a:lnTo>
                        <a:pt x="4648" y="920"/>
                      </a:lnTo>
                      <a:lnTo>
                        <a:pt x="4651" y="925"/>
                      </a:lnTo>
                      <a:lnTo>
                        <a:pt x="4659" y="928"/>
                      </a:lnTo>
                      <a:lnTo>
                        <a:pt x="4668" y="953"/>
                      </a:lnTo>
                      <a:lnTo>
                        <a:pt x="4668" y="955"/>
                      </a:lnTo>
                      <a:lnTo>
                        <a:pt x="4668" y="958"/>
                      </a:lnTo>
                      <a:lnTo>
                        <a:pt x="4668" y="966"/>
                      </a:lnTo>
                      <a:lnTo>
                        <a:pt x="4665" y="966"/>
                      </a:lnTo>
                      <a:lnTo>
                        <a:pt x="4665" y="969"/>
                      </a:lnTo>
                      <a:lnTo>
                        <a:pt x="4668" y="972"/>
                      </a:lnTo>
                      <a:lnTo>
                        <a:pt x="4671" y="977"/>
                      </a:lnTo>
                      <a:lnTo>
                        <a:pt x="4671" y="982"/>
                      </a:lnTo>
                      <a:lnTo>
                        <a:pt x="4679" y="994"/>
                      </a:lnTo>
                      <a:lnTo>
                        <a:pt x="4681" y="999"/>
                      </a:lnTo>
                      <a:lnTo>
                        <a:pt x="4684" y="1005"/>
                      </a:lnTo>
                      <a:lnTo>
                        <a:pt x="4689" y="1010"/>
                      </a:lnTo>
                      <a:lnTo>
                        <a:pt x="4695" y="1010"/>
                      </a:lnTo>
                      <a:lnTo>
                        <a:pt x="4701" y="1013"/>
                      </a:lnTo>
                      <a:lnTo>
                        <a:pt x="4701" y="1015"/>
                      </a:lnTo>
                      <a:lnTo>
                        <a:pt x="4697" y="1022"/>
                      </a:lnTo>
                      <a:lnTo>
                        <a:pt x="4701" y="1030"/>
                      </a:lnTo>
                      <a:lnTo>
                        <a:pt x="4695" y="1032"/>
                      </a:lnTo>
                      <a:lnTo>
                        <a:pt x="4695" y="1041"/>
                      </a:lnTo>
                      <a:lnTo>
                        <a:pt x="4697" y="1046"/>
                      </a:lnTo>
                      <a:lnTo>
                        <a:pt x="4704" y="1046"/>
                      </a:lnTo>
                      <a:lnTo>
                        <a:pt x="4701" y="1051"/>
                      </a:lnTo>
                      <a:lnTo>
                        <a:pt x="4695" y="1054"/>
                      </a:lnTo>
                      <a:lnTo>
                        <a:pt x="4695" y="1058"/>
                      </a:lnTo>
                      <a:lnTo>
                        <a:pt x="4701" y="1066"/>
                      </a:lnTo>
                      <a:lnTo>
                        <a:pt x="4697" y="1068"/>
                      </a:lnTo>
                      <a:lnTo>
                        <a:pt x="4701" y="1071"/>
                      </a:lnTo>
                      <a:lnTo>
                        <a:pt x="4704" y="1074"/>
                      </a:lnTo>
                      <a:lnTo>
                        <a:pt x="4707" y="1074"/>
                      </a:lnTo>
                      <a:lnTo>
                        <a:pt x="4709" y="1071"/>
                      </a:lnTo>
                      <a:lnTo>
                        <a:pt x="4723" y="1079"/>
                      </a:lnTo>
                      <a:lnTo>
                        <a:pt x="4720" y="1082"/>
                      </a:lnTo>
                      <a:lnTo>
                        <a:pt x="4720" y="1093"/>
                      </a:lnTo>
                      <a:lnTo>
                        <a:pt x="4717" y="1096"/>
                      </a:lnTo>
                      <a:lnTo>
                        <a:pt x="4715" y="1099"/>
                      </a:lnTo>
                      <a:lnTo>
                        <a:pt x="4717" y="1107"/>
                      </a:lnTo>
                      <a:lnTo>
                        <a:pt x="4712" y="1109"/>
                      </a:lnTo>
                      <a:lnTo>
                        <a:pt x="4712" y="1112"/>
                      </a:lnTo>
                      <a:lnTo>
                        <a:pt x="4709" y="1112"/>
                      </a:lnTo>
                      <a:lnTo>
                        <a:pt x="4707" y="1120"/>
                      </a:lnTo>
                      <a:lnTo>
                        <a:pt x="4701" y="1123"/>
                      </a:lnTo>
                      <a:lnTo>
                        <a:pt x="4697" y="1127"/>
                      </a:lnTo>
                      <a:lnTo>
                        <a:pt x="4687" y="1132"/>
                      </a:lnTo>
                      <a:lnTo>
                        <a:pt x="4687" y="1137"/>
                      </a:lnTo>
                      <a:lnTo>
                        <a:pt x="4689" y="1137"/>
                      </a:lnTo>
                      <a:lnTo>
                        <a:pt x="4687" y="1143"/>
                      </a:lnTo>
                      <a:lnTo>
                        <a:pt x="4684" y="1140"/>
                      </a:lnTo>
                      <a:lnTo>
                        <a:pt x="4681" y="1143"/>
                      </a:lnTo>
                      <a:lnTo>
                        <a:pt x="4681" y="1148"/>
                      </a:lnTo>
                      <a:lnTo>
                        <a:pt x="4679" y="1153"/>
                      </a:lnTo>
                      <a:lnTo>
                        <a:pt x="4676" y="1153"/>
                      </a:lnTo>
                      <a:lnTo>
                        <a:pt x="4673" y="1156"/>
                      </a:lnTo>
                      <a:lnTo>
                        <a:pt x="4676" y="1165"/>
                      </a:lnTo>
                      <a:lnTo>
                        <a:pt x="4673" y="1168"/>
                      </a:lnTo>
                      <a:lnTo>
                        <a:pt x="4673" y="1170"/>
                      </a:lnTo>
                      <a:lnTo>
                        <a:pt x="4671" y="1173"/>
                      </a:lnTo>
                      <a:lnTo>
                        <a:pt x="4673" y="1178"/>
                      </a:lnTo>
                      <a:lnTo>
                        <a:pt x="4673" y="1184"/>
                      </a:lnTo>
                      <a:lnTo>
                        <a:pt x="4676" y="1187"/>
                      </a:lnTo>
                      <a:lnTo>
                        <a:pt x="4681" y="1192"/>
                      </a:lnTo>
                      <a:lnTo>
                        <a:pt x="4681" y="1198"/>
                      </a:lnTo>
                      <a:lnTo>
                        <a:pt x="4676" y="1198"/>
                      </a:lnTo>
                      <a:lnTo>
                        <a:pt x="4676" y="1201"/>
                      </a:lnTo>
                      <a:lnTo>
                        <a:pt x="4679" y="1204"/>
                      </a:lnTo>
                      <a:lnTo>
                        <a:pt x="4681" y="1209"/>
                      </a:lnTo>
                      <a:lnTo>
                        <a:pt x="4681" y="1212"/>
                      </a:lnTo>
                      <a:lnTo>
                        <a:pt x="4679" y="1214"/>
                      </a:lnTo>
                      <a:lnTo>
                        <a:pt x="4676" y="1214"/>
                      </a:lnTo>
                      <a:lnTo>
                        <a:pt x="4673" y="1217"/>
                      </a:lnTo>
                      <a:lnTo>
                        <a:pt x="4671" y="1217"/>
                      </a:lnTo>
                      <a:lnTo>
                        <a:pt x="4668" y="1217"/>
                      </a:lnTo>
                      <a:lnTo>
                        <a:pt x="4665" y="1217"/>
                      </a:lnTo>
                      <a:lnTo>
                        <a:pt x="4665" y="1222"/>
                      </a:lnTo>
                      <a:lnTo>
                        <a:pt x="4659" y="1225"/>
                      </a:lnTo>
                      <a:lnTo>
                        <a:pt x="4656" y="1222"/>
                      </a:lnTo>
                      <a:lnTo>
                        <a:pt x="4656" y="1225"/>
                      </a:lnTo>
                      <a:lnTo>
                        <a:pt x="4648" y="1225"/>
                      </a:lnTo>
                      <a:lnTo>
                        <a:pt x="4648" y="1228"/>
                      </a:lnTo>
                      <a:lnTo>
                        <a:pt x="4648" y="1234"/>
                      </a:lnTo>
                      <a:lnTo>
                        <a:pt x="4651" y="1234"/>
                      </a:lnTo>
                      <a:lnTo>
                        <a:pt x="4654" y="1237"/>
                      </a:lnTo>
                      <a:lnTo>
                        <a:pt x="4651" y="1240"/>
                      </a:lnTo>
                      <a:lnTo>
                        <a:pt x="4643" y="1237"/>
                      </a:lnTo>
                      <a:lnTo>
                        <a:pt x="4640" y="1240"/>
                      </a:lnTo>
                      <a:lnTo>
                        <a:pt x="4640" y="1242"/>
                      </a:lnTo>
                      <a:lnTo>
                        <a:pt x="4635" y="1245"/>
                      </a:lnTo>
                      <a:lnTo>
                        <a:pt x="4632" y="1240"/>
                      </a:lnTo>
                      <a:lnTo>
                        <a:pt x="4628" y="1237"/>
                      </a:lnTo>
                      <a:lnTo>
                        <a:pt x="4626" y="1234"/>
                      </a:lnTo>
                      <a:lnTo>
                        <a:pt x="4626" y="1231"/>
                      </a:lnTo>
                      <a:lnTo>
                        <a:pt x="4615" y="1231"/>
                      </a:lnTo>
                      <a:lnTo>
                        <a:pt x="4610" y="1228"/>
                      </a:lnTo>
                      <a:lnTo>
                        <a:pt x="4610" y="1231"/>
                      </a:lnTo>
                      <a:lnTo>
                        <a:pt x="4602" y="1225"/>
                      </a:lnTo>
                      <a:lnTo>
                        <a:pt x="4599" y="1228"/>
                      </a:lnTo>
                      <a:lnTo>
                        <a:pt x="4599" y="1237"/>
                      </a:lnTo>
                      <a:lnTo>
                        <a:pt x="4593" y="1240"/>
                      </a:lnTo>
                      <a:lnTo>
                        <a:pt x="4593" y="1248"/>
                      </a:lnTo>
                      <a:lnTo>
                        <a:pt x="4596" y="1248"/>
                      </a:lnTo>
                      <a:lnTo>
                        <a:pt x="4599" y="1256"/>
                      </a:lnTo>
                      <a:lnTo>
                        <a:pt x="4593" y="1258"/>
                      </a:lnTo>
                      <a:lnTo>
                        <a:pt x="4593" y="1261"/>
                      </a:lnTo>
                      <a:lnTo>
                        <a:pt x="4596" y="1270"/>
                      </a:lnTo>
                      <a:lnTo>
                        <a:pt x="4604" y="1275"/>
                      </a:lnTo>
                      <a:lnTo>
                        <a:pt x="4610" y="1273"/>
                      </a:lnTo>
                      <a:lnTo>
                        <a:pt x="4612" y="1278"/>
                      </a:lnTo>
                      <a:lnTo>
                        <a:pt x="4615" y="1278"/>
                      </a:lnTo>
                      <a:lnTo>
                        <a:pt x="4618" y="1281"/>
                      </a:lnTo>
                      <a:lnTo>
                        <a:pt x="4618" y="1278"/>
                      </a:lnTo>
                      <a:lnTo>
                        <a:pt x="4623" y="1278"/>
                      </a:lnTo>
                      <a:lnTo>
                        <a:pt x="4626" y="1281"/>
                      </a:lnTo>
                      <a:lnTo>
                        <a:pt x="4638" y="1283"/>
                      </a:lnTo>
                      <a:lnTo>
                        <a:pt x="4640" y="1289"/>
                      </a:lnTo>
                      <a:lnTo>
                        <a:pt x="4646" y="1291"/>
                      </a:lnTo>
                      <a:lnTo>
                        <a:pt x="4646" y="1294"/>
                      </a:lnTo>
                      <a:lnTo>
                        <a:pt x="4648" y="1297"/>
                      </a:lnTo>
                      <a:lnTo>
                        <a:pt x="4648" y="1299"/>
                      </a:lnTo>
                      <a:lnTo>
                        <a:pt x="4646" y="1303"/>
                      </a:lnTo>
                      <a:lnTo>
                        <a:pt x="4651" y="1306"/>
                      </a:lnTo>
                      <a:lnTo>
                        <a:pt x="4651" y="1308"/>
                      </a:lnTo>
                      <a:lnTo>
                        <a:pt x="4654" y="1308"/>
                      </a:lnTo>
                      <a:lnTo>
                        <a:pt x="4662" y="1319"/>
                      </a:lnTo>
                      <a:lnTo>
                        <a:pt x="4665" y="1325"/>
                      </a:lnTo>
                      <a:lnTo>
                        <a:pt x="4671" y="1325"/>
                      </a:lnTo>
                      <a:lnTo>
                        <a:pt x="4673" y="1330"/>
                      </a:lnTo>
                      <a:lnTo>
                        <a:pt x="4679" y="1336"/>
                      </a:lnTo>
                      <a:lnTo>
                        <a:pt x="4679" y="1339"/>
                      </a:lnTo>
                      <a:lnTo>
                        <a:pt x="4684" y="1336"/>
                      </a:lnTo>
                      <a:lnTo>
                        <a:pt x="4689" y="1342"/>
                      </a:lnTo>
                      <a:lnTo>
                        <a:pt x="4695" y="1350"/>
                      </a:lnTo>
                      <a:lnTo>
                        <a:pt x="4707" y="1350"/>
                      </a:lnTo>
                      <a:lnTo>
                        <a:pt x="4712" y="1352"/>
                      </a:lnTo>
                      <a:lnTo>
                        <a:pt x="4717" y="1352"/>
                      </a:lnTo>
                      <a:lnTo>
                        <a:pt x="4717" y="1360"/>
                      </a:lnTo>
                      <a:lnTo>
                        <a:pt x="4728" y="1363"/>
                      </a:lnTo>
                      <a:lnTo>
                        <a:pt x="4731" y="1366"/>
                      </a:lnTo>
                      <a:lnTo>
                        <a:pt x="4737" y="1372"/>
                      </a:lnTo>
                      <a:lnTo>
                        <a:pt x="4740" y="1372"/>
                      </a:lnTo>
                      <a:lnTo>
                        <a:pt x="4742" y="1375"/>
                      </a:lnTo>
                      <a:lnTo>
                        <a:pt x="4748" y="1375"/>
                      </a:lnTo>
                      <a:lnTo>
                        <a:pt x="4753" y="1386"/>
                      </a:lnTo>
                      <a:lnTo>
                        <a:pt x="4750" y="1391"/>
                      </a:lnTo>
                      <a:lnTo>
                        <a:pt x="4753" y="1394"/>
                      </a:lnTo>
                      <a:lnTo>
                        <a:pt x="4756" y="1396"/>
                      </a:lnTo>
                      <a:lnTo>
                        <a:pt x="4758" y="1399"/>
                      </a:lnTo>
                      <a:lnTo>
                        <a:pt x="4764" y="1402"/>
                      </a:lnTo>
                      <a:lnTo>
                        <a:pt x="4770" y="1402"/>
                      </a:lnTo>
                      <a:lnTo>
                        <a:pt x="4775" y="1402"/>
                      </a:lnTo>
                      <a:lnTo>
                        <a:pt x="4784" y="1411"/>
                      </a:lnTo>
                      <a:lnTo>
                        <a:pt x="4792" y="1419"/>
                      </a:lnTo>
                      <a:lnTo>
                        <a:pt x="4794" y="1424"/>
                      </a:lnTo>
                      <a:lnTo>
                        <a:pt x="4803" y="1444"/>
                      </a:lnTo>
                      <a:lnTo>
                        <a:pt x="4803" y="1452"/>
                      </a:lnTo>
                      <a:lnTo>
                        <a:pt x="4814" y="1463"/>
                      </a:lnTo>
                      <a:lnTo>
                        <a:pt x="4817" y="1471"/>
                      </a:lnTo>
                      <a:lnTo>
                        <a:pt x="4819" y="1485"/>
                      </a:lnTo>
                      <a:lnTo>
                        <a:pt x="4830" y="1498"/>
                      </a:lnTo>
                      <a:lnTo>
                        <a:pt x="4836" y="1506"/>
                      </a:lnTo>
                      <a:lnTo>
                        <a:pt x="4839" y="1518"/>
                      </a:lnTo>
                      <a:lnTo>
                        <a:pt x="4842" y="1526"/>
                      </a:lnTo>
                      <a:lnTo>
                        <a:pt x="4853" y="1529"/>
                      </a:lnTo>
                      <a:lnTo>
                        <a:pt x="4863" y="1529"/>
                      </a:lnTo>
                      <a:lnTo>
                        <a:pt x="4869" y="1529"/>
                      </a:lnTo>
                      <a:lnTo>
                        <a:pt x="4875" y="1526"/>
                      </a:lnTo>
                      <a:lnTo>
                        <a:pt x="4880" y="1521"/>
                      </a:lnTo>
                      <a:lnTo>
                        <a:pt x="4886" y="1518"/>
                      </a:lnTo>
                      <a:lnTo>
                        <a:pt x="4894" y="1521"/>
                      </a:lnTo>
                      <a:lnTo>
                        <a:pt x="4905" y="1523"/>
                      </a:lnTo>
                      <a:lnTo>
                        <a:pt x="4913" y="1532"/>
                      </a:lnTo>
                      <a:lnTo>
                        <a:pt x="4939" y="1540"/>
                      </a:lnTo>
                      <a:lnTo>
                        <a:pt x="4947" y="1542"/>
                      </a:lnTo>
                      <a:lnTo>
                        <a:pt x="4960" y="1549"/>
                      </a:lnTo>
                      <a:lnTo>
                        <a:pt x="4974" y="1559"/>
                      </a:lnTo>
                      <a:lnTo>
                        <a:pt x="4980" y="1567"/>
                      </a:lnTo>
                      <a:lnTo>
                        <a:pt x="4985" y="1582"/>
                      </a:lnTo>
                      <a:lnTo>
                        <a:pt x="5008" y="1601"/>
                      </a:lnTo>
                      <a:lnTo>
                        <a:pt x="5010" y="1603"/>
                      </a:lnTo>
                      <a:lnTo>
                        <a:pt x="5013" y="1603"/>
                      </a:lnTo>
                      <a:lnTo>
                        <a:pt x="5013" y="1592"/>
                      </a:lnTo>
                      <a:lnTo>
                        <a:pt x="5016" y="1590"/>
                      </a:lnTo>
                      <a:lnTo>
                        <a:pt x="5016" y="1584"/>
                      </a:lnTo>
                      <a:lnTo>
                        <a:pt x="5013" y="1582"/>
                      </a:lnTo>
                      <a:lnTo>
                        <a:pt x="5010" y="1575"/>
                      </a:lnTo>
                      <a:lnTo>
                        <a:pt x="4996" y="1570"/>
                      </a:lnTo>
                      <a:lnTo>
                        <a:pt x="4988" y="1554"/>
                      </a:lnTo>
                      <a:lnTo>
                        <a:pt x="4988" y="1546"/>
                      </a:lnTo>
                      <a:lnTo>
                        <a:pt x="4988" y="1542"/>
                      </a:lnTo>
                      <a:lnTo>
                        <a:pt x="4982" y="1540"/>
                      </a:lnTo>
                      <a:lnTo>
                        <a:pt x="4971" y="1540"/>
                      </a:lnTo>
                      <a:lnTo>
                        <a:pt x="4968" y="1532"/>
                      </a:lnTo>
                      <a:lnTo>
                        <a:pt x="4957" y="1529"/>
                      </a:lnTo>
                      <a:lnTo>
                        <a:pt x="4955" y="1529"/>
                      </a:lnTo>
                      <a:lnTo>
                        <a:pt x="4955" y="1526"/>
                      </a:lnTo>
                      <a:lnTo>
                        <a:pt x="4963" y="1515"/>
                      </a:lnTo>
                      <a:lnTo>
                        <a:pt x="4965" y="1513"/>
                      </a:lnTo>
                      <a:lnTo>
                        <a:pt x="4968" y="1506"/>
                      </a:lnTo>
                      <a:lnTo>
                        <a:pt x="4968" y="1501"/>
                      </a:lnTo>
                      <a:lnTo>
                        <a:pt x="4957" y="1490"/>
                      </a:lnTo>
                      <a:lnTo>
                        <a:pt x="4949" y="1488"/>
                      </a:lnTo>
                      <a:lnTo>
                        <a:pt x="4952" y="1482"/>
                      </a:lnTo>
                      <a:lnTo>
                        <a:pt x="4957" y="1477"/>
                      </a:lnTo>
                      <a:lnTo>
                        <a:pt x="4960" y="1463"/>
                      </a:lnTo>
                      <a:lnTo>
                        <a:pt x="4963" y="1455"/>
                      </a:lnTo>
                      <a:lnTo>
                        <a:pt x="4965" y="1444"/>
                      </a:lnTo>
                      <a:lnTo>
                        <a:pt x="4968" y="1441"/>
                      </a:lnTo>
                      <a:lnTo>
                        <a:pt x="4971" y="1437"/>
                      </a:lnTo>
                      <a:lnTo>
                        <a:pt x="4968" y="1429"/>
                      </a:lnTo>
                      <a:lnTo>
                        <a:pt x="4971" y="1424"/>
                      </a:lnTo>
                      <a:lnTo>
                        <a:pt x="4974" y="1419"/>
                      </a:lnTo>
                      <a:lnTo>
                        <a:pt x="4977" y="1416"/>
                      </a:lnTo>
                      <a:lnTo>
                        <a:pt x="4974" y="1411"/>
                      </a:lnTo>
                      <a:lnTo>
                        <a:pt x="4971" y="1408"/>
                      </a:lnTo>
                      <a:lnTo>
                        <a:pt x="4971" y="1405"/>
                      </a:lnTo>
                      <a:lnTo>
                        <a:pt x="4977" y="1402"/>
                      </a:lnTo>
                      <a:lnTo>
                        <a:pt x="4971" y="1396"/>
                      </a:lnTo>
                      <a:lnTo>
                        <a:pt x="4971" y="1394"/>
                      </a:lnTo>
                      <a:lnTo>
                        <a:pt x="4974" y="1391"/>
                      </a:lnTo>
                      <a:lnTo>
                        <a:pt x="4982" y="1391"/>
                      </a:lnTo>
                      <a:lnTo>
                        <a:pt x="4985" y="1386"/>
                      </a:lnTo>
                      <a:lnTo>
                        <a:pt x="4985" y="1375"/>
                      </a:lnTo>
                      <a:lnTo>
                        <a:pt x="4982" y="1368"/>
                      </a:lnTo>
                      <a:lnTo>
                        <a:pt x="4977" y="1363"/>
                      </a:lnTo>
                      <a:lnTo>
                        <a:pt x="4977" y="1360"/>
                      </a:lnTo>
                      <a:lnTo>
                        <a:pt x="4977" y="1355"/>
                      </a:lnTo>
                      <a:lnTo>
                        <a:pt x="4971" y="1355"/>
                      </a:lnTo>
                      <a:lnTo>
                        <a:pt x="4968" y="1352"/>
                      </a:lnTo>
                      <a:lnTo>
                        <a:pt x="4971" y="1342"/>
                      </a:lnTo>
                      <a:lnTo>
                        <a:pt x="4968" y="1333"/>
                      </a:lnTo>
                      <a:lnTo>
                        <a:pt x="4971" y="1330"/>
                      </a:lnTo>
                      <a:lnTo>
                        <a:pt x="4971" y="1322"/>
                      </a:lnTo>
                      <a:lnTo>
                        <a:pt x="4980" y="1317"/>
                      </a:lnTo>
                      <a:lnTo>
                        <a:pt x="4980" y="1303"/>
                      </a:lnTo>
                      <a:lnTo>
                        <a:pt x="4985" y="1297"/>
                      </a:lnTo>
                      <a:lnTo>
                        <a:pt x="4985" y="1294"/>
                      </a:lnTo>
                      <a:lnTo>
                        <a:pt x="4982" y="1291"/>
                      </a:lnTo>
                      <a:lnTo>
                        <a:pt x="4982" y="1281"/>
                      </a:lnTo>
                      <a:lnTo>
                        <a:pt x="4982" y="1273"/>
                      </a:lnTo>
                      <a:lnTo>
                        <a:pt x="4988" y="1258"/>
                      </a:lnTo>
                      <a:lnTo>
                        <a:pt x="4996" y="1253"/>
                      </a:lnTo>
                      <a:lnTo>
                        <a:pt x="5010" y="1242"/>
                      </a:lnTo>
                      <a:lnTo>
                        <a:pt x="5013" y="1237"/>
                      </a:lnTo>
                      <a:lnTo>
                        <a:pt x="5013" y="1228"/>
                      </a:lnTo>
                      <a:lnTo>
                        <a:pt x="5018" y="1220"/>
                      </a:lnTo>
                      <a:lnTo>
                        <a:pt x="5021" y="1217"/>
                      </a:lnTo>
                      <a:lnTo>
                        <a:pt x="5029" y="1217"/>
                      </a:lnTo>
                      <a:lnTo>
                        <a:pt x="5032" y="1214"/>
                      </a:lnTo>
                      <a:lnTo>
                        <a:pt x="5032" y="1212"/>
                      </a:lnTo>
                      <a:lnTo>
                        <a:pt x="5032" y="1206"/>
                      </a:lnTo>
                      <a:lnTo>
                        <a:pt x="5040" y="1206"/>
                      </a:lnTo>
                      <a:lnTo>
                        <a:pt x="5046" y="1201"/>
                      </a:lnTo>
                      <a:lnTo>
                        <a:pt x="5057" y="1196"/>
                      </a:lnTo>
                      <a:lnTo>
                        <a:pt x="5059" y="1192"/>
                      </a:lnTo>
                      <a:lnTo>
                        <a:pt x="5065" y="1189"/>
                      </a:lnTo>
                      <a:lnTo>
                        <a:pt x="5073" y="1192"/>
                      </a:lnTo>
                      <a:lnTo>
                        <a:pt x="5085" y="1181"/>
                      </a:lnTo>
                      <a:lnTo>
                        <a:pt x="5090" y="1181"/>
                      </a:lnTo>
                      <a:lnTo>
                        <a:pt x="5093" y="1181"/>
                      </a:lnTo>
                      <a:lnTo>
                        <a:pt x="5112" y="1178"/>
                      </a:lnTo>
                      <a:lnTo>
                        <a:pt x="5115" y="1176"/>
                      </a:lnTo>
                      <a:lnTo>
                        <a:pt x="5115" y="1168"/>
                      </a:lnTo>
                      <a:lnTo>
                        <a:pt x="5118" y="1165"/>
                      </a:lnTo>
                      <a:lnTo>
                        <a:pt x="5115" y="1159"/>
                      </a:lnTo>
                      <a:lnTo>
                        <a:pt x="5115" y="1153"/>
                      </a:lnTo>
                      <a:lnTo>
                        <a:pt x="5118" y="1151"/>
                      </a:lnTo>
                      <a:lnTo>
                        <a:pt x="5121" y="1151"/>
                      </a:lnTo>
                      <a:lnTo>
                        <a:pt x="5126" y="1153"/>
                      </a:lnTo>
                      <a:lnTo>
                        <a:pt x="5134" y="1153"/>
                      </a:lnTo>
                      <a:lnTo>
                        <a:pt x="5142" y="1156"/>
                      </a:lnTo>
                      <a:lnTo>
                        <a:pt x="5142" y="1153"/>
                      </a:lnTo>
                      <a:lnTo>
                        <a:pt x="5146" y="1151"/>
                      </a:lnTo>
                      <a:lnTo>
                        <a:pt x="5154" y="1148"/>
                      </a:lnTo>
                      <a:lnTo>
                        <a:pt x="5156" y="1151"/>
                      </a:lnTo>
                      <a:lnTo>
                        <a:pt x="5159" y="1153"/>
                      </a:lnTo>
                      <a:lnTo>
                        <a:pt x="5167" y="1151"/>
                      </a:lnTo>
                      <a:lnTo>
                        <a:pt x="5170" y="1151"/>
                      </a:lnTo>
                      <a:lnTo>
                        <a:pt x="5181" y="1156"/>
                      </a:lnTo>
                      <a:lnTo>
                        <a:pt x="5184" y="1168"/>
                      </a:lnTo>
                      <a:lnTo>
                        <a:pt x="5187" y="1170"/>
                      </a:lnTo>
                      <a:lnTo>
                        <a:pt x="5192" y="1170"/>
                      </a:lnTo>
                      <a:lnTo>
                        <a:pt x="5195" y="1170"/>
                      </a:lnTo>
                      <a:lnTo>
                        <a:pt x="5206" y="1176"/>
                      </a:lnTo>
                      <a:lnTo>
                        <a:pt x="5217" y="1176"/>
                      </a:lnTo>
                      <a:lnTo>
                        <a:pt x="5223" y="1176"/>
                      </a:lnTo>
                      <a:lnTo>
                        <a:pt x="5225" y="1173"/>
                      </a:lnTo>
                      <a:lnTo>
                        <a:pt x="5228" y="1176"/>
                      </a:lnTo>
                      <a:lnTo>
                        <a:pt x="5231" y="1176"/>
                      </a:lnTo>
                      <a:lnTo>
                        <a:pt x="5233" y="1173"/>
                      </a:lnTo>
                      <a:lnTo>
                        <a:pt x="5239" y="1173"/>
                      </a:lnTo>
                      <a:lnTo>
                        <a:pt x="5241" y="1184"/>
                      </a:lnTo>
                      <a:lnTo>
                        <a:pt x="5239" y="1187"/>
                      </a:lnTo>
                      <a:lnTo>
                        <a:pt x="5239" y="1198"/>
                      </a:lnTo>
                      <a:lnTo>
                        <a:pt x="5241" y="1198"/>
                      </a:lnTo>
                      <a:lnTo>
                        <a:pt x="5241" y="1204"/>
                      </a:lnTo>
                      <a:lnTo>
                        <a:pt x="5253" y="1214"/>
                      </a:lnTo>
                      <a:lnTo>
                        <a:pt x="5261" y="1209"/>
                      </a:lnTo>
                      <a:lnTo>
                        <a:pt x="5264" y="1212"/>
                      </a:lnTo>
                      <a:lnTo>
                        <a:pt x="5267" y="1214"/>
                      </a:lnTo>
                      <a:lnTo>
                        <a:pt x="5267" y="1220"/>
                      </a:lnTo>
                      <a:lnTo>
                        <a:pt x="5267" y="1222"/>
                      </a:lnTo>
                      <a:lnTo>
                        <a:pt x="5269" y="1231"/>
                      </a:lnTo>
                      <a:lnTo>
                        <a:pt x="5284" y="1231"/>
                      </a:lnTo>
                      <a:lnTo>
                        <a:pt x="5289" y="1234"/>
                      </a:lnTo>
                      <a:lnTo>
                        <a:pt x="5289" y="1248"/>
                      </a:lnTo>
                      <a:lnTo>
                        <a:pt x="5289" y="1250"/>
                      </a:lnTo>
                      <a:lnTo>
                        <a:pt x="5289" y="1253"/>
                      </a:lnTo>
                      <a:lnTo>
                        <a:pt x="5292" y="1253"/>
                      </a:lnTo>
                      <a:lnTo>
                        <a:pt x="5294" y="1256"/>
                      </a:lnTo>
                      <a:lnTo>
                        <a:pt x="5297" y="1258"/>
                      </a:lnTo>
                      <a:lnTo>
                        <a:pt x="5300" y="1256"/>
                      </a:lnTo>
                      <a:lnTo>
                        <a:pt x="5302" y="1261"/>
                      </a:lnTo>
                      <a:lnTo>
                        <a:pt x="5300" y="1267"/>
                      </a:lnTo>
                      <a:lnTo>
                        <a:pt x="5297" y="1270"/>
                      </a:lnTo>
                      <a:lnTo>
                        <a:pt x="5297" y="1273"/>
                      </a:lnTo>
                      <a:lnTo>
                        <a:pt x="5305" y="1275"/>
                      </a:lnTo>
                      <a:lnTo>
                        <a:pt x="5302" y="1281"/>
                      </a:lnTo>
                      <a:lnTo>
                        <a:pt x="5305" y="1283"/>
                      </a:lnTo>
                      <a:lnTo>
                        <a:pt x="5302" y="1289"/>
                      </a:lnTo>
                      <a:lnTo>
                        <a:pt x="5305" y="1294"/>
                      </a:lnTo>
                      <a:lnTo>
                        <a:pt x="5308" y="1297"/>
                      </a:lnTo>
                      <a:lnTo>
                        <a:pt x="5305" y="1303"/>
                      </a:lnTo>
                      <a:lnTo>
                        <a:pt x="5313" y="1299"/>
                      </a:lnTo>
                      <a:lnTo>
                        <a:pt x="5322" y="1306"/>
                      </a:lnTo>
                      <a:lnTo>
                        <a:pt x="5325" y="1303"/>
                      </a:lnTo>
                      <a:lnTo>
                        <a:pt x="5338" y="1308"/>
                      </a:lnTo>
                      <a:lnTo>
                        <a:pt x="5341" y="1308"/>
                      </a:lnTo>
                      <a:lnTo>
                        <a:pt x="5338" y="1314"/>
                      </a:lnTo>
                      <a:lnTo>
                        <a:pt x="5341" y="1317"/>
                      </a:lnTo>
                      <a:lnTo>
                        <a:pt x="5346" y="1311"/>
                      </a:lnTo>
                      <a:lnTo>
                        <a:pt x="5355" y="1308"/>
                      </a:lnTo>
                      <a:lnTo>
                        <a:pt x="5355" y="1306"/>
                      </a:lnTo>
                      <a:lnTo>
                        <a:pt x="5358" y="1306"/>
                      </a:lnTo>
                      <a:lnTo>
                        <a:pt x="5361" y="1303"/>
                      </a:lnTo>
                      <a:lnTo>
                        <a:pt x="5363" y="1303"/>
                      </a:lnTo>
                      <a:lnTo>
                        <a:pt x="5371" y="1306"/>
                      </a:lnTo>
                      <a:lnTo>
                        <a:pt x="5371" y="1297"/>
                      </a:lnTo>
                      <a:lnTo>
                        <a:pt x="5386" y="1303"/>
                      </a:lnTo>
                      <a:lnTo>
                        <a:pt x="5386" y="1306"/>
                      </a:lnTo>
                      <a:lnTo>
                        <a:pt x="5391" y="1306"/>
                      </a:lnTo>
                      <a:lnTo>
                        <a:pt x="5394" y="1308"/>
                      </a:lnTo>
                      <a:lnTo>
                        <a:pt x="5396" y="1308"/>
                      </a:lnTo>
                      <a:lnTo>
                        <a:pt x="5407" y="1297"/>
                      </a:lnTo>
                      <a:lnTo>
                        <a:pt x="5407" y="1294"/>
                      </a:lnTo>
                      <a:lnTo>
                        <a:pt x="5402" y="1291"/>
                      </a:lnTo>
                      <a:lnTo>
                        <a:pt x="5407" y="1286"/>
                      </a:lnTo>
                      <a:lnTo>
                        <a:pt x="5410" y="1286"/>
                      </a:lnTo>
                      <a:lnTo>
                        <a:pt x="5413" y="1281"/>
                      </a:lnTo>
                      <a:lnTo>
                        <a:pt x="5410" y="1278"/>
                      </a:lnTo>
                      <a:lnTo>
                        <a:pt x="5413" y="1275"/>
                      </a:lnTo>
                      <a:lnTo>
                        <a:pt x="5410" y="1273"/>
                      </a:lnTo>
                      <a:lnTo>
                        <a:pt x="5413" y="1270"/>
                      </a:lnTo>
                      <a:lnTo>
                        <a:pt x="5418" y="1264"/>
                      </a:lnTo>
                      <a:lnTo>
                        <a:pt x="5422" y="1264"/>
                      </a:lnTo>
                      <a:lnTo>
                        <a:pt x="5427" y="1264"/>
                      </a:lnTo>
                      <a:lnTo>
                        <a:pt x="5435" y="1264"/>
                      </a:lnTo>
                      <a:lnTo>
                        <a:pt x="5438" y="1267"/>
                      </a:lnTo>
                      <a:lnTo>
                        <a:pt x="5440" y="1264"/>
                      </a:lnTo>
                      <a:lnTo>
                        <a:pt x="5443" y="1261"/>
                      </a:lnTo>
                      <a:lnTo>
                        <a:pt x="5448" y="1258"/>
                      </a:lnTo>
                      <a:lnTo>
                        <a:pt x="5457" y="1258"/>
                      </a:lnTo>
                      <a:lnTo>
                        <a:pt x="5460" y="1253"/>
                      </a:lnTo>
                      <a:lnTo>
                        <a:pt x="5468" y="1253"/>
                      </a:lnTo>
                      <a:lnTo>
                        <a:pt x="5471" y="1253"/>
                      </a:lnTo>
                      <a:lnTo>
                        <a:pt x="5473" y="1250"/>
                      </a:lnTo>
                      <a:lnTo>
                        <a:pt x="5484" y="1245"/>
                      </a:lnTo>
                      <a:lnTo>
                        <a:pt x="5487" y="1245"/>
                      </a:lnTo>
                      <a:lnTo>
                        <a:pt x="5491" y="1240"/>
                      </a:lnTo>
                      <a:lnTo>
                        <a:pt x="5491" y="1231"/>
                      </a:lnTo>
                      <a:lnTo>
                        <a:pt x="5487" y="1231"/>
                      </a:lnTo>
                      <a:lnTo>
                        <a:pt x="5491" y="1222"/>
                      </a:lnTo>
                      <a:lnTo>
                        <a:pt x="5484" y="1217"/>
                      </a:lnTo>
                      <a:lnTo>
                        <a:pt x="5484" y="1209"/>
                      </a:lnTo>
                      <a:lnTo>
                        <a:pt x="5482" y="1209"/>
                      </a:lnTo>
                      <a:lnTo>
                        <a:pt x="5479" y="1209"/>
                      </a:lnTo>
                      <a:lnTo>
                        <a:pt x="5473" y="1204"/>
                      </a:lnTo>
                      <a:lnTo>
                        <a:pt x="5471" y="1201"/>
                      </a:lnTo>
                      <a:lnTo>
                        <a:pt x="5468" y="1196"/>
                      </a:lnTo>
                      <a:lnTo>
                        <a:pt x="5463" y="1192"/>
                      </a:lnTo>
                      <a:lnTo>
                        <a:pt x="5463" y="1187"/>
                      </a:lnTo>
                      <a:lnTo>
                        <a:pt x="5457" y="1189"/>
                      </a:lnTo>
                      <a:lnTo>
                        <a:pt x="5455" y="1184"/>
                      </a:lnTo>
                      <a:lnTo>
                        <a:pt x="5457" y="1181"/>
                      </a:lnTo>
                      <a:lnTo>
                        <a:pt x="5457" y="1176"/>
                      </a:lnTo>
                      <a:lnTo>
                        <a:pt x="5451" y="1173"/>
                      </a:lnTo>
                      <a:lnTo>
                        <a:pt x="5451" y="1170"/>
                      </a:lnTo>
                      <a:lnTo>
                        <a:pt x="5448" y="1153"/>
                      </a:lnTo>
                      <a:lnTo>
                        <a:pt x="5455" y="1151"/>
                      </a:lnTo>
                      <a:lnTo>
                        <a:pt x="5455" y="1148"/>
                      </a:lnTo>
                      <a:lnTo>
                        <a:pt x="5457" y="1143"/>
                      </a:lnTo>
                      <a:lnTo>
                        <a:pt x="5457" y="1137"/>
                      </a:lnTo>
                      <a:lnTo>
                        <a:pt x="5473" y="1127"/>
                      </a:lnTo>
                      <a:lnTo>
                        <a:pt x="5473" y="1120"/>
                      </a:lnTo>
                      <a:lnTo>
                        <a:pt x="5471" y="1118"/>
                      </a:lnTo>
                      <a:lnTo>
                        <a:pt x="5473" y="1115"/>
                      </a:lnTo>
                      <a:lnTo>
                        <a:pt x="5471" y="1112"/>
                      </a:lnTo>
                      <a:lnTo>
                        <a:pt x="5473" y="1109"/>
                      </a:lnTo>
                      <a:lnTo>
                        <a:pt x="5476" y="1101"/>
                      </a:lnTo>
                      <a:lnTo>
                        <a:pt x="5482" y="1099"/>
                      </a:lnTo>
                      <a:lnTo>
                        <a:pt x="5482" y="1096"/>
                      </a:lnTo>
                      <a:lnTo>
                        <a:pt x="5484" y="1091"/>
                      </a:lnTo>
                      <a:lnTo>
                        <a:pt x="5482" y="1082"/>
                      </a:lnTo>
                      <a:lnTo>
                        <a:pt x="5482" y="1079"/>
                      </a:lnTo>
                      <a:lnTo>
                        <a:pt x="5491" y="1079"/>
                      </a:lnTo>
                      <a:lnTo>
                        <a:pt x="5491" y="1068"/>
                      </a:lnTo>
                      <a:lnTo>
                        <a:pt x="5493" y="1066"/>
                      </a:lnTo>
                      <a:lnTo>
                        <a:pt x="5496" y="1063"/>
                      </a:lnTo>
                      <a:lnTo>
                        <a:pt x="5487" y="1051"/>
                      </a:lnTo>
                      <a:lnTo>
                        <a:pt x="5491" y="1049"/>
                      </a:lnTo>
                      <a:lnTo>
                        <a:pt x="5493" y="1038"/>
                      </a:lnTo>
                      <a:lnTo>
                        <a:pt x="5491" y="1030"/>
                      </a:lnTo>
                      <a:lnTo>
                        <a:pt x="5493" y="1027"/>
                      </a:lnTo>
                      <a:lnTo>
                        <a:pt x="5496" y="1030"/>
                      </a:lnTo>
                      <a:lnTo>
                        <a:pt x="5501" y="1027"/>
                      </a:lnTo>
                      <a:lnTo>
                        <a:pt x="5504" y="1022"/>
                      </a:lnTo>
                      <a:lnTo>
                        <a:pt x="5504" y="1015"/>
                      </a:lnTo>
                      <a:lnTo>
                        <a:pt x="5507" y="1013"/>
                      </a:lnTo>
                      <a:lnTo>
                        <a:pt x="5512" y="1015"/>
                      </a:lnTo>
                      <a:lnTo>
                        <a:pt x="5509" y="1010"/>
                      </a:lnTo>
                      <a:lnTo>
                        <a:pt x="5517" y="1002"/>
                      </a:lnTo>
                      <a:lnTo>
                        <a:pt x="5520" y="1002"/>
                      </a:lnTo>
                      <a:lnTo>
                        <a:pt x="5524" y="997"/>
                      </a:lnTo>
                      <a:lnTo>
                        <a:pt x="5520" y="994"/>
                      </a:lnTo>
                      <a:lnTo>
                        <a:pt x="5520" y="991"/>
                      </a:lnTo>
                      <a:lnTo>
                        <a:pt x="5517" y="989"/>
                      </a:lnTo>
                      <a:lnTo>
                        <a:pt x="5520" y="982"/>
                      </a:lnTo>
                      <a:lnTo>
                        <a:pt x="5524" y="977"/>
                      </a:lnTo>
                      <a:lnTo>
                        <a:pt x="5529" y="966"/>
                      </a:lnTo>
                      <a:lnTo>
                        <a:pt x="5529" y="955"/>
                      </a:lnTo>
                      <a:lnTo>
                        <a:pt x="5540" y="944"/>
                      </a:lnTo>
                      <a:lnTo>
                        <a:pt x="5537" y="941"/>
                      </a:lnTo>
                      <a:lnTo>
                        <a:pt x="5542" y="941"/>
                      </a:lnTo>
                      <a:lnTo>
                        <a:pt x="5548" y="933"/>
                      </a:lnTo>
                      <a:lnTo>
                        <a:pt x="5556" y="930"/>
                      </a:lnTo>
                      <a:lnTo>
                        <a:pt x="5553" y="925"/>
                      </a:lnTo>
                      <a:lnTo>
                        <a:pt x="5556" y="922"/>
                      </a:lnTo>
                      <a:lnTo>
                        <a:pt x="5556" y="920"/>
                      </a:lnTo>
                      <a:lnTo>
                        <a:pt x="5556" y="913"/>
                      </a:lnTo>
                      <a:lnTo>
                        <a:pt x="5562" y="908"/>
                      </a:lnTo>
                      <a:lnTo>
                        <a:pt x="5560" y="905"/>
                      </a:lnTo>
                      <a:lnTo>
                        <a:pt x="5556" y="903"/>
                      </a:lnTo>
                      <a:lnTo>
                        <a:pt x="5556" y="897"/>
                      </a:lnTo>
                      <a:lnTo>
                        <a:pt x="5565" y="889"/>
                      </a:lnTo>
                      <a:lnTo>
                        <a:pt x="5565" y="886"/>
                      </a:lnTo>
                      <a:lnTo>
                        <a:pt x="5578" y="880"/>
                      </a:lnTo>
                      <a:lnTo>
                        <a:pt x="5584" y="877"/>
                      </a:lnTo>
                      <a:lnTo>
                        <a:pt x="5589" y="872"/>
                      </a:lnTo>
                      <a:lnTo>
                        <a:pt x="5593" y="844"/>
                      </a:lnTo>
                      <a:lnTo>
                        <a:pt x="5598" y="831"/>
                      </a:lnTo>
                      <a:lnTo>
                        <a:pt x="5844" y="831"/>
                      </a:lnTo>
                      <a:lnTo>
                        <a:pt x="5940" y="831"/>
                      </a:lnTo>
                      <a:lnTo>
                        <a:pt x="6061" y="831"/>
                      </a:lnTo>
                      <a:lnTo>
                        <a:pt x="6061" y="946"/>
                      </a:lnTo>
                      <a:lnTo>
                        <a:pt x="6061" y="949"/>
                      </a:lnTo>
                      <a:lnTo>
                        <a:pt x="6064" y="955"/>
                      </a:lnTo>
                      <a:lnTo>
                        <a:pt x="6064" y="966"/>
                      </a:lnTo>
                      <a:lnTo>
                        <a:pt x="6067" y="969"/>
                      </a:lnTo>
                      <a:lnTo>
                        <a:pt x="6069" y="969"/>
                      </a:lnTo>
                      <a:lnTo>
                        <a:pt x="6076" y="974"/>
                      </a:lnTo>
                      <a:lnTo>
                        <a:pt x="6073" y="999"/>
                      </a:lnTo>
                      <a:lnTo>
                        <a:pt x="6076" y="1002"/>
                      </a:lnTo>
                      <a:lnTo>
                        <a:pt x="6076" y="1007"/>
                      </a:lnTo>
                      <a:lnTo>
                        <a:pt x="6067" y="1024"/>
                      </a:lnTo>
                      <a:lnTo>
                        <a:pt x="6067" y="1038"/>
                      </a:lnTo>
                      <a:lnTo>
                        <a:pt x="6069" y="1051"/>
                      </a:lnTo>
                      <a:lnTo>
                        <a:pt x="6073" y="1051"/>
                      </a:lnTo>
                      <a:lnTo>
                        <a:pt x="6073" y="1058"/>
                      </a:lnTo>
                      <a:lnTo>
                        <a:pt x="6073" y="1060"/>
                      </a:lnTo>
                      <a:lnTo>
                        <a:pt x="6069" y="1066"/>
                      </a:lnTo>
                      <a:lnTo>
                        <a:pt x="6069" y="1084"/>
                      </a:lnTo>
                      <a:lnTo>
                        <a:pt x="6081" y="1093"/>
                      </a:lnTo>
                      <a:lnTo>
                        <a:pt x="6092" y="1099"/>
                      </a:lnTo>
                      <a:lnTo>
                        <a:pt x="6092" y="1101"/>
                      </a:lnTo>
                      <a:lnTo>
                        <a:pt x="6100" y="1101"/>
                      </a:lnTo>
                      <a:lnTo>
                        <a:pt x="6100" y="1104"/>
                      </a:lnTo>
                      <a:lnTo>
                        <a:pt x="6102" y="1101"/>
                      </a:lnTo>
                      <a:lnTo>
                        <a:pt x="6109" y="1104"/>
                      </a:lnTo>
                      <a:lnTo>
                        <a:pt x="6114" y="1112"/>
                      </a:lnTo>
                      <a:lnTo>
                        <a:pt x="6122" y="1115"/>
                      </a:lnTo>
                      <a:lnTo>
                        <a:pt x="6125" y="1123"/>
                      </a:lnTo>
                      <a:lnTo>
                        <a:pt x="6128" y="1123"/>
                      </a:lnTo>
                      <a:lnTo>
                        <a:pt x="6130" y="1127"/>
                      </a:lnTo>
                      <a:lnTo>
                        <a:pt x="6128" y="1140"/>
                      </a:lnTo>
                      <a:lnTo>
                        <a:pt x="6130" y="1151"/>
                      </a:lnTo>
                      <a:lnTo>
                        <a:pt x="6133" y="1153"/>
                      </a:lnTo>
                      <a:lnTo>
                        <a:pt x="6136" y="1159"/>
                      </a:lnTo>
                      <a:lnTo>
                        <a:pt x="6136" y="1168"/>
                      </a:lnTo>
                      <a:lnTo>
                        <a:pt x="6136" y="1170"/>
                      </a:lnTo>
                      <a:lnTo>
                        <a:pt x="6133" y="1176"/>
                      </a:lnTo>
                      <a:lnTo>
                        <a:pt x="6128" y="1176"/>
                      </a:lnTo>
                      <a:lnTo>
                        <a:pt x="6128" y="1184"/>
                      </a:lnTo>
                      <a:lnTo>
                        <a:pt x="6130" y="1187"/>
                      </a:lnTo>
                      <a:lnTo>
                        <a:pt x="6130" y="1196"/>
                      </a:lnTo>
                      <a:lnTo>
                        <a:pt x="6128" y="1198"/>
                      </a:lnTo>
                      <a:lnTo>
                        <a:pt x="6128" y="1204"/>
                      </a:lnTo>
                      <a:lnTo>
                        <a:pt x="6133" y="1209"/>
                      </a:lnTo>
                      <a:lnTo>
                        <a:pt x="6133" y="1212"/>
                      </a:lnTo>
                      <a:lnTo>
                        <a:pt x="6136" y="1212"/>
                      </a:lnTo>
                      <a:lnTo>
                        <a:pt x="6138" y="1222"/>
                      </a:lnTo>
                      <a:lnTo>
                        <a:pt x="6138" y="1225"/>
                      </a:lnTo>
                      <a:lnTo>
                        <a:pt x="6147" y="1228"/>
                      </a:lnTo>
                      <a:lnTo>
                        <a:pt x="6155" y="1237"/>
                      </a:lnTo>
                      <a:lnTo>
                        <a:pt x="6155" y="1239"/>
                      </a:lnTo>
                      <a:lnTo>
                        <a:pt x="6158" y="1242"/>
                      </a:lnTo>
                      <a:lnTo>
                        <a:pt x="6161" y="1239"/>
                      </a:lnTo>
                      <a:lnTo>
                        <a:pt x="6166" y="1242"/>
                      </a:lnTo>
                      <a:lnTo>
                        <a:pt x="6174" y="1258"/>
                      </a:lnTo>
                      <a:lnTo>
                        <a:pt x="6181" y="1261"/>
                      </a:lnTo>
                      <a:lnTo>
                        <a:pt x="6186" y="1261"/>
                      </a:lnTo>
                      <a:lnTo>
                        <a:pt x="6186" y="1264"/>
                      </a:lnTo>
                      <a:lnTo>
                        <a:pt x="6191" y="1270"/>
                      </a:lnTo>
                      <a:lnTo>
                        <a:pt x="6194" y="1270"/>
                      </a:lnTo>
                      <a:lnTo>
                        <a:pt x="6194" y="1273"/>
                      </a:lnTo>
                      <a:lnTo>
                        <a:pt x="6197" y="1275"/>
                      </a:lnTo>
                      <a:lnTo>
                        <a:pt x="6197" y="1278"/>
                      </a:lnTo>
                      <a:lnTo>
                        <a:pt x="6214" y="1289"/>
                      </a:lnTo>
                      <a:lnTo>
                        <a:pt x="6214" y="1291"/>
                      </a:lnTo>
                      <a:lnTo>
                        <a:pt x="6216" y="1291"/>
                      </a:lnTo>
                      <a:lnTo>
                        <a:pt x="6219" y="1289"/>
                      </a:lnTo>
                      <a:lnTo>
                        <a:pt x="6222" y="1291"/>
                      </a:lnTo>
                      <a:lnTo>
                        <a:pt x="6224" y="1289"/>
                      </a:lnTo>
                      <a:lnTo>
                        <a:pt x="6224" y="1294"/>
                      </a:lnTo>
                      <a:lnTo>
                        <a:pt x="6227" y="1299"/>
                      </a:lnTo>
                      <a:lnTo>
                        <a:pt x="6230" y="1299"/>
                      </a:lnTo>
                      <a:lnTo>
                        <a:pt x="6232" y="1306"/>
                      </a:lnTo>
                      <a:lnTo>
                        <a:pt x="6235" y="1306"/>
                      </a:lnTo>
                      <a:lnTo>
                        <a:pt x="6235" y="1303"/>
                      </a:lnTo>
                      <a:lnTo>
                        <a:pt x="6238" y="1303"/>
                      </a:lnTo>
                      <a:lnTo>
                        <a:pt x="6250" y="1311"/>
                      </a:lnTo>
                      <a:lnTo>
                        <a:pt x="6250" y="1314"/>
                      </a:lnTo>
                      <a:lnTo>
                        <a:pt x="6241" y="1317"/>
                      </a:lnTo>
                      <a:lnTo>
                        <a:pt x="6243" y="1322"/>
                      </a:lnTo>
                      <a:lnTo>
                        <a:pt x="6241" y="1330"/>
                      </a:lnTo>
                      <a:lnTo>
                        <a:pt x="6252" y="1339"/>
                      </a:lnTo>
                      <a:lnTo>
                        <a:pt x="6252" y="1344"/>
                      </a:lnTo>
                      <a:lnTo>
                        <a:pt x="6258" y="1347"/>
                      </a:lnTo>
                      <a:lnTo>
                        <a:pt x="6258" y="1350"/>
                      </a:lnTo>
                      <a:lnTo>
                        <a:pt x="6258" y="1352"/>
                      </a:lnTo>
                      <a:lnTo>
                        <a:pt x="6255" y="1355"/>
                      </a:lnTo>
                      <a:lnTo>
                        <a:pt x="6252" y="1360"/>
                      </a:lnTo>
                      <a:lnTo>
                        <a:pt x="6255" y="1363"/>
                      </a:lnTo>
                      <a:lnTo>
                        <a:pt x="6252" y="1372"/>
                      </a:lnTo>
                      <a:lnTo>
                        <a:pt x="6258" y="1377"/>
                      </a:lnTo>
                      <a:lnTo>
                        <a:pt x="6260" y="1377"/>
                      </a:lnTo>
                      <a:lnTo>
                        <a:pt x="6263" y="1377"/>
                      </a:lnTo>
                      <a:lnTo>
                        <a:pt x="6266" y="1377"/>
                      </a:lnTo>
                      <a:lnTo>
                        <a:pt x="6268" y="1380"/>
                      </a:lnTo>
                      <a:lnTo>
                        <a:pt x="6276" y="1388"/>
                      </a:lnTo>
                      <a:lnTo>
                        <a:pt x="6276" y="1399"/>
                      </a:lnTo>
                      <a:lnTo>
                        <a:pt x="6280" y="1402"/>
                      </a:lnTo>
                      <a:lnTo>
                        <a:pt x="6280" y="1405"/>
                      </a:lnTo>
                      <a:lnTo>
                        <a:pt x="6283" y="1408"/>
                      </a:lnTo>
                      <a:lnTo>
                        <a:pt x="6285" y="1405"/>
                      </a:lnTo>
                      <a:lnTo>
                        <a:pt x="6288" y="1413"/>
                      </a:lnTo>
                      <a:lnTo>
                        <a:pt x="6296" y="1416"/>
                      </a:lnTo>
                      <a:lnTo>
                        <a:pt x="6293" y="1421"/>
                      </a:lnTo>
                      <a:lnTo>
                        <a:pt x="6316" y="1419"/>
                      </a:lnTo>
                      <a:lnTo>
                        <a:pt x="6316" y="1416"/>
                      </a:lnTo>
                      <a:lnTo>
                        <a:pt x="6321" y="1416"/>
                      </a:lnTo>
                      <a:lnTo>
                        <a:pt x="6327" y="1427"/>
                      </a:lnTo>
                      <a:lnTo>
                        <a:pt x="6337" y="1429"/>
                      </a:lnTo>
                      <a:lnTo>
                        <a:pt x="6345" y="1444"/>
                      </a:lnTo>
                      <a:lnTo>
                        <a:pt x="6352" y="1446"/>
                      </a:lnTo>
                      <a:lnTo>
                        <a:pt x="6360" y="1457"/>
                      </a:lnTo>
                      <a:lnTo>
                        <a:pt x="6362" y="1455"/>
                      </a:lnTo>
                      <a:lnTo>
                        <a:pt x="6373" y="1441"/>
                      </a:lnTo>
                      <a:lnTo>
                        <a:pt x="6376" y="1437"/>
                      </a:lnTo>
                      <a:lnTo>
                        <a:pt x="6376" y="1429"/>
                      </a:lnTo>
                      <a:lnTo>
                        <a:pt x="6388" y="1427"/>
                      </a:lnTo>
                      <a:lnTo>
                        <a:pt x="6393" y="1421"/>
                      </a:lnTo>
                      <a:lnTo>
                        <a:pt x="6390" y="1419"/>
                      </a:lnTo>
                      <a:lnTo>
                        <a:pt x="6393" y="1413"/>
                      </a:lnTo>
                      <a:lnTo>
                        <a:pt x="6409" y="1402"/>
                      </a:lnTo>
                      <a:lnTo>
                        <a:pt x="6412" y="1402"/>
                      </a:lnTo>
                      <a:lnTo>
                        <a:pt x="6418" y="1405"/>
                      </a:lnTo>
                      <a:lnTo>
                        <a:pt x="6421" y="1411"/>
                      </a:lnTo>
                      <a:lnTo>
                        <a:pt x="6421" y="1413"/>
                      </a:lnTo>
                      <a:lnTo>
                        <a:pt x="6423" y="1421"/>
                      </a:lnTo>
                      <a:lnTo>
                        <a:pt x="6434" y="1424"/>
                      </a:lnTo>
                      <a:lnTo>
                        <a:pt x="6437" y="1427"/>
                      </a:lnTo>
                      <a:lnTo>
                        <a:pt x="6437" y="1432"/>
                      </a:lnTo>
                      <a:lnTo>
                        <a:pt x="6434" y="1441"/>
                      </a:lnTo>
                      <a:lnTo>
                        <a:pt x="6439" y="1446"/>
                      </a:lnTo>
                      <a:lnTo>
                        <a:pt x="6439" y="1455"/>
                      </a:lnTo>
                      <a:lnTo>
                        <a:pt x="6437" y="1457"/>
                      </a:lnTo>
                      <a:lnTo>
                        <a:pt x="6429" y="1482"/>
                      </a:lnTo>
                      <a:lnTo>
                        <a:pt x="6429" y="1490"/>
                      </a:lnTo>
                      <a:lnTo>
                        <a:pt x="6426" y="1493"/>
                      </a:lnTo>
                      <a:lnTo>
                        <a:pt x="6426" y="1498"/>
                      </a:lnTo>
                      <a:lnTo>
                        <a:pt x="6426" y="1504"/>
                      </a:lnTo>
                      <a:lnTo>
                        <a:pt x="6431" y="1510"/>
                      </a:lnTo>
                      <a:lnTo>
                        <a:pt x="6437" y="1510"/>
                      </a:lnTo>
                      <a:lnTo>
                        <a:pt x="6434" y="1513"/>
                      </a:lnTo>
                      <a:lnTo>
                        <a:pt x="6434" y="1518"/>
                      </a:lnTo>
                      <a:lnTo>
                        <a:pt x="6442" y="1521"/>
                      </a:lnTo>
                      <a:lnTo>
                        <a:pt x="6442" y="1529"/>
                      </a:lnTo>
                      <a:lnTo>
                        <a:pt x="6445" y="1529"/>
                      </a:lnTo>
                      <a:lnTo>
                        <a:pt x="6451" y="1526"/>
                      </a:lnTo>
                      <a:lnTo>
                        <a:pt x="6459" y="1529"/>
                      </a:lnTo>
                      <a:lnTo>
                        <a:pt x="6462" y="1532"/>
                      </a:lnTo>
                      <a:lnTo>
                        <a:pt x="6459" y="1537"/>
                      </a:lnTo>
                      <a:lnTo>
                        <a:pt x="6462" y="1540"/>
                      </a:lnTo>
                      <a:lnTo>
                        <a:pt x="6465" y="1537"/>
                      </a:lnTo>
                      <a:lnTo>
                        <a:pt x="6467" y="1542"/>
                      </a:lnTo>
                      <a:lnTo>
                        <a:pt x="6475" y="1537"/>
                      </a:lnTo>
                      <a:lnTo>
                        <a:pt x="6481" y="1537"/>
                      </a:lnTo>
                      <a:lnTo>
                        <a:pt x="6490" y="1540"/>
                      </a:lnTo>
                      <a:lnTo>
                        <a:pt x="6490" y="1542"/>
                      </a:lnTo>
                      <a:lnTo>
                        <a:pt x="6498" y="1546"/>
                      </a:lnTo>
                      <a:lnTo>
                        <a:pt x="6498" y="1549"/>
                      </a:lnTo>
                      <a:lnTo>
                        <a:pt x="6500" y="1549"/>
                      </a:lnTo>
                      <a:lnTo>
                        <a:pt x="6503" y="1557"/>
                      </a:lnTo>
                      <a:lnTo>
                        <a:pt x="6506" y="1559"/>
                      </a:lnTo>
                      <a:lnTo>
                        <a:pt x="6508" y="1565"/>
                      </a:lnTo>
                      <a:lnTo>
                        <a:pt x="6511" y="1565"/>
                      </a:lnTo>
                      <a:lnTo>
                        <a:pt x="6514" y="1565"/>
                      </a:lnTo>
                      <a:lnTo>
                        <a:pt x="6514" y="1570"/>
                      </a:lnTo>
                      <a:lnTo>
                        <a:pt x="6514" y="1573"/>
                      </a:lnTo>
                      <a:lnTo>
                        <a:pt x="6516" y="1573"/>
                      </a:lnTo>
                      <a:lnTo>
                        <a:pt x="6523" y="1570"/>
                      </a:lnTo>
                      <a:lnTo>
                        <a:pt x="6528" y="1573"/>
                      </a:lnTo>
                      <a:lnTo>
                        <a:pt x="6528" y="1570"/>
                      </a:lnTo>
                      <a:lnTo>
                        <a:pt x="6536" y="1573"/>
                      </a:lnTo>
                      <a:lnTo>
                        <a:pt x="6542" y="1570"/>
                      </a:lnTo>
                      <a:lnTo>
                        <a:pt x="6542" y="1584"/>
                      </a:lnTo>
                      <a:lnTo>
                        <a:pt x="6544" y="1590"/>
                      </a:lnTo>
                      <a:lnTo>
                        <a:pt x="6547" y="1595"/>
                      </a:lnTo>
                      <a:lnTo>
                        <a:pt x="6544" y="1601"/>
                      </a:lnTo>
                      <a:lnTo>
                        <a:pt x="6550" y="1601"/>
                      </a:lnTo>
                      <a:lnTo>
                        <a:pt x="6556" y="1609"/>
                      </a:lnTo>
                      <a:lnTo>
                        <a:pt x="6564" y="1603"/>
                      </a:lnTo>
                      <a:lnTo>
                        <a:pt x="6567" y="1606"/>
                      </a:lnTo>
                      <a:lnTo>
                        <a:pt x="6583" y="1603"/>
                      </a:lnTo>
                      <a:lnTo>
                        <a:pt x="6583" y="1601"/>
                      </a:lnTo>
                      <a:lnTo>
                        <a:pt x="6585" y="1598"/>
                      </a:lnTo>
                      <a:lnTo>
                        <a:pt x="6592" y="1603"/>
                      </a:lnTo>
                      <a:lnTo>
                        <a:pt x="6589" y="1606"/>
                      </a:lnTo>
                      <a:lnTo>
                        <a:pt x="6592" y="1611"/>
                      </a:lnTo>
                      <a:lnTo>
                        <a:pt x="6594" y="1609"/>
                      </a:lnTo>
                      <a:lnTo>
                        <a:pt x="6603" y="1615"/>
                      </a:lnTo>
                      <a:lnTo>
                        <a:pt x="6608" y="1615"/>
                      </a:lnTo>
                      <a:lnTo>
                        <a:pt x="6611" y="1615"/>
                      </a:lnTo>
                      <a:lnTo>
                        <a:pt x="6613" y="1623"/>
                      </a:lnTo>
                      <a:lnTo>
                        <a:pt x="6619" y="1623"/>
                      </a:lnTo>
                      <a:lnTo>
                        <a:pt x="6616" y="1634"/>
                      </a:lnTo>
                      <a:lnTo>
                        <a:pt x="6625" y="1628"/>
                      </a:lnTo>
                      <a:lnTo>
                        <a:pt x="6628" y="1634"/>
                      </a:lnTo>
                      <a:lnTo>
                        <a:pt x="6630" y="1636"/>
                      </a:lnTo>
                      <a:lnTo>
                        <a:pt x="6636" y="1634"/>
                      </a:lnTo>
                      <a:lnTo>
                        <a:pt x="6636" y="1639"/>
                      </a:lnTo>
                      <a:lnTo>
                        <a:pt x="6638" y="1644"/>
                      </a:lnTo>
                      <a:lnTo>
                        <a:pt x="6655" y="1639"/>
                      </a:lnTo>
                      <a:lnTo>
                        <a:pt x="6655" y="1642"/>
                      </a:lnTo>
                      <a:lnTo>
                        <a:pt x="6652" y="1647"/>
                      </a:lnTo>
                      <a:lnTo>
                        <a:pt x="6658" y="1651"/>
                      </a:lnTo>
                      <a:lnTo>
                        <a:pt x="6663" y="1642"/>
                      </a:lnTo>
                      <a:lnTo>
                        <a:pt x="6669" y="1642"/>
                      </a:lnTo>
                      <a:lnTo>
                        <a:pt x="6669" y="1647"/>
                      </a:lnTo>
                      <a:lnTo>
                        <a:pt x="6672" y="1651"/>
                      </a:lnTo>
                      <a:lnTo>
                        <a:pt x="6674" y="1651"/>
                      </a:lnTo>
                      <a:lnTo>
                        <a:pt x="6674" y="1656"/>
                      </a:lnTo>
                      <a:lnTo>
                        <a:pt x="6669" y="1659"/>
                      </a:lnTo>
                      <a:lnTo>
                        <a:pt x="6672" y="1664"/>
                      </a:lnTo>
                      <a:lnTo>
                        <a:pt x="6680" y="1659"/>
                      </a:lnTo>
                      <a:lnTo>
                        <a:pt x="6688" y="1667"/>
                      </a:lnTo>
                      <a:lnTo>
                        <a:pt x="6694" y="1664"/>
                      </a:lnTo>
                      <a:lnTo>
                        <a:pt x="6690" y="1659"/>
                      </a:lnTo>
                      <a:lnTo>
                        <a:pt x="6699" y="1661"/>
                      </a:lnTo>
                      <a:lnTo>
                        <a:pt x="6707" y="1667"/>
                      </a:lnTo>
                      <a:lnTo>
                        <a:pt x="6710" y="1659"/>
                      </a:lnTo>
                      <a:lnTo>
                        <a:pt x="6721" y="1659"/>
                      </a:lnTo>
                      <a:lnTo>
                        <a:pt x="6721" y="1661"/>
                      </a:lnTo>
                      <a:lnTo>
                        <a:pt x="6724" y="1661"/>
                      </a:lnTo>
                      <a:lnTo>
                        <a:pt x="6727" y="1656"/>
                      </a:lnTo>
                      <a:lnTo>
                        <a:pt x="6727" y="1653"/>
                      </a:lnTo>
                      <a:lnTo>
                        <a:pt x="6730" y="1653"/>
                      </a:lnTo>
                      <a:lnTo>
                        <a:pt x="6733" y="1656"/>
                      </a:lnTo>
                      <a:lnTo>
                        <a:pt x="6730" y="1659"/>
                      </a:lnTo>
                      <a:lnTo>
                        <a:pt x="6733" y="1661"/>
                      </a:lnTo>
                      <a:lnTo>
                        <a:pt x="6738" y="1664"/>
                      </a:lnTo>
                      <a:lnTo>
                        <a:pt x="6741" y="1664"/>
                      </a:lnTo>
                      <a:lnTo>
                        <a:pt x="6743" y="1661"/>
                      </a:lnTo>
                      <a:lnTo>
                        <a:pt x="6749" y="1659"/>
                      </a:lnTo>
                      <a:lnTo>
                        <a:pt x="6751" y="1664"/>
                      </a:lnTo>
                      <a:lnTo>
                        <a:pt x="6754" y="1664"/>
                      </a:lnTo>
                      <a:lnTo>
                        <a:pt x="6757" y="1661"/>
                      </a:lnTo>
                      <a:lnTo>
                        <a:pt x="6759" y="1667"/>
                      </a:lnTo>
                      <a:lnTo>
                        <a:pt x="6766" y="1661"/>
                      </a:lnTo>
                      <a:lnTo>
                        <a:pt x="6766" y="1664"/>
                      </a:lnTo>
                      <a:lnTo>
                        <a:pt x="6763" y="1675"/>
                      </a:lnTo>
                      <a:lnTo>
                        <a:pt x="6766" y="1678"/>
                      </a:lnTo>
                      <a:lnTo>
                        <a:pt x="6766" y="1680"/>
                      </a:lnTo>
                      <a:lnTo>
                        <a:pt x="6771" y="1680"/>
                      </a:lnTo>
                      <a:lnTo>
                        <a:pt x="6779" y="1680"/>
                      </a:lnTo>
                      <a:lnTo>
                        <a:pt x="6784" y="1692"/>
                      </a:lnTo>
                      <a:lnTo>
                        <a:pt x="6792" y="1683"/>
                      </a:lnTo>
                      <a:lnTo>
                        <a:pt x="6799" y="1689"/>
                      </a:lnTo>
                      <a:lnTo>
                        <a:pt x="6799" y="1692"/>
                      </a:lnTo>
                      <a:lnTo>
                        <a:pt x="6799" y="1695"/>
                      </a:lnTo>
                      <a:lnTo>
                        <a:pt x="6804" y="1697"/>
                      </a:lnTo>
                      <a:lnTo>
                        <a:pt x="6807" y="1700"/>
                      </a:lnTo>
                      <a:lnTo>
                        <a:pt x="6807" y="1703"/>
                      </a:lnTo>
                      <a:lnTo>
                        <a:pt x="6802" y="1708"/>
                      </a:lnTo>
                      <a:lnTo>
                        <a:pt x="6804" y="1716"/>
                      </a:lnTo>
                      <a:lnTo>
                        <a:pt x="6810" y="1722"/>
                      </a:lnTo>
                      <a:lnTo>
                        <a:pt x="6818" y="1741"/>
                      </a:lnTo>
                      <a:lnTo>
                        <a:pt x="6820" y="1744"/>
                      </a:lnTo>
                      <a:lnTo>
                        <a:pt x="6837" y="1741"/>
                      </a:lnTo>
                      <a:lnTo>
                        <a:pt x="6840" y="1747"/>
                      </a:lnTo>
                      <a:lnTo>
                        <a:pt x="6845" y="1752"/>
                      </a:lnTo>
                      <a:lnTo>
                        <a:pt x="6848" y="1761"/>
                      </a:lnTo>
                      <a:lnTo>
                        <a:pt x="6851" y="1764"/>
                      </a:lnTo>
                      <a:lnTo>
                        <a:pt x="6868" y="1766"/>
                      </a:lnTo>
                      <a:lnTo>
                        <a:pt x="6871" y="1766"/>
                      </a:lnTo>
                      <a:lnTo>
                        <a:pt x="6873" y="1769"/>
                      </a:lnTo>
                      <a:lnTo>
                        <a:pt x="6881" y="1774"/>
                      </a:lnTo>
                      <a:lnTo>
                        <a:pt x="6889" y="1785"/>
                      </a:lnTo>
                      <a:lnTo>
                        <a:pt x="6895" y="1789"/>
                      </a:lnTo>
                      <a:lnTo>
                        <a:pt x="6901" y="1789"/>
                      </a:lnTo>
                      <a:lnTo>
                        <a:pt x="6917" y="1789"/>
                      </a:lnTo>
                      <a:lnTo>
                        <a:pt x="6928" y="1782"/>
                      </a:lnTo>
                      <a:lnTo>
                        <a:pt x="6934" y="1782"/>
                      </a:lnTo>
                      <a:lnTo>
                        <a:pt x="6940" y="1789"/>
                      </a:lnTo>
                      <a:lnTo>
                        <a:pt x="6942" y="1791"/>
                      </a:lnTo>
                      <a:lnTo>
                        <a:pt x="6945" y="1800"/>
                      </a:lnTo>
                      <a:lnTo>
                        <a:pt x="6945" y="1808"/>
                      </a:lnTo>
                      <a:lnTo>
                        <a:pt x="6945" y="1810"/>
                      </a:lnTo>
                      <a:lnTo>
                        <a:pt x="6942" y="1818"/>
                      </a:lnTo>
                      <a:lnTo>
                        <a:pt x="6934" y="1827"/>
                      </a:lnTo>
                      <a:lnTo>
                        <a:pt x="6925" y="1838"/>
                      </a:lnTo>
                      <a:lnTo>
                        <a:pt x="6925" y="1849"/>
                      </a:lnTo>
                      <a:lnTo>
                        <a:pt x="6928" y="1851"/>
                      </a:lnTo>
                      <a:lnTo>
                        <a:pt x="6934" y="1851"/>
                      </a:lnTo>
                      <a:lnTo>
                        <a:pt x="6942" y="1854"/>
                      </a:lnTo>
                      <a:lnTo>
                        <a:pt x="6950" y="1857"/>
                      </a:lnTo>
                      <a:lnTo>
                        <a:pt x="6953" y="1863"/>
                      </a:lnTo>
                      <a:lnTo>
                        <a:pt x="6961" y="1869"/>
                      </a:lnTo>
                      <a:lnTo>
                        <a:pt x="6973" y="1869"/>
                      </a:lnTo>
                      <a:lnTo>
                        <a:pt x="6981" y="1866"/>
                      </a:lnTo>
                      <a:lnTo>
                        <a:pt x="6986" y="1866"/>
                      </a:lnTo>
                      <a:lnTo>
                        <a:pt x="6989" y="1869"/>
                      </a:lnTo>
                      <a:lnTo>
                        <a:pt x="6991" y="1866"/>
                      </a:lnTo>
                      <a:lnTo>
                        <a:pt x="6994" y="1854"/>
                      </a:lnTo>
                      <a:lnTo>
                        <a:pt x="6994" y="1851"/>
                      </a:lnTo>
                      <a:lnTo>
                        <a:pt x="6999" y="1851"/>
                      </a:lnTo>
                      <a:lnTo>
                        <a:pt x="7003" y="1854"/>
                      </a:lnTo>
                      <a:lnTo>
                        <a:pt x="7008" y="1851"/>
                      </a:lnTo>
                      <a:lnTo>
                        <a:pt x="7011" y="1846"/>
                      </a:lnTo>
                      <a:lnTo>
                        <a:pt x="7019" y="1843"/>
                      </a:lnTo>
                      <a:lnTo>
                        <a:pt x="7025" y="1838"/>
                      </a:lnTo>
                      <a:lnTo>
                        <a:pt x="7027" y="1838"/>
                      </a:lnTo>
                      <a:lnTo>
                        <a:pt x="7033" y="1838"/>
                      </a:lnTo>
                      <a:lnTo>
                        <a:pt x="7044" y="1851"/>
                      </a:lnTo>
                      <a:lnTo>
                        <a:pt x="7047" y="1849"/>
                      </a:lnTo>
                      <a:lnTo>
                        <a:pt x="7052" y="1846"/>
                      </a:lnTo>
                      <a:lnTo>
                        <a:pt x="7058" y="1843"/>
                      </a:lnTo>
                      <a:lnTo>
                        <a:pt x="7060" y="1846"/>
                      </a:lnTo>
                      <a:lnTo>
                        <a:pt x="7066" y="1851"/>
                      </a:lnTo>
                      <a:lnTo>
                        <a:pt x="7072" y="1851"/>
                      </a:lnTo>
                      <a:lnTo>
                        <a:pt x="7080" y="1846"/>
                      </a:lnTo>
                      <a:lnTo>
                        <a:pt x="7083" y="1841"/>
                      </a:lnTo>
                      <a:lnTo>
                        <a:pt x="7088" y="1838"/>
                      </a:lnTo>
                      <a:lnTo>
                        <a:pt x="7096" y="1841"/>
                      </a:lnTo>
                      <a:lnTo>
                        <a:pt x="7105" y="1841"/>
                      </a:lnTo>
                      <a:lnTo>
                        <a:pt x="7111" y="1838"/>
                      </a:lnTo>
                      <a:lnTo>
                        <a:pt x="7113" y="1830"/>
                      </a:lnTo>
                      <a:lnTo>
                        <a:pt x="7116" y="1830"/>
                      </a:lnTo>
                      <a:lnTo>
                        <a:pt x="7116" y="1825"/>
                      </a:lnTo>
                      <a:lnTo>
                        <a:pt x="7119" y="1821"/>
                      </a:lnTo>
                      <a:lnTo>
                        <a:pt x="7124" y="1818"/>
                      </a:lnTo>
                      <a:lnTo>
                        <a:pt x="7135" y="1816"/>
                      </a:lnTo>
                      <a:lnTo>
                        <a:pt x="7147" y="1802"/>
                      </a:lnTo>
                      <a:lnTo>
                        <a:pt x="7155" y="1805"/>
                      </a:lnTo>
                      <a:lnTo>
                        <a:pt x="7157" y="1802"/>
                      </a:lnTo>
                      <a:lnTo>
                        <a:pt x="7160" y="1800"/>
                      </a:lnTo>
                      <a:lnTo>
                        <a:pt x="7163" y="1797"/>
                      </a:lnTo>
                      <a:lnTo>
                        <a:pt x="7168" y="1797"/>
                      </a:lnTo>
                      <a:lnTo>
                        <a:pt x="7174" y="1797"/>
                      </a:lnTo>
                      <a:lnTo>
                        <a:pt x="7180" y="1797"/>
                      </a:lnTo>
                      <a:lnTo>
                        <a:pt x="7198" y="1791"/>
                      </a:lnTo>
                      <a:lnTo>
                        <a:pt x="7198" y="1794"/>
                      </a:lnTo>
                      <a:lnTo>
                        <a:pt x="7196" y="1800"/>
                      </a:lnTo>
                      <a:lnTo>
                        <a:pt x="7182" y="1821"/>
                      </a:lnTo>
                      <a:lnTo>
                        <a:pt x="7171" y="1841"/>
                      </a:lnTo>
                      <a:lnTo>
                        <a:pt x="7160" y="1851"/>
                      </a:lnTo>
                      <a:lnTo>
                        <a:pt x="7149" y="1860"/>
                      </a:lnTo>
                      <a:lnTo>
                        <a:pt x="7132" y="1871"/>
                      </a:lnTo>
                      <a:lnTo>
                        <a:pt x="7105" y="1885"/>
                      </a:lnTo>
                      <a:lnTo>
                        <a:pt x="7091" y="1887"/>
                      </a:lnTo>
                      <a:lnTo>
                        <a:pt x="7083" y="1894"/>
                      </a:lnTo>
                      <a:lnTo>
                        <a:pt x="7080" y="1896"/>
                      </a:lnTo>
                      <a:lnTo>
                        <a:pt x="7072" y="1915"/>
                      </a:lnTo>
                      <a:lnTo>
                        <a:pt x="7068" y="1920"/>
                      </a:lnTo>
                      <a:lnTo>
                        <a:pt x="7068" y="1929"/>
                      </a:lnTo>
                      <a:lnTo>
                        <a:pt x="7066" y="1935"/>
                      </a:lnTo>
                      <a:lnTo>
                        <a:pt x="7050" y="1956"/>
                      </a:lnTo>
                      <a:lnTo>
                        <a:pt x="7050" y="1959"/>
                      </a:lnTo>
                      <a:lnTo>
                        <a:pt x="7052" y="1962"/>
                      </a:lnTo>
                      <a:lnTo>
                        <a:pt x="7060" y="1965"/>
                      </a:lnTo>
                      <a:lnTo>
                        <a:pt x="7066" y="1968"/>
                      </a:lnTo>
                      <a:lnTo>
                        <a:pt x="7072" y="1968"/>
                      </a:lnTo>
                      <a:lnTo>
                        <a:pt x="7075" y="1971"/>
                      </a:lnTo>
                      <a:lnTo>
                        <a:pt x="7063" y="1995"/>
                      </a:lnTo>
                      <a:lnTo>
                        <a:pt x="7042" y="2045"/>
                      </a:lnTo>
                      <a:lnTo>
                        <a:pt x="7019" y="2089"/>
                      </a:lnTo>
                      <a:lnTo>
                        <a:pt x="7006" y="2125"/>
                      </a:lnTo>
                      <a:lnTo>
                        <a:pt x="6975" y="2191"/>
                      </a:lnTo>
                      <a:lnTo>
                        <a:pt x="6928" y="2296"/>
                      </a:lnTo>
                      <a:lnTo>
                        <a:pt x="6925" y="2299"/>
                      </a:lnTo>
                      <a:lnTo>
                        <a:pt x="6909" y="2337"/>
                      </a:lnTo>
                      <a:lnTo>
                        <a:pt x="6879" y="2406"/>
                      </a:lnTo>
                      <a:lnTo>
                        <a:pt x="6868" y="2434"/>
                      </a:lnTo>
                      <a:lnTo>
                        <a:pt x="6851" y="2472"/>
                      </a:lnTo>
                      <a:lnTo>
                        <a:pt x="6823" y="2533"/>
                      </a:lnTo>
                      <a:lnTo>
                        <a:pt x="6730" y="2738"/>
                      </a:lnTo>
                      <a:lnTo>
                        <a:pt x="6608" y="3002"/>
                      </a:lnTo>
                      <a:lnTo>
                        <a:pt x="6580" y="3068"/>
                      </a:lnTo>
                      <a:lnTo>
                        <a:pt x="6544" y="3145"/>
                      </a:lnTo>
                      <a:lnTo>
                        <a:pt x="6481" y="3290"/>
                      </a:lnTo>
                      <a:lnTo>
                        <a:pt x="6319" y="3651"/>
                      </a:lnTo>
                      <a:lnTo>
                        <a:pt x="6316" y="3656"/>
                      </a:lnTo>
                      <a:lnTo>
                        <a:pt x="6310" y="3659"/>
                      </a:lnTo>
                      <a:lnTo>
                        <a:pt x="6310" y="3661"/>
                      </a:lnTo>
                      <a:lnTo>
                        <a:pt x="6307" y="3661"/>
                      </a:lnTo>
                      <a:lnTo>
                        <a:pt x="6296" y="3661"/>
                      </a:lnTo>
                      <a:lnTo>
                        <a:pt x="6293" y="3664"/>
                      </a:lnTo>
                      <a:lnTo>
                        <a:pt x="6291" y="3678"/>
                      </a:lnTo>
                      <a:lnTo>
                        <a:pt x="6288" y="3684"/>
                      </a:lnTo>
                      <a:lnTo>
                        <a:pt x="6283" y="3692"/>
                      </a:lnTo>
                      <a:lnTo>
                        <a:pt x="6274" y="3695"/>
                      </a:lnTo>
                      <a:lnTo>
                        <a:pt x="6252" y="3714"/>
                      </a:lnTo>
                      <a:lnTo>
                        <a:pt x="6243" y="3728"/>
                      </a:lnTo>
                      <a:lnTo>
                        <a:pt x="6235" y="3736"/>
                      </a:lnTo>
                      <a:lnTo>
                        <a:pt x="6230" y="3747"/>
                      </a:lnTo>
                      <a:lnTo>
                        <a:pt x="6230" y="3783"/>
                      </a:lnTo>
                      <a:lnTo>
                        <a:pt x="6235" y="3791"/>
                      </a:lnTo>
                      <a:lnTo>
                        <a:pt x="6238" y="3805"/>
                      </a:lnTo>
                      <a:lnTo>
                        <a:pt x="6250" y="3835"/>
                      </a:lnTo>
                      <a:lnTo>
                        <a:pt x="6260" y="3850"/>
                      </a:lnTo>
                      <a:lnTo>
                        <a:pt x="6266" y="3852"/>
                      </a:lnTo>
                      <a:lnTo>
                        <a:pt x="6268" y="3860"/>
                      </a:lnTo>
                      <a:lnTo>
                        <a:pt x="6271" y="3860"/>
                      </a:lnTo>
                      <a:lnTo>
                        <a:pt x="6283" y="3863"/>
                      </a:lnTo>
                      <a:lnTo>
                        <a:pt x="6288" y="3868"/>
                      </a:lnTo>
                      <a:lnTo>
                        <a:pt x="6293" y="3874"/>
                      </a:lnTo>
                      <a:lnTo>
                        <a:pt x="6307" y="3899"/>
                      </a:lnTo>
                      <a:lnTo>
                        <a:pt x="6316" y="3907"/>
                      </a:lnTo>
                      <a:lnTo>
                        <a:pt x="6324" y="3910"/>
                      </a:lnTo>
                      <a:lnTo>
                        <a:pt x="6327" y="3910"/>
                      </a:lnTo>
                      <a:lnTo>
                        <a:pt x="6332" y="3921"/>
                      </a:lnTo>
                      <a:lnTo>
                        <a:pt x="6335" y="3927"/>
                      </a:lnTo>
                      <a:lnTo>
                        <a:pt x="6340" y="3929"/>
                      </a:lnTo>
                      <a:lnTo>
                        <a:pt x="6343" y="3940"/>
                      </a:lnTo>
                      <a:lnTo>
                        <a:pt x="6352" y="3948"/>
                      </a:lnTo>
                      <a:lnTo>
                        <a:pt x="6357" y="3971"/>
                      </a:lnTo>
                      <a:lnTo>
                        <a:pt x="6354" y="3988"/>
                      </a:lnTo>
                      <a:lnTo>
                        <a:pt x="6357" y="4001"/>
                      </a:lnTo>
                      <a:lnTo>
                        <a:pt x="6357" y="4006"/>
                      </a:lnTo>
                      <a:lnTo>
                        <a:pt x="6365" y="4017"/>
                      </a:lnTo>
                      <a:lnTo>
                        <a:pt x="6370" y="4023"/>
                      </a:lnTo>
                      <a:lnTo>
                        <a:pt x="6368" y="4026"/>
                      </a:lnTo>
                      <a:lnTo>
                        <a:pt x="6354" y="4040"/>
                      </a:lnTo>
                      <a:lnTo>
                        <a:pt x="6340" y="4067"/>
                      </a:lnTo>
                      <a:lnTo>
                        <a:pt x="6337" y="4081"/>
                      </a:lnTo>
                      <a:lnTo>
                        <a:pt x="6335" y="4095"/>
                      </a:lnTo>
                      <a:lnTo>
                        <a:pt x="6337" y="4106"/>
                      </a:lnTo>
                      <a:lnTo>
                        <a:pt x="6340" y="4119"/>
                      </a:lnTo>
                      <a:lnTo>
                        <a:pt x="6343" y="4125"/>
                      </a:lnTo>
                      <a:lnTo>
                        <a:pt x="6343" y="4134"/>
                      </a:lnTo>
                      <a:lnTo>
                        <a:pt x="6329" y="4147"/>
                      </a:lnTo>
                      <a:lnTo>
                        <a:pt x="6324" y="4158"/>
                      </a:lnTo>
                      <a:lnTo>
                        <a:pt x="6312" y="4169"/>
                      </a:lnTo>
                      <a:lnTo>
                        <a:pt x="6310" y="4172"/>
                      </a:lnTo>
                      <a:lnTo>
                        <a:pt x="6310" y="4183"/>
                      </a:lnTo>
                      <a:lnTo>
                        <a:pt x="6310" y="4188"/>
                      </a:lnTo>
                      <a:lnTo>
                        <a:pt x="6304" y="4197"/>
                      </a:lnTo>
                      <a:lnTo>
                        <a:pt x="6291" y="4211"/>
                      </a:lnTo>
                      <a:lnTo>
                        <a:pt x="6274" y="4219"/>
                      </a:lnTo>
                      <a:lnTo>
                        <a:pt x="6271" y="4224"/>
                      </a:lnTo>
                      <a:lnTo>
                        <a:pt x="6268" y="4224"/>
                      </a:lnTo>
                      <a:lnTo>
                        <a:pt x="6268" y="4229"/>
                      </a:lnTo>
                      <a:lnTo>
                        <a:pt x="6274" y="4236"/>
                      </a:lnTo>
                      <a:lnTo>
                        <a:pt x="6274" y="4255"/>
                      </a:lnTo>
                      <a:lnTo>
                        <a:pt x="6283" y="4269"/>
                      </a:lnTo>
                      <a:lnTo>
                        <a:pt x="6291" y="4280"/>
                      </a:lnTo>
                      <a:lnTo>
                        <a:pt x="6293" y="4290"/>
                      </a:lnTo>
                      <a:lnTo>
                        <a:pt x="6293" y="4296"/>
                      </a:lnTo>
                      <a:lnTo>
                        <a:pt x="6296" y="4305"/>
                      </a:lnTo>
                      <a:lnTo>
                        <a:pt x="6307" y="4324"/>
                      </a:lnTo>
                      <a:lnTo>
                        <a:pt x="6310" y="4329"/>
                      </a:lnTo>
                      <a:lnTo>
                        <a:pt x="6307" y="4338"/>
                      </a:lnTo>
                      <a:lnTo>
                        <a:pt x="6310" y="4346"/>
                      </a:lnTo>
                      <a:lnTo>
                        <a:pt x="6307" y="4351"/>
                      </a:lnTo>
                      <a:lnTo>
                        <a:pt x="6296" y="4357"/>
                      </a:lnTo>
                      <a:lnTo>
                        <a:pt x="6293" y="4365"/>
                      </a:lnTo>
                      <a:lnTo>
                        <a:pt x="6299" y="4382"/>
                      </a:lnTo>
                      <a:lnTo>
                        <a:pt x="6293" y="4390"/>
                      </a:lnTo>
                      <a:lnTo>
                        <a:pt x="6296" y="4407"/>
                      </a:lnTo>
                      <a:lnTo>
                        <a:pt x="6293" y="4412"/>
                      </a:lnTo>
                      <a:lnTo>
                        <a:pt x="6293" y="4418"/>
                      </a:lnTo>
                      <a:lnTo>
                        <a:pt x="6296" y="4420"/>
                      </a:lnTo>
                      <a:lnTo>
                        <a:pt x="6299" y="4428"/>
                      </a:lnTo>
                      <a:lnTo>
                        <a:pt x="6296" y="4431"/>
                      </a:lnTo>
                      <a:lnTo>
                        <a:pt x="6285" y="4436"/>
                      </a:lnTo>
                      <a:lnTo>
                        <a:pt x="6283" y="4443"/>
                      </a:lnTo>
                      <a:lnTo>
                        <a:pt x="6285" y="4448"/>
                      </a:lnTo>
                      <a:lnTo>
                        <a:pt x="6283" y="4454"/>
                      </a:lnTo>
                      <a:lnTo>
                        <a:pt x="6283" y="4459"/>
                      </a:lnTo>
                      <a:lnTo>
                        <a:pt x="6271" y="4472"/>
                      </a:lnTo>
                      <a:lnTo>
                        <a:pt x="6268" y="4479"/>
                      </a:lnTo>
                      <a:lnTo>
                        <a:pt x="6263" y="4487"/>
                      </a:lnTo>
                      <a:lnTo>
                        <a:pt x="6260" y="4489"/>
                      </a:lnTo>
                      <a:lnTo>
                        <a:pt x="6255" y="4500"/>
                      </a:lnTo>
                      <a:lnTo>
                        <a:pt x="6258" y="4508"/>
                      </a:lnTo>
                      <a:lnTo>
                        <a:pt x="6260" y="4515"/>
                      </a:lnTo>
                      <a:lnTo>
                        <a:pt x="6260" y="4520"/>
                      </a:lnTo>
                      <a:lnTo>
                        <a:pt x="6258" y="4531"/>
                      </a:lnTo>
                      <a:lnTo>
                        <a:pt x="6263" y="4536"/>
                      </a:lnTo>
                      <a:lnTo>
                        <a:pt x="6266" y="4541"/>
                      </a:lnTo>
                      <a:lnTo>
                        <a:pt x="6266" y="4548"/>
                      </a:lnTo>
                      <a:lnTo>
                        <a:pt x="6263" y="4550"/>
                      </a:lnTo>
                      <a:lnTo>
                        <a:pt x="6260" y="4558"/>
                      </a:lnTo>
                      <a:lnTo>
                        <a:pt x="6258" y="4564"/>
                      </a:lnTo>
                      <a:lnTo>
                        <a:pt x="6247" y="4589"/>
                      </a:lnTo>
                      <a:lnTo>
                        <a:pt x="6250" y="4592"/>
                      </a:lnTo>
                      <a:lnTo>
                        <a:pt x="6258" y="4594"/>
                      </a:lnTo>
                      <a:lnTo>
                        <a:pt x="6268" y="4589"/>
                      </a:lnTo>
                      <a:lnTo>
                        <a:pt x="6271" y="4589"/>
                      </a:lnTo>
                      <a:lnTo>
                        <a:pt x="6283" y="4586"/>
                      </a:lnTo>
                      <a:lnTo>
                        <a:pt x="6293" y="4592"/>
                      </a:lnTo>
                      <a:lnTo>
                        <a:pt x="6293" y="4594"/>
                      </a:lnTo>
                      <a:lnTo>
                        <a:pt x="6291" y="4597"/>
                      </a:lnTo>
                      <a:lnTo>
                        <a:pt x="6283" y="4602"/>
                      </a:lnTo>
                      <a:lnTo>
                        <a:pt x="6266" y="4619"/>
                      </a:lnTo>
                      <a:lnTo>
                        <a:pt x="6260" y="4625"/>
                      </a:lnTo>
                      <a:lnTo>
                        <a:pt x="6258" y="4625"/>
                      </a:lnTo>
                      <a:lnTo>
                        <a:pt x="6255" y="4625"/>
                      </a:lnTo>
                      <a:lnTo>
                        <a:pt x="6252" y="4625"/>
                      </a:lnTo>
                      <a:lnTo>
                        <a:pt x="6247" y="4627"/>
                      </a:lnTo>
                      <a:lnTo>
                        <a:pt x="6222" y="4630"/>
                      </a:lnTo>
                      <a:lnTo>
                        <a:pt x="5979" y="4630"/>
                      </a:lnTo>
                      <a:lnTo>
                        <a:pt x="5967" y="4630"/>
                      </a:lnTo>
                      <a:lnTo>
                        <a:pt x="5670" y="4630"/>
                      </a:lnTo>
                      <a:lnTo>
                        <a:pt x="5440" y="4627"/>
                      </a:lnTo>
                      <a:lnTo>
                        <a:pt x="5308" y="4627"/>
                      </a:lnTo>
                      <a:lnTo>
                        <a:pt x="5272" y="4627"/>
                      </a:lnTo>
                      <a:lnTo>
                        <a:pt x="5267" y="4627"/>
                      </a:lnTo>
                      <a:lnTo>
                        <a:pt x="4968" y="4627"/>
                      </a:lnTo>
                      <a:lnTo>
                        <a:pt x="4965" y="4627"/>
                      </a:lnTo>
                      <a:lnTo>
                        <a:pt x="4960" y="4627"/>
                      </a:lnTo>
                      <a:lnTo>
                        <a:pt x="4952" y="4610"/>
                      </a:lnTo>
                      <a:lnTo>
                        <a:pt x="4949" y="4608"/>
                      </a:lnTo>
                      <a:lnTo>
                        <a:pt x="4952" y="4600"/>
                      </a:lnTo>
                      <a:lnTo>
                        <a:pt x="4949" y="4597"/>
                      </a:lnTo>
                      <a:lnTo>
                        <a:pt x="4944" y="4594"/>
                      </a:lnTo>
                      <a:lnTo>
                        <a:pt x="4941" y="4592"/>
                      </a:lnTo>
                      <a:lnTo>
                        <a:pt x="4932" y="4589"/>
                      </a:lnTo>
                      <a:lnTo>
                        <a:pt x="4922" y="4592"/>
                      </a:lnTo>
                      <a:lnTo>
                        <a:pt x="4919" y="4589"/>
                      </a:lnTo>
                      <a:lnTo>
                        <a:pt x="4916" y="4581"/>
                      </a:lnTo>
                      <a:lnTo>
                        <a:pt x="4911" y="4583"/>
                      </a:lnTo>
                      <a:lnTo>
                        <a:pt x="4906" y="4583"/>
                      </a:lnTo>
                      <a:lnTo>
                        <a:pt x="4902" y="4589"/>
                      </a:lnTo>
                      <a:lnTo>
                        <a:pt x="4906" y="4592"/>
                      </a:lnTo>
                      <a:lnTo>
                        <a:pt x="4902" y="4594"/>
                      </a:lnTo>
                      <a:lnTo>
                        <a:pt x="4902" y="4597"/>
                      </a:lnTo>
                      <a:lnTo>
                        <a:pt x="4896" y="4600"/>
                      </a:lnTo>
                      <a:lnTo>
                        <a:pt x="4896" y="4602"/>
                      </a:lnTo>
                      <a:lnTo>
                        <a:pt x="4891" y="4608"/>
                      </a:lnTo>
                      <a:lnTo>
                        <a:pt x="4886" y="4605"/>
                      </a:lnTo>
                      <a:lnTo>
                        <a:pt x="4878" y="4605"/>
                      </a:lnTo>
                      <a:lnTo>
                        <a:pt x="4869" y="4600"/>
                      </a:lnTo>
                      <a:lnTo>
                        <a:pt x="4866" y="4600"/>
                      </a:lnTo>
                      <a:lnTo>
                        <a:pt x="4863" y="4605"/>
                      </a:lnTo>
                      <a:lnTo>
                        <a:pt x="4863" y="4619"/>
                      </a:lnTo>
                      <a:lnTo>
                        <a:pt x="4858" y="4625"/>
                      </a:lnTo>
                      <a:lnTo>
                        <a:pt x="4855" y="4630"/>
                      </a:lnTo>
                      <a:lnTo>
                        <a:pt x="4858" y="4635"/>
                      </a:lnTo>
                      <a:lnTo>
                        <a:pt x="4855" y="4638"/>
                      </a:lnTo>
                      <a:lnTo>
                        <a:pt x="4855" y="4641"/>
                      </a:lnTo>
                      <a:lnTo>
                        <a:pt x="4855" y="4649"/>
                      </a:lnTo>
                      <a:lnTo>
                        <a:pt x="4847" y="4655"/>
                      </a:lnTo>
                      <a:lnTo>
                        <a:pt x="4839" y="4655"/>
                      </a:lnTo>
                      <a:lnTo>
                        <a:pt x="4839" y="4661"/>
                      </a:lnTo>
                      <a:lnTo>
                        <a:pt x="4830" y="4661"/>
                      </a:lnTo>
                      <a:lnTo>
                        <a:pt x="4825" y="4663"/>
                      </a:lnTo>
                      <a:lnTo>
                        <a:pt x="4809" y="4658"/>
                      </a:lnTo>
                      <a:lnTo>
                        <a:pt x="4806" y="4661"/>
                      </a:lnTo>
                      <a:lnTo>
                        <a:pt x="4803" y="4658"/>
                      </a:lnTo>
                      <a:lnTo>
                        <a:pt x="4803" y="4649"/>
                      </a:lnTo>
                      <a:lnTo>
                        <a:pt x="4797" y="4641"/>
                      </a:lnTo>
                      <a:lnTo>
                        <a:pt x="4792" y="4638"/>
                      </a:lnTo>
                      <a:lnTo>
                        <a:pt x="4786" y="4627"/>
                      </a:lnTo>
                      <a:lnTo>
                        <a:pt x="4778" y="4627"/>
                      </a:lnTo>
                      <a:lnTo>
                        <a:pt x="4770" y="4627"/>
                      </a:lnTo>
                      <a:lnTo>
                        <a:pt x="4758" y="4633"/>
                      </a:lnTo>
                      <a:lnTo>
                        <a:pt x="4748" y="4630"/>
                      </a:lnTo>
                      <a:lnTo>
                        <a:pt x="4737" y="4602"/>
                      </a:lnTo>
                      <a:lnTo>
                        <a:pt x="4737" y="4600"/>
                      </a:lnTo>
                      <a:lnTo>
                        <a:pt x="4740" y="4594"/>
                      </a:lnTo>
                      <a:lnTo>
                        <a:pt x="4737" y="4592"/>
                      </a:lnTo>
                      <a:lnTo>
                        <a:pt x="4731" y="4589"/>
                      </a:lnTo>
                      <a:lnTo>
                        <a:pt x="4728" y="4583"/>
                      </a:lnTo>
                      <a:lnTo>
                        <a:pt x="4731" y="4577"/>
                      </a:lnTo>
                      <a:lnTo>
                        <a:pt x="4725" y="4569"/>
                      </a:lnTo>
                      <a:lnTo>
                        <a:pt x="4717" y="4564"/>
                      </a:lnTo>
                      <a:lnTo>
                        <a:pt x="4720" y="4561"/>
                      </a:lnTo>
                      <a:lnTo>
                        <a:pt x="4728" y="4561"/>
                      </a:lnTo>
                      <a:lnTo>
                        <a:pt x="4728" y="4556"/>
                      </a:lnTo>
                      <a:lnTo>
                        <a:pt x="4725" y="4550"/>
                      </a:lnTo>
                      <a:lnTo>
                        <a:pt x="4723" y="4541"/>
                      </a:lnTo>
                      <a:lnTo>
                        <a:pt x="4717" y="4541"/>
                      </a:lnTo>
                      <a:lnTo>
                        <a:pt x="4707" y="4541"/>
                      </a:lnTo>
                      <a:lnTo>
                        <a:pt x="4701" y="4536"/>
                      </a:lnTo>
                      <a:lnTo>
                        <a:pt x="4689" y="4533"/>
                      </a:lnTo>
                      <a:lnTo>
                        <a:pt x="4687" y="4536"/>
                      </a:lnTo>
                      <a:lnTo>
                        <a:pt x="4681" y="4539"/>
                      </a:lnTo>
                      <a:lnTo>
                        <a:pt x="4679" y="4541"/>
                      </a:lnTo>
                      <a:lnTo>
                        <a:pt x="4679" y="4548"/>
                      </a:lnTo>
                      <a:lnTo>
                        <a:pt x="4687" y="4556"/>
                      </a:lnTo>
                      <a:lnTo>
                        <a:pt x="4684" y="4561"/>
                      </a:lnTo>
                      <a:lnTo>
                        <a:pt x="4681" y="4561"/>
                      </a:lnTo>
                      <a:lnTo>
                        <a:pt x="4662" y="4548"/>
                      </a:lnTo>
                      <a:lnTo>
                        <a:pt x="4659" y="4544"/>
                      </a:lnTo>
                      <a:lnTo>
                        <a:pt x="4659" y="4541"/>
                      </a:lnTo>
                      <a:lnTo>
                        <a:pt x="4665" y="4533"/>
                      </a:lnTo>
                      <a:lnTo>
                        <a:pt x="4668" y="4528"/>
                      </a:lnTo>
                      <a:lnTo>
                        <a:pt x="4662" y="4523"/>
                      </a:lnTo>
                      <a:lnTo>
                        <a:pt x="4665" y="4515"/>
                      </a:lnTo>
                      <a:lnTo>
                        <a:pt x="4662" y="4508"/>
                      </a:lnTo>
                      <a:lnTo>
                        <a:pt x="4656" y="4508"/>
                      </a:lnTo>
                      <a:lnTo>
                        <a:pt x="4654" y="4505"/>
                      </a:lnTo>
                      <a:lnTo>
                        <a:pt x="4651" y="4500"/>
                      </a:lnTo>
                      <a:lnTo>
                        <a:pt x="4651" y="4492"/>
                      </a:lnTo>
                      <a:lnTo>
                        <a:pt x="4648" y="4481"/>
                      </a:lnTo>
                      <a:lnTo>
                        <a:pt x="4651" y="4470"/>
                      </a:lnTo>
                      <a:lnTo>
                        <a:pt x="4654" y="4464"/>
                      </a:lnTo>
                      <a:lnTo>
                        <a:pt x="4654" y="4459"/>
                      </a:lnTo>
                      <a:lnTo>
                        <a:pt x="4651" y="4456"/>
                      </a:lnTo>
                      <a:lnTo>
                        <a:pt x="4646" y="4454"/>
                      </a:lnTo>
                      <a:lnTo>
                        <a:pt x="4640" y="4451"/>
                      </a:lnTo>
                      <a:lnTo>
                        <a:pt x="4635" y="4451"/>
                      </a:lnTo>
                      <a:lnTo>
                        <a:pt x="4623" y="4448"/>
                      </a:lnTo>
                      <a:lnTo>
                        <a:pt x="4618" y="4446"/>
                      </a:lnTo>
                      <a:lnTo>
                        <a:pt x="4615" y="4439"/>
                      </a:lnTo>
                      <a:lnTo>
                        <a:pt x="4610" y="4434"/>
                      </a:lnTo>
                      <a:lnTo>
                        <a:pt x="4607" y="4436"/>
                      </a:lnTo>
                      <a:lnTo>
                        <a:pt x="4604" y="4436"/>
                      </a:lnTo>
                      <a:lnTo>
                        <a:pt x="4602" y="4443"/>
                      </a:lnTo>
                      <a:lnTo>
                        <a:pt x="4596" y="4446"/>
                      </a:lnTo>
                      <a:lnTo>
                        <a:pt x="4587" y="4454"/>
                      </a:lnTo>
                      <a:lnTo>
                        <a:pt x="4585" y="4454"/>
                      </a:lnTo>
                      <a:lnTo>
                        <a:pt x="4585" y="4451"/>
                      </a:lnTo>
                      <a:lnTo>
                        <a:pt x="4582" y="4448"/>
                      </a:lnTo>
                      <a:lnTo>
                        <a:pt x="4579" y="4443"/>
                      </a:lnTo>
                      <a:lnTo>
                        <a:pt x="4574" y="4443"/>
                      </a:lnTo>
                      <a:lnTo>
                        <a:pt x="4577" y="4436"/>
                      </a:lnTo>
                      <a:lnTo>
                        <a:pt x="4574" y="4431"/>
                      </a:lnTo>
                      <a:lnTo>
                        <a:pt x="4574" y="4426"/>
                      </a:lnTo>
                      <a:lnTo>
                        <a:pt x="4571" y="4426"/>
                      </a:lnTo>
                      <a:lnTo>
                        <a:pt x="4574" y="4420"/>
                      </a:lnTo>
                      <a:lnTo>
                        <a:pt x="4571" y="4412"/>
                      </a:lnTo>
                      <a:lnTo>
                        <a:pt x="4569" y="4412"/>
                      </a:lnTo>
                      <a:lnTo>
                        <a:pt x="4566" y="4410"/>
                      </a:lnTo>
                      <a:lnTo>
                        <a:pt x="4563" y="4410"/>
                      </a:lnTo>
                      <a:lnTo>
                        <a:pt x="4559" y="4407"/>
                      </a:lnTo>
                      <a:lnTo>
                        <a:pt x="4557" y="4410"/>
                      </a:lnTo>
                      <a:lnTo>
                        <a:pt x="4554" y="4407"/>
                      </a:lnTo>
                      <a:lnTo>
                        <a:pt x="4551" y="4401"/>
                      </a:lnTo>
                      <a:lnTo>
                        <a:pt x="4535" y="4393"/>
                      </a:lnTo>
                      <a:lnTo>
                        <a:pt x="4533" y="4390"/>
                      </a:lnTo>
                      <a:lnTo>
                        <a:pt x="4535" y="4387"/>
                      </a:lnTo>
                      <a:lnTo>
                        <a:pt x="4530" y="4377"/>
                      </a:lnTo>
                      <a:lnTo>
                        <a:pt x="4524" y="4374"/>
                      </a:lnTo>
                      <a:lnTo>
                        <a:pt x="4521" y="4368"/>
                      </a:lnTo>
                      <a:lnTo>
                        <a:pt x="4521" y="4365"/>
                      </a:lnTo>
                      <a:lnTo>
                        <a:pt x="4521" y="4362"/>
                      </a:lnTo>
                      <a:lnTo>
                        <a:pt x="4524" y="4359"/>
                      </a:lnTo>
                      <a:lnTo>
                        <a:pt x="4527" y="4354"/>
                      </a:lnTo>
                      <a:lnTo>
                        <a:pt x="4524" y="4351"/>
                      </a:lnTo>
                      <a:lnTo>
                        <a:pt x="4521" y="4343"/>
                      </a:lnTo>
                      <a:lnTo>
                        <a:pt x="4524" y="4341"/>
                      </a:lnTo>
                      <a:lnTo>
                        <a:pt x="4518" y="4334"/>
                      </a:lnTo>
                      <a:lnTo>
                        <a:pt x="4518" y="4332"/>
                      </a:lnTo>
                      <a:lnTo>
                        <a:pt x="4510" y="4326"/>
                      </a:lnTo>
                      <a:lnTo>
                        <a:pt x="4505" y="4321"/>
                      </a:lnTo>
                      <a:lnTo>
                        <a:pt x="4497" y="4313"/>
                      </a:lnTo>
                      <a:lnTo>
                        <a:pt x="4480" y="4305"/>
                      </a:lnTo>
                      <a:lnTo>
                        <a:pt x="4469" y="4305"/>
                      </a:lnTo>
                      <a:lnTo>
                        <a:pt x="4466" y="4298"/>
                      </a:lnTo>
                      <a:lnTo>
                        <a:pt x="4461" y="4290"/>
                      </a:lnTo>
                      <a:lnTo>
                        <a:pt x="4458" y="4290"/>
                      </a:lnTo>
                      <a:lnTo>
                        <a:pt x="4455" y="4288"/>
                      </a:lnTo>
                      <a:lnTo>
                        <a:pt x="4452" y="4288"/>
                      </a:lnTo>
                      <a:lnTo>
                        <a:pt x="4447" y="4282"/>
                      </a:lnTo>
                      <a:lnTo>
                        <a:pt x="4259" y="4282"/>
                      </a:lnTo>
                      <a:lnTo>
                        <a:pt x="4190" y="4282"/>
                      </a:lnTo>
                      <a:lnTo>
                        <a:pt x="4176" y="4282"/>
                      </a:lnTo>
                      <a:lnTo>
                        <a:pt x="4140" y="4280"/>
                      </a:lnTo>
                      <a:lnTo>
                        <a:pt x="4137" y="4298"/>
                      </a:lnTo>
                      <a:lnTo>
                        <a:pt x="4140" y="4305"/>
                      </a:lnTo>
                      <a:lnTo>
                        <a:pt x="4137" y="4310"/>
                      </a:lnTo>
                      <a:lnTo>
                        <a:pt x="4132" y="4313"/>
                      </a:lnTo>
                      <a:lnTo>
                        <a:pt x="4129" y="4321"/>
                      </a:lnTo>
                      <a:lnTo>
                        <a:pt x="4121" y="4326"/>
                      </a:lnTo>
                      <a:lnTo>
                        <a:pt x="4121" y="4332"/>
                      </a:lnTo>
                      <a:lnTo>
                        <a:pt x="4124" y="4334"/>
                      </a:lnTo>
                      <a:lnTo>
                        <a:pt x="4121" y="4343"/>
                      </a:lnTo>
                      <a:lnTo>
                        <a:pt x="4119" y="4346"/>
                      </a:lnTo>
                      <a:lnTo>
                        <a:pt x="4110" y="4359"/>
                      </a:lnTo>
                      <a:lnTo>
                        <a:pt x="4096" y="4368"/>
                      </a:lnTo>
                      <a:lnTo>
                        <a:pt x="4088" y="4377"/>
                      </a:lnTo>
                      <a:lnTo>
                        <a:pt x="4088" y="4379"/>
                      </a:lnTo>
                      <a:lnTo>
                        <a:pt x="4099" y="4398"/>
                      </a:lnTo>
                      <a:lnTo>
                        <a:pt x="4088" y="4407"/>
                      </a:lnTo>
                      <a:lnTo>
                        <a:pt x="4083" y="4415"/>
                      </a:lnTo>
                      <a:lnTo>
                        <a:pt x="4083" y="4420"/>
                      </a:lnTo>
                      <a:lnTo>
                        <a:pt x="4077" y="4428"/>
                      </a:lnTo>
                      <a:lnTo>
                        <a:pt x="4074" y="4431"/>
                      </a:lnTo>
                      <a:lnTo>
                        <a:pt x="4071" y="4431"/>
                      </a:lnTo>
                      <a:lnTo>
                        <a:pt x="4058" y="4420"/>
                      </a:lnTo>
                      <a:lnTo>
                        <a:pt x="4050" y="4418"/>
                      </a:lnTo>
                      <a:lnTo>
                        <a:pt x="4041" y="4415"/>
                      </a:lnTo>
                      <a:lnTo>
                        <a:pt x="4038" y="4415"/>
                      </a:lnTo>
                      <a:lnTo>
                        <a:pt x="4033" y="4415"/>
                      </a:lnTo>
                      <a:lnTo>
                        <a:pt x="4030" y="4420"/>
                      </a:lnTo>
                      <a:lnTo>
                        <a:pt x="4025" y="4428"/>
                      </a:lnTo>
                      <a:lnTo>
                        <a:pt x="4022" y="4431"/>
                      </a:lnTo>
                      <a:lnTo>
                        <a:pt x="4014" y="4428"/>
                      </a:lnTo>
                      <a:lnTo>
                        <a:pt x="4008" y="4431"/>
                      </a:lnTo>
                      <a:lnTo>
                        <a:pt x="4008" y="4456"/>
                      </a:lnTo>
                      <a:lnTo>
                        <a:pt x="3994" y="4464"/>
                      </a:lnTo>
                      <a:lnTo>
                        <a:pt x="3994" y="4470"/>
                      </a:lnTo>
                      <a:lnTo>
                        <a:pt x="4005" y="4472"/>
                      </a:lnTo>
                      <a:lnTo>
                        <a:pt x="4011" y="4479"/>
                      </a:lnTo>
                      <a:lnTo>
                        <a:pt x="4011" y="4484"/>
                      </a:lnTo>
                      <a:lnTo>
                        <a:pt x="3997" y="4495"/>
                      </a:lnTo>
                      <a:lnTo>
                        <a:pt x="3997" y="4497"/>
                      </a:lnTo>
                      <a:lnTo>
                        <a:pt x="3999" y="4505"/>
                      </a:lnTo>
                      <a:lnTo>
                        <a:pt x="4008" y="4515"/>
                      </a:lnTo>
                      <a:lnTo>
                        <a:pt x="4008" y="4523"/>
                      </a:lnTo>
                      <a:lnTo>
                        <a:pt x="4014" y="4528"/>
                      </a:lnTo>
                      <a:lnTo>
                        <a:pt x="4017" y="4528"/>
                      </a:lnTo>
                      <a:lnTo>
                        <a:pt x="4017" y="4533"/>
                      </a:lnTo>
                      <a:lnTo>
                        <a:pt x="4008" y="4548"/>
                      </a:lnTo>
                      <a:lnTo>
                        <a:pt x="4005" y="4548"/>
                      </a:lnTo>
                      <a:lnTo>
                        <a:pt x="3999" y="4541"/>
                      </a:lnTo>
                      <a:lnTo>
                        <a:pt x="3999" y="4539"/>
                      </a:lnTo>
                      <a:lnTo>
                        <a:pt x="3997" y="4536"/>
                      </a:lnTo>
                      <a:lnTo>
                        <a:pt x="3994" y="4536"/>
                      </a:lnTo>
                      <a:lnTo>
                        <a:pt x="3991" y="4539"/>
                      </a:lnTo>
                      <a:lnTo>
                        <a:pt x="3989" y="4553"/>
                      </a:lnTo>
                      <a:lnTo>
                        <a:pt x="3983" y="4556"/>
                      </a:lnTo>
                      <a:lnTo>
                        <a:pt x="3983" y="4561"/>
                      </a:lnTo>
                      <a:lnTo>
                        <a:pt x="3981" y="4566"/>
                      </a:lnTo>
                      <a:lnTo>
                        <a:pt x="3978" y="4569"/>
                      </a:lnTo>
                      <a:lnTo>
                        <a:pt x="3981" y="4572"/>
                      </a:lnTo>
                      <a:lnTo>
                        <a:pt x="3972" y="4583"/>
                      </a:lnTo>
                      <a:lnTo>
                        <a:pt x="3974" y="4594"/>
                      </a:lnTo>
                      <a:lnTo>
                        <a:pt x="3958" y="4592"/>
                      </a:lnTo>
                      <a:lnTo>
                        <a:pt x="3956" y="4592"/>
                      </a:lnTo>
                      <a:lnTo>
                        <a:pt x="3948" y="4597"/>
                      </a:lnTo>
                      <a:lnTo>
                        <a:pt x="3941" y="4597"/>
                      </a:lnTo>
                      <a:lnTo>
                        <a:pt x="3936" y="4594"/>
                      </a:lnTo>
                      <a:lnTo>
                        <a:pt x="3933" y="4597"/>
                      </a:lnTo>
                      <a:lnTo>
                        <a:pt x="3928" y="4605"/>
                      </a:lnTo>
                      <a:lnTo>
                        <a:pt x="3928" y="4619"/>
                      </a:lnTo>
                      <a:lnTo>
                        <a:pt x="3933" y="4630"/>
                      </a:lnTo>
                      <a:lnTo>
                        <a:pt x="3930" y="4635"/>
                      </a:lnTo>
                      <a:lnTo>
                        <a:pt x="3922" y="4643"/>
                      </a:lnTo>
                      <a:lnTo>
                        <a:pt x="3922" y="4646"/>
                      </a:lnTo>
                      <a:lnTo>
                        <a:pt x="3922" y="4649"/>
                      </a:lnTo>
                      <a:lnTo>
                        <a:pt x="3925" y="4658"/>
                      </a:lnTo>
                      <a:lnTo>
                        <a:pt x="3925" y="4669"/>
                      </a:lnTo>
                      <a:lnTo>
                        <a:pt x="3928" y="4688"/>
                      </a:lnTo>
                      <a:lnTo>
                        <a:pt x="3928" y="4694"/>
                      </a:lnTo>
                      <a:lnTo>
                        <a:pt x="3925" y="4696"/>
                      </a:lnTo>
                      <a:lnTo>
                        <a:pt x="3914" y="4696"/>
                      </a:lnTo>
                      <a:lnTo>
                        <a:pt x="3892" y="4710"/>
                      </a:lnTo>
                      <a:lnTo>
                        <a:pt x="3879" y="4707"/>
                      </a:lnTo>
                      <a:lnTo>
                        <a:pt x="3864" y="4710"/>
                      </a:lnTo>
                      <a:lnTo>
                        <a:pt x="3859" y="4710"/>
                      </a:lnTo>
                      <a:lnTo>
                        <a:pt x="3853" y="4707"/>
                      </a:lnTo>
                      <a:lnTo>
                        <a:pt x="3853" y="4704"/>
                      </a:lnTo>
                      <a:lnTo>
                        <a:pt x="3859" y="4691"/>
                      </a:lnTo>
                      <a:lnTo>
                        <a:pt x="3859" y="4686"/>
                      </a:lnTo>
                      <a:lnTo>
                        <a:pt x="3859" y="4682"/>
                      </a:lnTo>
                      <a:lnTo>
                        <a:pt x="3853" y="4682"/>
                      </a:lnTo>
                      <a:lnTo>
                        <a:pt x="3831" y="4691"/>
                      </a:lnTo>
                      <a:lnTo>
                        <a:pt x="3820" y="4696"/>
                      </a:lnTo>
                      <a:lnTo>
                        <a:pt x="3810" y="4699"/>
                      </a:lnTo>
                      <a:lnTo>
                        <a:pt x="3803" y="4702"/>
                      </a:lnTo>
                      <a:lnTo>
                        <a:pt x="3800" y="4702"/>
                      </a:lnTo>
                      <a:lnTo>
                        <a:pt x="3795" y="4702"/>
                      </a:lnTo>
                      <a:lnTo>
                        <a:pt x="3784" y="4704"/>
                      </a:lnTo>
                      <a:lnTo>
                        <a:pt x="3767" y="4702"/>
                      </a:lnTo>
                      <a:lnTo>
                        <a:pt x="3762" y="4702"/>
                      </a:lnTo>
                      <a:lnTo>
                        <a:pt x="3759" y="4704"/>
                      </a:lnTo>
                      <a:lnTo>
                        <a:pt x="3754" y="4707"/>
                      </a:lnTo>
                      <a:lnTo>
                        <a:pt x="3751" y="4707"/>
                      </a:lnTo>
                      <a:lnTo>
                        <a:pt x="3751" y="4712"/>
                      </a:lnTo>
                      <a:lnTo>
                        <a:pt x="3746" y="4715"/>
                      </a:lnTo>
                      <a:lnTo>
                        <a:pt x="3743" y="4718"/>
                      </a:lnTo>
                      <a:lnTo>
                        <a:pt x="3738" y="4718"/>
                      </a:lnTo>
                      <a:lnTo>
                        <a:pt x="3726" y="4715"/>
                      </a:lnTo>
                      <a:lnTo>
                        <a:pt x="3718" y="4715"/>
                      </a:lnTo>
                      <a:lnTo>
                        <a:pt x="3713" y="4718"/>
                      </a:lnTo>
                      <a:lnTo>
                        <a:pt x="3707" y="4710"/>
                      </a:lnTo>
                      <a:lnTo>
                        <a:pt x="3705" y="4707"/>
                      </a:lnTo>
                      <a:lnTo>
                        <a:pt x="3698" y="4707"/>
                      </a:lnTo>
                      <a:lnTo>
                        <a:pt x="3698" y="4710"/>
                      </a:lnTo>
                      <a:lnTo>
                        <a:pt x="3688" y="4718"/>
                      </a:lnTo>
                      <a:lnTo>
                        <a:pt x="3680" y="4721"/>
                      </a:lnTo>
                      <a:lnTo>
                        <a:pt x="3677" y="4721"/>
                      </a:lnTo>
                      <a:lnTo>
                        <a:pt x="3669" y="4710"/>
                      </a:lnTo>
                      <a:lnTo>
                        <a:pt x="3665" y="4707"/>
                      </a:lnTo>
                      <a:lnTo>
                        <a:pt x="3660" y="4707"/>
                      </a:lnTo>
                      <a:lnTo>
                        <a:pt x="3654" y="4707"/>
                      </a:lnTo>
                      <a:lnTo>
                        <a:pt x="3644" y="4710"/>
                      </a:lnTo>
                      <a:lnTo>
                        <a:pt x="3633" y="4718"/>
                      </a:lnTo>
                      <a:lnTo>
                        <a:pt x="3624" y="4724"/>
                      </a:lnTo>
                      <a:lnTo>
                        <a:pt x="3621" y="4730"/>
                      </a:lnTo>
                      <a:lnTo>
                        <a:pt x="3619" y="4732"/>
                      </a:lnTo>
                      <a:lnTo>
                        <a:pt x="3613" y="4730"/>
                      </a:lnTo>
                      <a:lnTo>
                        <a:pt x="3613" y="4732"/>
                      </a:lnTo>
                      <a:lnTo>
                        <a:pt x="3613" y="4743"/>
                      </a:lnTo>
                      <a:lnTo>
                        <a:pt x="3608" y="4763"/>
                      </a:lnTo>
                      <a:lnTo>
                        <a:pt x="3605" y="4765"/>
                      </a:lnTo>
                      <a:lnTo>
                        <a:pt x="3605" y="4768"/>
                      </a:lnTo>
                      <a:lnTo>
                        <a:pt x="3605" y="4773"/>
                      </a:lnTo>
                      <a:lnTo>
                        <a:pt x="3608" y="4776"/>
                      </a:lnTo>
                      <a:lnTo>
                        <a:pt x="3608" y="4787"/>
                      </a:lnTo>
                      <a:lnTo>
                        <a:pt x="3608" y="4791"/>
                      </a:lnTo>
                      <a:lnTo>
                        <a:pt x="3611" y="4796"/>
                      </a:lnTo>
                      <a:lnTo>
                        <a:pt x="3611" y="4798"/>
                      </a:lnTo>
                      <a:lnTo>
                        <a:pt x="3613" y="4804"/>
                      </a:lnTo>
                      <a:lnTo>
                        <a:pt x="3611" y="4807"/>
                      </a:lnTo>
                      <a:lnTo>
                        <a:pt x="3608" y="4812"/>
                      </a:lnTo>
                      <a:lnTo>
                        <a:pt x="3605" y="4820"/>
                      </a:lnTo>
                      <a:lnTo>
                        <a:pt x="3605" y="4823"/>
                      </a:lnTo>
                      <a:lnTo>
                        <a:pt x="3600" y="4826"/>
                      </a:lnTo>
                      <a:lnTo>
                        <a:pt x="3600" y="4829"/>
                      </a:lnTo>
                      <a:lnTo>
                        <a:pt x="3594" y="4834"/>
                      </a:lnTo>
                      <a:lnTo>
                        <a:pt x="3585" y="4834"/>
                      </a:lnTo>
                      <a:lnTo>
                        <a:pt x="3580" y="4840"/>
                      </a:lnTo>
                      <a:lnTo>
                        <a:pt x="3580" y="4845"/>
                      </a:lnTo>
                      <a:lnTo>
                        <a:pt x="3575" y="4850"/>
                      </a:lnTo>
                      <a:lnTo>
                        <a:pt x="3577" y="4856"/>
                      </a:lnTo>
                      <a:lnTo>
                        <a:pt x="3572" y="4856"/>
                      </a:lnTo>
                      <a:lnTo>
                        <a:pt x="3569" y="4860"/>
                      </a:lnTo>
                      <a:lnTo>
                        <a:pt x="3567" y="4862"/>
                      </a:lnTo>
                      <a:lnTo>
                        <a:pt x="3563" y="4862"/>
                      </a:lnTo>
                      <a:lnTo>
                        <a:pt x="3567" y="4870"/>
                      </a:lnTo>
                      <a:lnTo>
                        <a:pt x="3560" y="4876"/>
                      </a:lnTo>
                      <a:lnTo>
                        <a:pt x="3560" y="4878"/>
                      </a:lnTo>
                      <a:lnTo>
                        <a:pt x="3558" y="4881"/>
                      </a:lnTo>
                      <a:lnTo>
                        <a:pt x="3547" y="4881"/>
                      </a:lnTo>
                      <a:lnTo>
                        <a:pt x="3544" y="4881"/>
                      </a:lnTo>
                      <a:lnTo>
                        <a:pt x="3542" y="4884"/>
                      </a:lnTo>
                      <a:lnTo>
                        <a:pt x="3544" y="4889"/>
                      </a:lnTo>
                      <a:lnTo>
                        <a:pt x="3539" y="4892"/>
                      </a:lnTo>
                      <a:lnTo>
                        <a:pt x="3534" y="4892"/>
                      </a:lnTo>
                      <a:lnTo>
                        <a:pt x="3522" y="4901"/>
                      </a:lnTo>
                      <a:lnTo>
                        <a:pt x="3516" y="4895"/>
                      </a:lnTo>
                      <a:lnTo>
                        <a:pt x="3508" y="4892"/>
                      </a:lnTo>
                      <a:lnTo>
                        <a:pt x="3506" y="4892"/>
                      </a:lnTo>
                      <a:lnTo>
                        <a:pt x="3503" y="4892"/>
                      </a:lnTo>
                      <a:lnTo>
                        <a:pt x="3503" y="4886"/>
                      </a:lnTo>
                      <a:lnTo>
                        <a:pt x="3508" y="4878"/>
                      </a:lnTo>
                      <a:lnTo>
                        <a:pt x="3508" y="4873"/>
                      </a:lnTo>
                      <a:lnTo>
                        <a:pt x="3500" y="4870"/>
                      </a:lnTo>
                      <a:lnTo>
                        <a:pt x="3500" y="4868"/>
                      </a:lnTo>
                      <a:lnTo>
                        <a:pt x="3503" y="4856"/>
                      </a:lnTo>
                      <a:lnTo>
                        <a:pt x="3494" y="4842"/>
                      </a:lnTo>
                      <a:lnTo>
                        <a:pt x="3494" y="4837"/>
                      </a:lnTo>
                      <a:lnTo>
                        <a:pt x="3494" y="4834"/>
                      </a:lnTo>
                      <a:lnTo>
                        <a:pt x="3494" y="4832"/>
                      </a:lnTo>
                      <a:lnTo>
                        <a:pt x="3494" y="4829"/>
                      </a:lnTo>
                      <a:lnTo>
                        <a:pt x="3481" y="4820"/>
                      </a:lnTo>
                      <a:lnTo>
                        <a:pt x="3478" y="4820"/>
                      </a:lnTo>
                      <a:lnTo>
                        <a:pt x="3465" y="4826"/>
                      </a:lnTo>
                      <a:lnTo>
                        <a:pt x="3458" y="4832"/>
                      </a:lnTo>
                      <a:lnTo>
                        <a:pt x="3439" y="4842"/>
                      </a:lnTo>
                      <a:lnTo>
                        <a:pt x="3437" y="4848"/>
                      </a:lnTo>
                      <a:lnTo>
                        <a:pt x="3425" y="4848"/>
                      </a:lnTo>
                      <a:lnTo>
                        <a:pt x="3425" y="4850"/>
                      </a:lnTo>
                      <a:lnTo>
                        <a:pt x="3422" y="4853"/>
                      </a:lnTo>
                      <a:lnTo>
                        <a:pt x="3420" y="4853"/>
                      </a:lnTo>
                      <a:lnTo>
                        <a:pt x="3412" y="4848"/>
                      </a:lnTo>
                      <a:lnTo>
                        <a:pt x="3401" y="4842"/>
                      </a:lnTo>
                      <a:lnTo>
                        <a:pt x="3398" y="4845"/>
                      </a:lnTo>
                      <a:lnTo>
                        <a:pt x="3398" y="4848"/>
                      </a:lnTo>
                      <a:lnTo>
                        <a:pt x="3398" y="4850"/>
                      </a:lnTo>
                      <a:lnTo>
                        <a:pt x="3398" y="4856"/>
                      </a:lnTo>
                      <a:lnTo>
                        <a:pt x="3398" y="4868"/>
                      </a:lnTo>
                      <a:lnTo>
                        <a:pt x="3396" y="4881"/>
                      </a:lnTo>
                      <a:lnTo>
                        <a:pt x="3396" y="4884"/>
                      </a:lnTo>
                      <a:lnTo>
                        <a:pt x="3398" y="4889"/>
                      </a:lnTo>
                      <a:lnTo>
                        <a:pt x="3404" y="4903"/>
                      </a:lnTo>
                      <a:lnTo>
                        <a:pt x="3404" y="4909"/>
                      </a:lnTo>
                      <a:lnTo>
                        <a:pt x="3401" y="4906"/>
                      </a:lnTo>
                      <a:lnTo>
                        <a:pt x="3396" y="4909"/>
                      </a:lnTo>
                      <a:lnTo>
                        <a:pt x="3389" y="4903"/>
                      </a:lnTo>
                      <a:lnTo>
                        <a:pt x="3387" y="4909"/>
                      </a:lnTo>
                      <a:lnTo>
                        <a:pt x="3379" y="4911"/>
                      </a:lnTo>
                      <a:lnTo>
                        <a:pt x="3376" y="4909"/>
                      </a:lnTo>
                      <a:lnTo>
                        <a:pt x="3376" y="4903"/>
                      </a:lnTo>
                      <a:lnTo>
                        <a:pt x="3373" y="4901"/>
                      </a:lnTo>
                      <a:lnTo>
                        <a:pt x="3370" y="4901"/>
                      </a:lnTo>
                      <a:lnTo>
                        <a:pt x="3368" y="4901"/>
                      </a:lnTo>
                      <a:lnTo>
                        <a:pt x="3353" y="4889"/>
                      </a:lnTo>
                      <a:lnTo>
                        <a:pt x="3348" y="4886"/>
                      </a:lnTo>
                      <a:lnTo>
                        <a:pt x="3340" y="4886"/>
                      </a:lnTo>
                      <a:lnTo>
                        <a:pt x="3337" y="4886"/>
                      </a:lnTo>
                      <a:lnTo>
                        <a:pt x="3329" y="4889"/>
                      </a:lnTo>
                      <a:lnTo>
                        <a:pt x="3320" y="4892"/>
                      </a:lnTo>
                      <a:lnTo>
                        <a:pt x="3318" y="4895"/>
                      </a:lnTo>
                      <a:lnTo>
                        <a:pt x="3315" y="4901"/>
                      </a:lnTo>
                      <a:lnTo>
                        <a:pt x="3312" y="4901"/>
                      </a:lnTo>
                      <a:lnTo>
                        <a:pt x="3307" y="4901"/>
                      </a:lnTo>
                      <a:lnTo>
                        <a:pt x="3304" y="4901"/>
                      </a:lnTo>
                      <a:lnTo>
                        <a:pt x="3301" y="4922"/>
                      </a:lnTo>
                      <a:lnTo>
                        <a:pt x="3296" y="4925"/>
                      </a:lnTo>
                      <a:lnTo>
                        <a:pt x="3284" y="4947"/>
                      </a:lnTo>
                      <a:lnTo>
                        <a:pt x="3282" y="4947"/>
                      </a:lnTo>
                      <a:lnTo>
                        <a:pt x="3276" y="4945"/>
                      </a:lnTo>
                      <a:lnTo>
                        <a:pt x="3274" y="4945"/>
                      </a:lnTo>
                      <a:lnTo>
                        <a:pt x="3271" y="4950"/>
                      </a:lnTo>
                      <a:lnTo>
                        <a:pt x="3266" y="4950"/>
                      </a:lnTo>
                      <a:lnTo>
                        <a:pt x="3263" y="4953"/>
                      </a:lnTo>
                      <a:lnTo>
                        <a:pt x="3258" y="4958"/>
                      </a:lnTo>
                      <a:lnTo>
                        <a:pt x="3255" y="4958"/>
                      </a:lnTo>
                      <a:lnTo>
                        <a:pt x="3251" y="4950"/>
                      </a:lnTo>
                      <a:lnTo>
                        <a:pt x="3249" y="4947"/>
                      </a:lnTo>
                      <a:lnTo>
                        <a:pt x="3246" y="4947"/>
                      </a:lnTo>
                      <a:lnTo>
                        <a:pt x="3243" y="4934"/>
                      </a:lnTo>
                      <a:lnTo>
                        <a:pt x="3238" y="4937"/>
                      </a:lnTo>
                      <a:lnTo>
                        <a:pt x="3235" y="4937"/>
                      </a:lnTo>
                      <a:lnTo>
                        <a:pt x="3235" y="4928"/>
                      </a:lnTo>
                      <a:lnTo>
                        <a:pt x="3232" y="4925"/>
                      </a:lnTo>
                      <a:lnTo>
                        <a:pt x="3230" y="4925"/>
                      </a:lnTo>
                      <a:lnTo>
                        <a:pt x="3222" y="4917"/>
                      </a:lnTo>
                      <a:lnTo>
                        <a:pt x="3215" y="4917"/>
                      </a:lnTo>
                      <a:lnTo>
                        <a:pt x="3207" y="4914"/>
                      </a:lnTo>
                      <a:lnTo>
                        <a:pt x="3205" y="4909"/>
                      </a:lnTo>
                      <a:lnTo>
                        <a:pt x="3202" y="4901"/>
                      </a:lnTo>
                      <a:lnTo>
                        <a:pt x="3194" y="4895"/>
                      </a:lnTo>
                      <a:lnTo>
                        <a:pt x="3191" y="4892"/>
                      </a:lnTo>
                      <a:lnTo>
                        <a:pt x="3185" y="4889"/>
                      </a:lnTo>
                      <a:lnTo>
                        <a:pt x="3185" y="4884"/>
                      </a:lnTo>
                      <a:lnTo>
                        <a:pt x="3177" y="4884"/>
                      </a:lnTo>
                      <a:lnTo>
                        <a:pt x="3171" y="4881"/>
                      </a:lnTo>
                      <a:lnTo>
                        <a:pt x="3158" y="4881"/>
                      </a:lnTo>
                      <a:lnTo>
                        <a:pt x="3155" y="4881"/>
                      </a:lnTo>
                      <a:lnTo>
                        <a:pt x="3155" y="4884"/>
                      </a:lnTo>
                      <a:lnTo>
                        <a:pt x="3149" y="4886"/>
                      </a:lnTo>
                      <a:lnTo>
                        <a:pt x="3133" y="4886"/>
                      </a:lnTo>
                      <a:lnTo>
                        <a:pt x="3125" y="4884"/>
                      </a:lnTo>
                      <a:lnTo>
                        <a:pt x="3122" y="4884"/>
                      </a:lnTo>
                      <a:lnTo>
                        <a:pt x="3120" y="4884"/>
                      </a:lnTo>
                      <a:lnTo>
                        <a:pt x="3111" y="4889"/>
                      </a:lnTo>
                      <a:lnTo>
                        <a:pt x="3108" y="4889"/>
                      </a:lnTo>
                      <a:lnTo>
                        <a:pt x="3103" y="4895"/>
                      </a:lnTo>
                      <a:lnTo>
                        <a:pt x="3089" y="4889"/>
                      </a:lnTo>
                      <a:lnTo>
                        <a:pt x="3084" y="4889"/>
                      </a:lnTo>
                      <a:lnTo>
                        <a:pt x="3077" y="4892"/>
                      </a:lnTo>
                      <a:lnTo>
                        <a:pt x="3075" y="4892"/>
                      </a:lnTo>
                      <a:lnTo>
                        <a:pt x="3067" y="4884"/>
                      </a:lnTo>
                      <a:lnTo>
                        <a:pt x="3064" y="4884"/>
                      </a:lnTo>
                      <a:lnTo>
                        <a:pt x="3056" y="4884"/>
                      </a:lnTo>
                      <a:lnTo>
                        <a:pt x="3059" y="4892"/>
                      </a:lnTo>
                      <a:lnTo>
                        <a:pt x="3056" y="4895"/>
                      </a:lnTo>
                      <a:lnTo>
                        <a:pt x="3047" y="4895"/>
                      </a:lnTo>
                      <a:lnTo>
                        <a:pt x="3044" y="4895"/>
                      </a:lnTo>
                      <a:lnTo>
                        <a:pt x="3044" y="4889"/>
                      </a:lnTo>
                      <a:lnTo>
                        <a:pt x="3042" y="4886"/>
                      </a:lnTo>
                      <a:lnTo>
                        <a:pt x="3036" y="4892"/>
                      </a:lnTo>
                      <a:lnTo>
                        <a:pt x="3028" y="4886"/>
                      </a:lnTo>
                      <a:lnTo>
                        <a:pt x="3023" y="4889"/>
                      </a:lnTo>
                      <a:lnTo>
                        <a:pt x="3020" y="4889"/>
                      </a:lnTo>
                      <a:lnTo>
                        <a:pt x="3006" y="4884"/>
                      </a:lnTo>
                      <a:lnTo>
                        <a:pt x="3003" y="4886"/>
                      </a:lnTo>
                      <a:lnTo>
                        <a:pt x="3003" y="4889"/>
                      </a:lnTo>
                      <a:lnTo>
                        <a:pt x="3011" y="4895"/>
                      </a:lnTo>
                      <a:lnTo>
                        <a:pt x="3015" y="4903"/>
                      </a:lnTo>
                      <a:lnTo>
                        <a:pt x="3015" y="4922"/>
                      </a:lnTo>
                      <a:lnTo>
                        <a:pt x="3000" y="4934"/>
                      </a:lnTo>
                      <a:lnTo>
                        <a:pt x="2995" y="4945"/>
                      </a:lnTo>
                      <a:lnTo>
                        <a:pt x="2984" y="4955"/>
                      </a:lnTo>
                      <a:lnTo>
                        <a:pt x="2973" y="4963"/>
                      </a:lnTo>
                      <a:lnTo>
                        <a:pt x="2970" y="4970"/>
                      </a:lnTo>
                      <a:lnTo>
                        <a:pt x="2970" y="4975"/>
                      </a:lnTo>
                      <a:lnTo>
                        <a:pt x="2970" y="4978"/>
                      </a:lnTo>
                      <a:lnTo>
                        <a:pt x="2954" y="4980"/>
                      </a:lnTo>
                      <a:lnTo>
                        <a:pt x="2948" y="4988"/>
                      </a:lnTo>
                      <a:lnTo>
                        <a:pt x="2937" y="4991"/>
                      </a:lnTo>
                      <a:lnTo>
                        <a:pt x="2934" y="4994"/>
                      </a:lnTo>
                      <a:lnTo>
                        <a:pt x="2926" y="4991"/>
                      </a:lnTo>
                      <a:lnTo>
                        <a:pt x="2921" y="4996"/>
                      </a:lnTo>
                      <a:lnTo>
                        <a:pt x="2896" y="5011"/>
                      </a:lnTo>
                      <a:lnTo>
                        <a:pt x="2893" y="5019"/>
                      </a:lnTo>
                      <a:lnTo>
                        <a:pt x="2888" y="5024"/>
                      </a:lnTo>
                      <a:lnTo>
                        <a:pt x="2879" y="5030"/>
                      </a:lnTo>
                      <a:lnTo>
                        <a:pt x="2868" y="5030"/>
                      </a:lnTo>
                      <a:lnTo>
                        <a:pt x="2862" y="5030"/>
                      </a:lnTo>
                      <a:lnTo>
                        <a:pt x="2857" y="5027"/>
                      </a:lnTo>
                      <a:lnTo>
                        <a:pt x="2854" y="5030"/>
                      </a:lnTo>
                      <a:lnTo>
                        <a:pt x="2857" y="5032"/>
                      </a:lnTo>
                      <a:lnTo>
                        <a:pt x="2857" y="5044"/>
                      </a:lnTo>
                      <a:lnTo>
                        <a:pt x="2846" y="5052"/>
                      </a:lnTo>
                      <a:lnTo>
                        <a:pt x="2741" y="5008"/>
                      </a:lnTo>
                      <a:lnTo>
                        <a:pt x="2724" y="5000"/>
                      </a:lnTo>
                      <a:lnTo>
                        <a:pt x="2711" y="4996"/>
                      </a:lnTo>
                      <a:lnTo>
                        <a:pt x="2699" y="4988"/>
                      </a:lnTo>
                      <a:lnTo>
                        <a:pt x="2633" y="4961"/>
                      </a:lnTo>
                      <a:lnTo>
                        <a:pt x="2385" y="4853"/>
                      </a:lnTo>
                      <a:lnTo>
                        <a:pt x="2285" y="4809"/>
                      </a:lnTo>
                      <a:lnTo>
                        <a:pt x="2109" y="4732"/>
                      </a:lnTo>
                      <a:lnTo>
                        <a:pt x="2065" y="4712"/>
                      </a:lnTo>
                      <a:lnTo>
                        <a:pt x="2054" y="4707"/>
                      </a:lnTo>
                      <a:lnTo>
                        <a:pt x="2040" y="4702"/>
                      </a:lnTo>
                      <a:lnTo>
                        <a:pt x="1957" y="4655"/>
                      </a:lnTo>
                      <a:lnTo>
                        <a:pt x="1879" y="4617"/>
                      </a:lnTo>
                      <a:lnTo>
                        <a:pt x="1775" y="4561"/>
                      </a:lnTo>
                      <a:lnTo>
                        <a:pt x="1728" y="4536"/>
                      </a:lnTo>
                      <a:lnTo>
                        <a:pt x="1646" y="4489"/>
                      </a:lnTo>
                      <a:lnTo>
                        <a:pt x="1493" y="4407"/>
                      </a:lnTo>
                      <a:lnTo>
                        <a:pt x="1427" y="4370"/>
                      </a:lnTo>
                      <a:lnTo>
                        <a:pt x="1396" y="4351"/>
                      </a:lnTo>
                      <a:lnTo>
                        <a:pt x="1358" y="4343"/>
                      </a:lnTo>
                      <a:lnTo>
                        <a:pt x="1314" y="4332"/>
                      </a:lnTo>
                      <a:lnTo>
                        <a:pt x="1165" y="4302"/>
                      </a:lnTo>
                      <a:lnTo>
                        <a:pt x="1041" y="4272"/>
                      </a:lnTo>
                      <a:lnTo>
                        <a:pt x="933" y="4247"/>
                      </a:lnTo>
                      <a:lnTo>
                        <a:pt x="908" y="4241"/>
                      </a:lnTo>
                      <a:lnTo>
                        <a:pt x="740" y="4200"/>
                      </a:lnTo>
                      <a:lnTo>
                        <a:pt x="732" y="4200"/>
                      </a:lnTo>
                      <a:lnTo>
                        <a:pt x="723" y="4197"/>
                      </a:lnTo>
                      <a:lnTo>
                        <a:pt x="663" y="4178"/>
                      </a:lnTo>
                      <a:lnTo>
                        <a:pt x="657" y="4175"/>
                      </a:lnTo>
                      <a:lnTo>
                        <a:pt x="466" y="4136"/>
                      </a:lnTo>
                      <a:lnTo>
                        <a:pt x="453" y="4131"/>
                      </a:lnTo>
                      <a:lnTo>
                        <a:pt x="381" y="4095"/>
                      </a:lnTo>
                      <a:lnTo>
                        <a:pt x="193" y="4009"/>
                      </a:lnTo>
                      <a:lnTo>
                        <a:pt x="26" y="3935"/>
                      </a:lnTo>
                      <a:lnTo>
                        <a:pt x="0" y="3921"/>
                      </a:lnTo>
                      <a:lnTo>
                        <a:pt x="0" y="3921"/>
                      </a:lnTo>
                      <a:close/>
                    </a:path>
                  </a:pathLst>
                </a:custGeom>
                <a:grpFill/>
                <a:ln w="12700" cap="flat" cmpd="sng" algn="ctr">
                  <a:solidFill>
                    <a:schemeClr val="bg1">
                      <a:lumMod val="85000"/>
                    </a:schemeClr>
                  </a:solidFill>
                  <a:prstDash val="solid"/>
                  <a:round/>
                  <a:headEnd type="none" w="med" len="med"/>
                  <a:tailEnd type="none" w="med" len="med"/>
                </a:ln>
              </p:spPr>
            </p:sp>
            <p:sp>
              <p:nvSpPr>
                <p:cNvPr id="44" name="ee4p_BR_5"/>
                <p:cNvSpPr>
                  <a:spLocks/>
                </p:cNvSpPr>
                <p:nvPr>
                  <p:custDataLst>
                    <p:tags r:id="rId6"/>
                  </p:custDataLst>
                </p:nvPr>
              </p:nvSpPr>
              <p:spPr bwMode="auto">
                <a:xfrm>
                  <a:off x="5385046" y="3165373"/>
                  <a:ext cx="981650" cy="1152750"/>
                </a:xfrm>
                <a:custGeom>
                  <a:avLst/>
                  <a:gdLst/>
                  <a:ahLst/>
                  <a:cxnLst>
                    <a:cxn ang="0">
                      <a:pos x="201" y="875"/>
                    </a:cxn>
                    <a:cxn ang="0">
                      <a:pos x="415" y="660"/>
                    </a:cxn>
                    <a:cxn ang="0">
                      <a:pos x="594" y="965"/>
                    </a:cxn>
                    <a:cxn ang="0">
                      <a:pos x="822" y="880"/>
                    </a:cxn>
                    <a:cxn ang="0">
                      <a:pos x="1077" y="791"/>
                    </a:cxn>
                    <a:cxn ang="0">
                      <a:pos x="1179" y="532"/>
                    </a:cxn>
                    <a:cxn ang="0">
                      <a:pos x="1356" y="372"/>
                    </a:cxn>
                    <a:cxn ang="0">
                      <a:pos x="1543" y="455"/>
                    </a:cxn>
                    <a:cxn ang="0">
                      <a:pos x="1792" y="317"/>
                    </a:cxn>
                    <a:cxn ang="0">
                      <a:pos x="2062" y="169"/>
                    </a:cxn>
                    <a:cxn ang="0">
                      <a:pos x="2250" y="108"/>
                    </a:cxn>
                    <a:cxn ang="0">
                      <a:pos x="2413" y="259"/>
                    </a:cxn>
                    <a:cxn ang="0">
                      <a:pos x="2487" y="367"/>
                    </a:cxn>
                    <a:cxn ang="0">
                      <a:pos x="2733" y="124"/>
                    </a:cxn>
                    <a:cxn ang="0">
                      <a:pos x="2993" y="36"/>
                    </a:cxn>
                    <a:cxn ang="0">
                      <a:pos x="3254" y="151"/>
                    </a:cxn>
                    <a:cxn ang="0">
                      <a:pos x="3420" y="369"/>
                    </a:cxn>
                    <a:cxn ang="0">
                      <a:pos x="3495" y="522"/>
                    </a:cxn>
                    <a:cxn ang="0">
                      <a:pos x="3566" y="778"/>
                    </a:cxn>
                    <a:cxn ang="0">
                      <a:pos x="3412" y="941"/>
                    </a:cxn>
                    <a:cxn ang="0">
                      <a:pos x="3476" y="1095"/>
                    </a:cxn>
                    <a:cxn ang="0">
                      <a:pos x="3525" y="1208"/>
                    </a:cxn>
                    <a:cxn ang="0">
                      <a:pos x="3627" y="1261"/>
                    </a:cxn>
                    <a:cxn ang="0">
                      <a:pos x="3699" y="1343"/>
                    </a:cxn>
                    <a:cxn ang="0">
                      <a:pos x="3310" y="1875"/>
                    </a:cxn>
                    <a:cxn ang="0">
                      <a:pos x="3134" y="2031"/>
                    </a:cxn>
                    <a:cxn ang="0">
                      <a:pos x="3122" y="2243"/>
                    </a:cxn>
                    <a:cxn ang="0">
                      <a:pos x="3091" y="2685"/>
                    </a:cxn>
                    <a:cxn ang="0">
                      <a:pos x="3091" y="3238"/>
                    </a:cxn>
                    <a:cxn ang="0">
                      <a:pos x="3020" y="3598"/>
                    </a:cxn>
                    <a:cxn ang="0">
                      <a:pos x="2871" y="4009"/>
                    </a:cxn>
                    <a:cxn ang="0">
                      <a:pos x="2554" y="3813"/>
                    </a:cxn>
                    <a:cxn ang="0">
                      <a:pos x="2460" y="3661"/>
                    </a:cxn>
                    <a:cxn ang="0">
                      <a:pos x="2582" y="3490"/>
                    </a:cxn>
                    <a:cxn ang="0">
                      <a:pos x="2625" y="3343"/>
                    </a:cxn>
                    <a:cxn ang="0">
                      <a:pos x="2738" y="3186"/>
                    </a:cxn>
                    <a:cxn ang="0">
                      <a:pos x="2661" y="3098"/>
                    </a:cxn>
                    <a:cxn ang="0">
                      <a:pos x="2554" y="3054"/>
                    </a:cxn>
                    <a:cxn ang="0">
                      <a:pos x="2388" y="2996"/>
                    </a:cxn>
                    <a:cxn ang="0">
                      <a:pos x="2168" y="3018"/>
                    </a:cxn>
                    <a:cxn ang="0">
                      <a:pos x="1775" y="2756"/>
                    </a:cxn>
                    <a:cxn ang="0">
                      <a:pos x="1571" y="2652"/>
                    </a:cxn>
                    <a:cxn ang="0">
                      <a:pos x="1391" y="2563"/>
                    </a:cxn>
                    <a:cxn ang="0">
                      <a:pos x="1215" y="2604"/>
                    </a:cxn>
                    <a:cxn ang="0">
                      <a:pos x="1143" y="2447"/>
                    </a:cxn>
                    <a:cxn ang="0">
                      <a:pos x="1052" y="2406"/>
                    </a:cxn>
                    <a:cxn ang="0">
                      <a:pos x="942" y="2397"/>
                    </a:cxn>
                    <a:cxn ang="0">
                      <a:pos x="804" y="2453"/>
                    </a:cxn>
                    <a:cxn ang="0">
                      <a:pos x="718" y="2519"/>
                    </a:cxn>
                    <a:cxn ang="0">
                      <a:pos x="580" y="2601"/>
                    </a:cxn>
                    <a:cxn ang="0">
                      <a:pos x="447" y="2690"/>
                    </a:cxn>
                    <a:cxn ang="0">
                      <a:pos x="323" y="2759"/>
                    </a:cxn>
                    <a:cxn ang="0">
                      <a:pos x="232" y="2759"/>
                    </a:cxn>
                    <a:cxn ang="0">
                      <a:pos x="257" y="2552"/>
                    </a:cxn>
                    <a:cxn ang="0">
                      <a:pos x="265" y="2409"/>
                    </a:cxn>
                    <a:cxn ang="0">
                      <a:pos x="155" y="2226"/>
                    </a:cxn>
                    <a:cxn ang="0">
                      <a:pos x="163" y="2039"/>
                    </a:cxn>
                    <a:cxn ang="0">
                      <a:pos x="119" y="1911"/>
                    </a:cxn>
                    <a:cxn ang="0">
                      <a:pos x="142" y="1763"/>
                    </a:cxn>
                    <a:cxn ang="0">
                      <a:pos x="111" y="1591"/>
                    </a:cxn>
                    <a:cxn ang="0">
                      <a:pos x="163" y="1423"/>
                    </a:cxn>
                    <a:cxn ang="0">
                      <a:pos x="147" y="1294"/>
                    </a:cxn>
                    <a:cxn ang="0">
                      <a:pos x="28" y="1192"/>
                    </a:cxn>
                  </a:cxnLst>
                  <a:rect l="0" t="0" r="r" b="b"/>
                  <a:pathLst>
                    <a:path w="3771" h="4114">
                      <a:moveTo>
                        <a:pt x="3" y="1161"/>
                      </a:moveTo>
                      <a:lnTo>
                        <a:pt x="0" y="1159"/>
                      </a:lnTo>
                      <a:lnTo>
                        <a:pt x="0" y="1153"/>
                      </a:lnTo>
                      <a:lnTo>
                        <a:pt x="3" y="1153"/>
                      </a:lnTo>
                      <a:lnTo>
                        <a:pt x="6" y="1144"/>
                      </a:lnTo>
                      <a:lnTo>
                        <a:pt x="3" y="1139"/>
                      </a:lnTo>
                      <a:lnTo>
                        <a:pt x="14" y="1136"/>
                      </a:lnTo>
                      <a:lnTo>
                        <a:pt x="47" y="1120"/>
                      </a:lnTo>
                      <a:lnTo>
                        <a:pt x="53" y="1120"/>
                      </a:lnTo>
                      <a:lnTo>
                        <a:pt x="58" y="1112"/>
                      </a:lnTo>
                      <a:lnTo>
                        <a:pt x="66" y="1098"/>
                      </a:lnTo>
                      <a:lnTo>
                        <a:pt x="69" y="1070"/>
                      </a:lnTo>
                      <a:lnTo>
                        <a:pt x="78" y="1048"/>
                      </a:lnTo>
                      <a:lnTo>
                        <a:pt x="86" y="1039"/>
                      </a:lnTo>
                      <a:lnTo>
                        <a:pt x="86" y="1031"/>
                      </a:lnTo>
                      <a:lnTo>
                        <a:pt x="89" y="1031"/>
                      </a:lnTo>
                      <a:lnTo>
                        <a:pt x="97" y="1026"/>
                      </a:lnTo>
                      <a:lnTo>
                        <a:pt x="99" y="1021"/>
                      </a:lnTo>
                      <a:lnTo>
                        <a:pt x="102" y="1018"/>
                      </a:lnTo>
                      <a:lnTo>
                        <a:pt x="116" y="1010"/>
                      </a:lnTo>
                      <a:lnTo>
                        <a:pt x="122" y="1001"/>
                      </a:lnTo>
                      <a:lnTo>
                        <a:pt x="135" y="993"/>
                      </a:lnTo>
                      <a:lnTo>
                        <a:pt x="135" y="990"/>
                      </a:lnTo>
                      <a:lnTo>
                        <a:pt x="130" y="979"/>
                      </a:lnTo>
                      <a:lnTo>
                        <a:pt x="130" y="977"/>
                      </a:lnTo>
                      <a:lnTo>
                        <a:pt x="132" y="968"/>
                      </a:lnTo>
                      <a:lnTo>
                        <a:pt x="135" y="962"/>
                      </a:lnTo>
                      <a:lnTo>
                        <a:pt x="139" y="960"/>
                      </a:lnTo>
                      <a:lnTo>
                        <a:pt x="149" y="954"/>
                      </a:lnTo>
                      <a:lnTo>
                        <a:pt x="155" y="952"/>
                      </a:lnTo>
                      <a:lnTo>
                        <a:pt x="158" y="946"/>
                      </a:lnTo>
                      <a:lnTo>
                        <a:pt x="158" y="935"/>
                      </a:lnTo>
                      <a:lnTo>
                        <a:pt x="149" y="932"/>
                      </a:lnTo>
                      <a:lnTo>
                        <a:pt x="147" y="932"/>
                      </a:lnTo>
                      <a:lnTo>
                        <a:pt x="163" y="921"/>
                      </a:lnTo>
                      <a:lnTo>
                        <a:pt x="171" y="916"/>
                      </a:lnTo>
                      <a:lnTo>
                        <a:pt x="175" y="905"/>
                      </a:lnTo>
                      <a:lnTo>
                        <a:pt x="175" y="902"/>
                      </a:lnTo>
                      <a:lnTo>
                        <a:pt x="171" y="899"/>
                      </a:lnTo>
                      <a:lnTo>
                        <a:pt x="166" y="891"/>
                      </a:lnTo>
                      <a:lnTo>
                        <a:pt x="163" y="888"/>
                      </a:lnTo>
                      <a:lnTo>
                        <a:pt x="163" y="885"/>
                      </a:lnTo>
                      <a:lnTo>
                        <a:pt x="168" y="883"/>
                      </a:lnTo>
                      <a:lnTo>
                        <a:pt x="175" y="880"/>
                      </a:lnTo>
                      <a:lnTo>
                        <a:pt x="175" y="877"/>
                      </a:lnTo>
                      <a:lnTo>
                        <a:pt x="183" y="875"/>
                      </a:lnTo>
                      <a:lnTo>
                        <a:pt x="185" y="877"/>
                      </a:lnTo>
                      <a:lnTo>
                        <a:pt x="193" y="875"/>
                      </a:lnTo>
                      <a:lnTo>
                        <a:pt x="201" y="875"/>
                      </a:lnTo>
                      <a:lnTo>
                        <a:pt x="211" y="867"/>
                      </a:lnTo>
                      <a:lnTo>
                        <a:pt x="219" y="869"/>
                      </a:lnTo>
                      <a:lnTo>
                        <a:pt x="224" y="867"/>
                      </a:lnTo>
                      <a:lnTo>
                        <a:pt x="227" y="863"/>
                      </a:lnTo>
                      <a:lnTo>
                        <a:pt x="227" y="855"/>
                      </a:lnTo>
                      <a:lnTo>
                        <a:pt x="237" y="852"/>
                      </a:lnTo>
                      <a:lnTo>
                        <a:pt x="240" y="841"/>
                      </a:lnTo>
                      <a:lnTo>
                        <a:pt x="244" y="839"/>
                      </a:lnTo>
                      <a:lnTo>
                        <a:pt x="252" y="839"/>
                      </a:lnTo>
                      <a:lnTo>
                        <a:pt x="257" y="836"/>
                      </a:lnTo>
                      <a:lnTo>
                        <a:pt x="262" y="836"/>
                      </a:lnTo>
                      <a:lnTo>
                        <a:pt x="265" y="827"/>
                      </a:lnTo>
                      <a:lnTo>
                        <a:pt x="270" y="824"/>
                      </a:lnTo>
                      <a:lnTo>
                        <a:pt x="288" y="814"/>
                      </a:lnTo>
                      <a:lnTo>
                        <a:pt x="290" y="808"/>
                      </a:lnTo>
                      <a:lnTo>
                        <a:pt x="296" y="803"/>
                      </a:lnTo>
                      <a:lnTo>
                        <a:pt x="304" y="798"/>
                      </a:lnTo>
                      <a:lnTo>
                        <a:pt x="318" y="798"/>
                      </a:lnTo>
                      <a:lnTo>
                        <a:pt x="321" y="798"/>
                      </a:lnTo>
                      <a:lnTo>
                        <a:pt x="323" y="786"/>
                      </a:lnTo>
                      <a:lnTo>
                        <a:pt x="318" y="778"/>
                      </a:lnTo>
                      <a:lnTo>
                        <a:pt x="321" y="772"/>
                      </a:lnTo>
                      <a:lnTo>
                        <a:pt x="321" y="770"/>
                      </a:lnTo>
                      <a:lnTo>
                        <a:pt x="321" y="767"/>
                      </a:lnTo>
                      <a:lnTo>
                        <a:pt x="323" y="767"/>
                      </a:lnTo>
                      <a:lnTo>
                        <a:pt x="329" y="764"/>
                      </a:lnTo>
                      <a:lnTo>
                        <a:pt x="334" y="762"/>
                      </a:lnTo>
                      <a:lnTo>
                        <a:pt x="351" y="762"/>
                      </a:lnTo>
                      <a:lnTo>
                        <a:pt x="357" y="758"/>
                      </a:lnTo>
                      <a:lnTo>
                        <a:pt x="362" y="747"/>
                      </a:lnTo>
                      <a:lnTo>
                        <a:pt x="367" y="734"/>
                      </a:lnTo>
                      <a:lnTo>
                        <a:pt x="370" y="729"/>
                      </a:lnTo>
                      <a:lnTo>
                        <a:pt x="373" y="725"/>
                      </a:lnTo>
                      <a:lnTo>
                        <a:pt x="373" y="722"/>
                      </a:lnTo>
                      <a:lnTo>
                        <a:pt x="373" y="714"/>
                      </a:lnTo>
                      <a:lnTo>
                        <a:pt x="373" y="703"/>
                      </a:lnTo>
                      <a:lnTo>
                        <a:pt x="370" y="693"/>
                      </a:lnTo>
                      <a:lnTo>
                        <a:pt x="373" y="689"/>
                      </a:lnTo>
                      <a:lnTo>
                        <a:pt x="373" y="684"/>
                      </a:lnTo>
                      <a:lnTo>
                        <a:pt x="365" y="684"/>
                      </a:lnTo>
                      <a:lnTo>
                        <a:pt x="362" y="678"/>
                      </a:lnTo>
                      <a:lnTo>
                        <a:pt x="365" y="678"/>
                      </a:lnTo>
                      <a:lnTo>
                        <a:pt x="370" y="678"/>
                      </a:lnTo>
                      <a:lnTo>
                        <a:pt x="378" y="678"/>
                      </a:lnTo>
                      <a:lnTo>
                        <a:pt x="384" y="676"/>
                      </a:lnTo>
                      <a:lnTo>
                        <a:pt x="392" y="668"/>
                      </a:lnTo>
                      <a:lnTo>
                        <a:pt x="398" y="668"/>
                      </a:lnTo>
                      <a:lnTo>
                        <a:pt x="411" y="660"/>
                      </a:lnTo>
                      <a:lnTo>
                        <a:pt x="415" y="660"/>
                      </a:lnTo>
                      <a:lnTo>
                        <a:pt x="420" y="665"/>
                      </a:lnTo>
                      <a:lnTo>
                        <a:pt x="426" y="673"/>
                      </a:lnTo>
                      <a:lnTo>
                        <a:pt x="426" y="681"/>
                      </a:lnTo>
                      <a:lnTo>
                        <a:pt x="426" y="693"/>
                      </a:lnTo>
                      <a:lnTo>
                        <a:pt x="426" y="698"/>
                      </a:lnTo>
                      <a:lnTo>
                        <a:pt x="431" y="706"/>
                      </a:lnTo>
                      <a:lnTo>
                        <a:pt x="442" y="714"/>
                      </a:lnTo>
                      <a:lnTo>
                        <a:pt x="444" y="717"/>
                      </a:lnTo>
                      <a:lnTo>
                        <a:pt x="444" y="731"/>
                      </a:lnTo>
                      <a:lnTo>
                        <a:pt x="447" y="734"/>
                      </a:lnTo>
                      <a:lnTo>
                        <a:pt x="456" y="739"/>
                      </a:lnTo>
                      <a:lnTo>
                        <a:pt x="459" y="742"/>
                      </a:lnTo>
                      <a:lnTo>
                        <a:pt x="464" y="745"/>
                      </a:lnTo>
                      <a:lnTo>
                        <a:pt x="469" y="755"/>
                      </a:lnTo>
                      <a:lnTo>
                        <a:pt x="480" y="764"/>
                      </a:lnTo>
                      <a:lnTo>
                        <a:pt x="484" y="770"/>
                      </a:lnTo>
                      <a:lnTo>
                        <a:pt x="480" y="783"/>
                      </a:lnTo>
                      <a:lnTo>
                        <a:pt x="484" y="791"/>
                      </a:lnTo>
                      <a:lnTo>
                        <a:pt x="495" y="800"/>
                      </a:lnTo>
                      <a:lnTo>
                        <a:pt x="495" y="806"/>
                      </a:lnTo>
                      <a:lnTo>
                        <a:pt x="492" y="808"/>
                      </a:lnTo>
                      <a:lnTo>
                        <a:pt x="480" y="819"/>
                      </a:lnTo>
                      <a:lnTo>
                        <a:pt x="475" y="827"/>
                      </a:lnTo>
                      <a:lnTo>
                        <a:pt x="477" y="833"/>
                      </a:lnTo>
                      <a:lnTo>
                        <a:pt x="477" y="841"/>
                      </a:lnTo>
                      <a:lnTo>
                        <a:pt x="475" y="847"/>
                      </a:lnTo>
                      <a:lnTo>
                        <a:pt x="477" y="855"/>
                      </a:lnTo>
                      <a:lnTo>
                        <a:pt x="480" y="875"/>
                      </a:lnTo>
                      <a:lnTo>
                        <a:pt x="480" y="877"/>
                      </a:lnTo>
                      <a:lnTo>
                        <a:pt x="484" y="880"/>
                      </a:lnTo>
                      <a:lnTo>
                        <a:pt x="486" y="883"/>
                      </a:lnTo>
                      <a:lnTo>
                        <a:pt x="489" y="883"/>
                      </a:lnTo>
                      <a:lnTo>
                        <a:pt x="495" y="885"/>
                      </a:lnTo>
                      <a:lnTo>
                        <a:pt x="500" y="885"/>
                      </a:lnTo>
                      <a:lnTo>
                        <a:pt x="503" y="891"/>
                      </a:lnTo>
                      <a:lnTo>
                        <a:pt x="505" y="893"/>
                      </a:lnTo>
                      <a:lnTo>
                        <a:pt x="505" y="896"/>
                      </a:lnTo>
                      <a:lnTo>
                        <a:pt x="511" y="921"/>
                      </a:lnTo>
                      <a:lnTo>
                        <a:pt x="525" y="932"/>
                      </a:lnTo>
                      <a:lnTo>
                        <a:pt x="538" y="935"/>
                      </a:lnTo>
                      <a:lnTo>
                        <a:pt x="546" y="938"/>
                      </a:lnTo>
                      <a:lnTo>
                        <a:pt x="546" y="941"/>
                      </a:lnTo>
                      <a:lnTo>
                        <a:pt x="553" y="954"/>
                      </a:lnTo>
                      <a:lnTo>
                        <a:pt x="555" y="957"/>
                      </a:lnTo>
                      <a:lnTo>
                        <a:pt x="566" y="957"/>
                      </a:lnTo>
                      <a:lnTo>
                        <a:pt x="569" y="960"/>
                      </a:lnTo>
                      <a:lnTo>
                        <a:pt x="569" y="962"/>
                      </a:lnTo>
                      <a:lnTo>
                        <a:pt x="572" y="962"/>
                      </a:lnTo>
                      <a:lnTo>
                        <a:pt x="594" y="965"/>
                      </a:lnTo>
                      <a:lnTo>
                        <a:pt x="602" y="965"/>
                      </a:lnTo>
                      <a:lnTo>
                        <a:pt x="610" y="965"/>
                      </a:lnTo>
                      <a:lnTo>
                        <a:pt x="613" y="968"/>
                      </a:lnTo>
                      <a:lnTo>
                        <a:pt x="622" y="965"/>
                      </a:lnTo>
                      <a:lnTo>
                        <a:pt x="627" y="965"/>
                      </a:lnTo>
                      <a:lnTo>
                        <a:pt x="630" y="968"/>
                      </a:lnTo>
                      <a:lnTo>
                        <a:pt x="635" y="970"/>
                      </a:lnTo>
                      <a:lnTo>
                        <a:pt x="638" y="974"/>
                      </a:lnTo>
                      <a:lnTo>
                        <a:pt x="643" y="977"/>
                      </a:lnTo>
                      <a:lnTo>
                        <a:pt x="649" y="985"/>
                      </a:lnTo>
                      <a:lnTo>
                        <a:pt x="655" y="985"/>
                      </a:lnTo>
                      <a:lnTo>
                        <a:pt x="658" y="985"/>
                      </a:lnTo>
                      <a:lnTo>
                        <a:pt x="666" y="988"/>
                      </a:lnTo>
                      <a:lnTo>
                        <a:pt x="668" y="988"/>
                      </a:lnTo>
                      <a:lnTo>
                        <a:pt x="668" y="990"/>
                      </a:lnTo>
                      <a:lnTo>
                        <a:pt x="684" y="1004"/>
                      </a:lnTo>
                      <a:lnTo>
                        <a:pt x="694" y="996"/>
                      </a:lnTo>
                      <a:lnTo>
                        <a:pt x="696" y="996"/>
                      </a:lnTo>
                      <a:lnTo>
                        <a:pt x="699" y="993"/>
                      </a:lnTo>
                      <a:lnTo>
                        <a:pt x="704" y="993"/>
                      </a:lnTo>
                      <a:lnTo>
                        <a:pt x="712" y="985"/>
                      </a:lnTo>
                      <a:lnTo>
                        <a:pt x="715" y="985"/>
                      </a:lnTo>
                      <a:lnTo>
                        <a:pt x="718" y="990"/>
                      </a:lnTo>
                      <a:lnTo>
                        <a:pt x="729" y="982"/>
                      </a:lnTo>
                      <a:lnTo>
                        <a:pt x="732" y="979"/>
                      </a:lnTo>
                      <a:lnTo>
                        <a:pt x="735" y="977"/>
                      </a:lnTo>
                      <a:lnTo>
                        <a:pt x="735" y="968"/>
                      </a:lnTo>
                      <a:lnTo>
                        <a:pt x="743" y="952"/>
                      </a:lnTo>
                      <a:lnTo>
                        <a:pt x="745" y="952"/>
                      </a:lnTo>
                      <a:lnTo>
                        <a:pt x="753" y="952"/>
                      </a:lnTo>
                      <a:lnTo>
                        <a:pt x="753" y="944"/>
                      </a:lnTo>
                      <a:lnTo>
                        <a:pt x="756" y="941"/>
                      </a:lnTo>
                      <a:lnTo>
                        <a:pt x="765" y="938"/>
                      </a:lnTo>
                      <a:lnTo>
                        <a:pt x="768" y="935"/>
                      </a:lnTo>
                      <a:lnTo>
                        <a:pt x="773" y="932"/>
                      </a:lnTo>
                      <a:lnTo>
                        <a:pt x="784" y="935"/>
                      </a:lnTo>
                      <a:lnTo>
                        <a:pt x="793" y="932"/>
                      </a:lnTo>
                      <a:lnTo>
                        <a:pt x="793" y="929"/>
                      </a:lnTo>
                      <a:lnTo>
                        <a:pt x="796" y="921"/>
                      </a:lnTo>
                      <a:lnTo>
                        <a:pt x="789" y="905"/>
                      </a:lnTo>
                      <a:lnTo>
                        <a:pt x="793" y="905"/>
                      </a:lnTo>
                      <a:lnTo>
                        <a:pt x="793" y="902"/>
                      </a:lnTo>
                      <a:lnTo>
                        <a:pt x="796" y="899"/>
                      </a:lnTo>
                      <a:lnTo>
                        <a:pt x="801" y="896"/>
                      </a:lnTo>
                      <a:lnTo>
                        <a:pt x="804" y="896"/>
                      </a:lnTo>
                      <a:lnTo>
                        <a:pt x="809" y="896"/>
                      </a:lnTo>
                      <a:lnTo>
                        <a:pt x="814" y="893"/>
                      </a:lnTo>
                      <a:lnTo>
                        <a:pt x="817" y="891"/>
                      </a:lnTo>
                      <a:lnTo>
                        <a:pt x="822" y="880"/>
                      </a:lnTo>
                      <a:lnTo>
                        <a:pt x="829" y="877"/>
                      </a:lnTo>
                      <a:lnTo>
                        <a:pt x="840" y="877"/>
                      </a:lnTo>
                      <a:lnTo>
                        <a:pt x="850" y="885"/>
                      </a:lnTo>
                      <a:lnTo>
                        <a:pt x="853" y="885"/>
                      </a:lnTo>
                      <a:lnTo>
                        <a:pt x="856" y="885"/>
                      </a:lnTo>
                      <a:lnTo>
                        <a:pt x="858" y="885"/>
                      </a:lnTo>
                      <a:lnTo>
                        <a:pt x="867" y="883"/>
                      </a:lnTo>
                      <a:lnTo>
                        <a:pt x="873" y="877"/>
                      </a:lnTo>
                      <a:lnTo>
                        <a:pt x="875" y="872"/>
                      </a:lnTo>
                      <a:lnTo>
                        <a:pt x="878" y="869"/>
                      </a:lnTo>
                      <a:lnTo>
                        <a:pt x="881" y="869"/>
                      </a:lnTo>
                      <a:lnTo>
                        <a:pt x="891" y="872"/>
                      </a:lnTo>
                      <a:lnTo>
                        <a:pt x="900" y="869"/>
                      </a:lnTo>
                      <a:lnTo>
                        <a:pt x="903" y="867"/>
                      </a:lnTo>
                      <a:lnTo>
                        <a:pt x="919" y="847"/>
                      </a:lnTo>
                      <a:lnTo>
                        <a:pt x="922" y="844"/>
                      </a:lnTo>
                      <a:lnTo>
                        <a:pt x="927" y="844"/>
                      </a:lnTo>
                      <a:lnTo>
                        <a:pt x="934" y="847"/>
                      </a:lnTo>
                      <a:lnTo>
                        <a:pt x="936" y="850"/>
                      </a:lnTo>
                      <a:lnTo>
                        <a:pt x="939" y="852"/>
                      </a:lnTo>
                      <a:lnTo>
                        <a:pt x="947" y="869"/>
                      </a:lnTo>
                      <a:lnTo>
                        <a:pt x="955" y="875"/>
                      </a:lnTo>
                      <a:lnTo>
                        <a:pt x="964" y="877"/>
                      </a:lnTo>
                      <a:lnTo>
                        <a:pt x="967" y="877"/>
                      </a:lnTo>
                      <a:lnTo>
                        <a:pt x="975" y="872"/>
                      </a:lnTo>
                      <a:lnTo>
                        <a:pt x="977" y="872"/>
                      </a:lnTo>
                      <a:lnTo>
                        <a:pt x="986" y="877"/>
                      </a:lnTo>
                      <a:lnTo>
                        <a:pt x="991" y="880"/>
                      </a:lnTo>
                      <a:lnTo>
                        <a:pt x="996" y="883"/>
                      </a:lnTo>
                      <a:lnTo>
                        <a:pt x="1000" y="883"/>
                      </a:lnTo>
                      <a:lnTo>
                        <a:pt x="1003" y="883"/>
                      </a:lnTo>
                      <a:lnTo>
                        <a:pt x="1008" y="880"/>
                      </a:lnTo>
                      <a:lnTo>
                        <a:pt x="1011" y="880"/>
                      </a:lnTo>
                      <a:lnTo>
                        <a:pt x="1013" y="875"/>
                      </a:lnTo>
                      <a:lnTo>
                        <a:pt x="1019" y="863"/>
                      </a:lnTo>
                      <a:lnTo>
                        <a:pt x="1021" y="860"/>
                      </a:lnTo>
                      <a:lnTo>
                        <a:pt x="1029" y="860"/>
                      </a:lnTo>
                      <a:lnTo>
                        <a:pt x="1033" y="858"/>
                      </a:lnTo>
                      <a:lnTo>
                        <a:pt x="1036" y="852"/>
                      </a:lnTo>
                      <a:lnTo>
                        <a:pt x="1044" y="824"/>
                      </a:lnTo>
                      <a:lnTo>
                        <a:pt x="1046" y="822"/>
                      </a:lnTo>
                      <a:lnTo>
                        <a:pt x="1052" y="816"/>
                      </a:lnTo>
                      <a:lnTo>
                        <a:pt x="1052" y="814"/>
                      </a:lnTo>
                      <a:lnTo>
                        <a:pt x="1049" y="800"/>
                      </a:lnTo>
                      <a:lnTo>
                        <a:pt x="1052" y="789"/>
                      </a:lnTo>
                      <a:lnTo>
                        <a:pt x="1055" y="783"/>
                      </a:lnTo>
                      <a:lnTo>
                        <a:pt x="1060" y="783"/>
                      </a:lnTo>
                      <a:lnTo>
                        <a:pt x="1065" y="786"/>
                      </a:lnTo>
                      <a:lnTo>
                        <a:pt x="1077" y="791"/>
                      </a:lnTo>
                      <a:lnTo>
                        <a:pt x="1088" y="791"/>
                      </a:lnTo>
                      <a:lnTo>
                        <a:pt x="1096" y="791"/>
                      </a:lnTo>
                      <a:lnTo>
                        <a:pt x="1096" y="789"/>
                      </a:lnTo>
                      <a:lnTo>
                        <a:pt x="1098" y="775"/>
                      </a:lnTo>
                      <a:lnTo>
                        <a:pt x="1105" y="770"/>
                      </a:lnTo>
                      <a:lnTo>
                        <a:pt x="1107" y="762"/>
                      </a:lnTo>
                      <a:lnTo>
                        <a:pt x="1110" y="758"/>
                      </a:lnTo>
                      <a:lnTo>
                        <a:pt x="1115" y="753"/>
                      </a:lnTo>
                      <a:lnTo>
                        <a:pt x="1124" y="747"/>
                      </a:lnTo>
                      <a:lnTo>
                        <a:pt x="1129" y="742"/>
                      </a:lnTo>
                      <a:lnTo>
                        <a:pt x="1129" y="731"/>
                      </a:lnTo>
                      <a:lnTo>
                        <a:pt x="1129" y="725"/>
                      </a:lnTo>
                      <a:lnTo>
                        <a:pt x="1129" y="722"/>
                      </a:lnTo>
                      <a:lnTo>
                        <a:pt x="1129" y="720"/>
                      </a:lnTo>
                      <a:lnTo>
                        <a:pt x="1129" y="717"/>
                      </a:lnTo>
                      <a:lnTo>
                        <a:pt x="1146" y="701"/>
                      </a:lnTo>
                      <a:lnTo>
                        <a:pt x="1154" y="689"/>
                      </a:lnTo>
                      <a:lnTo>
                        <a:pt x="1157" y="670"/>
                      </a:lnTo>
                      <a:lnTo>
                        <a:pt x="1157" y="662"/>
                      </a:lnTo>
                      <a:lnTo>
                        <a:pt x="1154" y="657"/>
                      </a:lnTo>
                      <a:lnTo>
                        <a:pt x="1159" y="648"/>
                      </a:lnTo>
                      <a:lnTo>
                        <a:pt x="1162" y="645"/>
                      </a:lnTo>
                      <a:lnTo>
                        <a:pt x="1174" y="645"/>
                      </a:lnTo>
                      <a:lnTo>
                        <a:pt x="1187" y="645"/>
                      </a:lnTo>
                      <a:lnTo>
                        <a:pt x="1187" y="640"/>
                      </a:lnTo>
                      <a:lnTo>
                        <a:pt x="1190" y="632"/>
                      </a:lnTo>
                      <a:lnTo>
                        <a:pt x="1198" y="626"/>
                      </a:lnTo>
                      <a:lnTo>
                        <a:pt x="1201" y="615"/>
                      </a:lnTo>
                      <a:lnTo>
                        <a:pt x="1198" y="609"/>
                      </a:lnTo>
                      <a:lnTo>
                        <a:pt x="1193" y="607"/>
                      </a:lnTo>
                      <a:lnTo>
                        <a:pt x="1185" y="599"/>
                      </a:lnTo>
                      <a:lnTo>
                        <a:pt x="1190" y="588"/>
                      </a:lnTo>
                      <a:lnTo>
                        <a:pt x="1190" y="584"/>
                      </a:lnTo>
                      <a:lnTo>
                        <a:pt x="1187" y="582"/>
                      </a:lnTo>
                      <a:lnTo>
                        <a:pt x="1182" y="582"/>
                      </a:lnTo>
                      <a:lnTo>
                        <a:pt x="1182" y="576"/>
                      </a:lnTo>
                      <a:lnTo>
                        <a:pt x="1182" y="574"/>
                      </a:lnTo>
                      <a:lnTo>
                        <a:pt x="1187" y="574"/>
                      </a:lnTo>
                      <a:lnTo>
                        <a:pt x="1187" y="568"/>
                      </a:lnTo>
                      <a:lnTo>
                        <a:pt x="1195" y="565"/>
                      </a:lnTo>
                      <a:lnTo>
                        <a:pt x="1198" y="560"/>
                      </a:lnTo>
                      <a:lnTo>
                        <a:pt x="1198" y="555"/>
                      </a:lnTo>
                      <a:lnTo>
                        <a:pt x="1203" y="548"/>
                      </a:lnTo>
                      <a:lnTo>
                        <a:pt x="1203" y="546"/>
                      </a:lnTo>
                      <a:lnTo>
                        <a:pt x="1198" y="540"/>
                      </a:lnTo>
                      <a:lnTo>
                        <a:pt x="1193" y="538"/>
                      </a:lnTo>
                      <a:lnTo>
                        <a:pt x="1187" y="532"/>
                      </a:lnTo>
                      <a:lnTo>
                        <a:pt x="1182" y="532"/>
                      </a:lnTo>
                      <a:lnTo>
                        <a:pt x="1179" y="532"/>
                      </a:lnTo>
                      <a:lnTo>
                        <a:pt x="1176" y="527"/>
                      </a:lnTo>
                      <a:lnTo>
                        <a:pt x="1159" y="522"/>
                      </a:lnTo>
                      <a:lnTo>
                        <a:pt x="1157" y="519"/>
                      </a:lnTo>
                      <a:lnTo>
                        <a:pt x="1151" y="515"/>
                      </a:lnTo>
                      <a:lnTo>
                        <a:pt x="1146" y="499"/>
                      </a:lnTo>
                      <a:lnTo>
                        <a:pt x="1146" y="494"/>
                      </a:lnTo>
                      <a:lnTo>
                        <a:pt x="1146" y="491"/>
                      </a:lnTo>
                      <a:lnTo>
                        <a:pt x="1146" y="486"/>
                      </a:lnTo>
                      <a:lnTo>
                        <a:pt x="1134" y="466"/>
                      </a:lnTo>
                      <a:lnTo>
                        <a:pt x="1126" y="463"/>
                      </a:lnTo>
                      <a:lnTo>
                        <a:pt x="1129" y="458"/>
                      </a:lnTo>
                      <a:lnTo>
                        <a:pt x="1129" y="455"/>
                      </a:lnTo>
                      <a:lnTo>
                        <a:pt x="1132" y="455"/>
                      </a:lnTo>
                      <a:lnTo>
                        <a:pt x="1126" y="453"/>
                      </a:lnTo>
                      <a:lnTo>
                        <a:pt x="1126" y="441"/>
                      </a:lnTo>
                      <a:lnTo>
                        <a:pt x="1124" y="430"/>
                      </a:lnTo>
                      <a:lnTo>
                        <a:pt x="1124" y="425"/>
                      </a:lnTo>
                      <a:lnTo>
                        <a:pt x="1138" y="402"/>
                      </a:lnTo>
                      <a:lnTo>
                        <a:pt x="1146" y="397"/>
                      </a:lnTo>
                      <a:lnTo>
                        <a:pt x="1151" y="386"/>
                      </a:lnTo>
                      <a:lnTo>
                        <a:pt x="1157" y="381"/>
                      </a:lnTo>
                      <a:lnTo>
                        <a:pt x="1165" y="378"/>
                      </a:lnTo>
                      <a:lnTo>
                        <a:pt x="1190" y="369"/>
                      </a:lnTo>
                      <a:lnTo>
                        <a:pt x="1198" y="364"/>
                      </a:lnTo>
                      <a:lnTo>
                        <a:pt x="1215" y="350"/>
                      </a:lnTo>
                      <a:lnTo>
                        <a:pt x="1220" y="348"/>
                      </a:lnTo>
                      <a:lnTo>
                        <a:pt x="1228" y="336"/>
                      </a:lnTo>
                      <a:lnTo>
                        <a:pt x="1236" y="328"/>
                      </a:lnTo>
                      <a:lnTo>
                        <a:pt x="1240" y="328"/>
                      </a:lnTo>
                      <a:lnTo>
                        <a:pt x="1248" y="325"/>
                      </a:lnTo>
                      <a:lnTo>
                        <a:pt x="1251" y="325"/>
                      </a:lnTo>
                      <a:lnTo>
                        <a:pt x="1256" y="320"/>
                      </a:lnTo>
                      <a:lnTo>
                        <a:pt x="1267" y="309"/>
                      </a:lnTo>
                      <a:lnTo>
                        <a:pt x="1273" y="306"/>
                      </a:lnTo>
                      <a:lnTo>
                        <a:pt x="1281" y="303"/>
                      </a:lnTo>
                      <a:lnTo>
                        <a:pt x="1287" y="306"/>
                      </a:lnTo>
                      <a:lnTo>
                        <a:pt x="1289" y="306"/>
                      </a:lnTo>
                      <a:lnTo>
                        <a:pt x="1295" y="309"/>
                      </a:lnTo>
                      <a:lnTo>
                        <a:pt x="1305" y="323"/>
                      </a:lnTo>
                      <a:lnTo>
                        <a:pt x="1309" y="328"/>
                      </a:lnTo>
                      <a:lnTo>
                        <a:pt x="1317" y="341"/>
                      </a:lnTo>
                      <a:lnTo>
                        <a:pt x="1325" y="350"/>
                      </a:lnTo>
                      <a:lnTo>
                        <a:pt x="1333" y="350"/>
                      </a:lnTo>
                      <a:lnTo>
                        <a:pt x="1336" y="350"/>
                      </a:lnTo>
                      <a:lnTo>
                        <a:pt x="1342" y="359"/>
                      </a:lnTo>
                      <a:lnTo>
                        <a:pt x="1348" y="361"/>
                      </a:lnTo>
                      <a:lnTo>
                        <a:pt x="1350" y="361"/>
                      </a:lnTo>
                      <a:lnTo>
                        <a:pt x="1353" y="372"/>
                      </a:lnTo>
                      <a:lnTo>
                        <a:pt x="1356" y="372"/>
                      </a:lnTo>
                      <a:lnTo>
                        <a:pt x="1358" y="372"/>
                      </a:lnTo>
                      <a:lnTo>
                        <a:pt x="1361" y="367"/>
                      </a:lnTo>
                      <a:lnTo>
                        <a:pt x="1372" y="367"/>
                      </a:lnTo>
                      <a:lnTo>
                        <a:pt x="1378" y="364"/>
                      </a:lnTo>
                      <a:lnTo>
                        <a:pt x="1381" y="364"/>
                      </a:lnTo>
                      <a:lnTo>
                        <a:pt x="1386" y="364"/>
                      </a:lnTo>
                      <a:lnTo>
                        <a:pt x="1389" y="369"/>
                      </a:lnTo>
                      <a:lnTo>
                        <a:pt x="1391" y="372"/>
                      </a:lnTo>
                      <a:lnTo>
                        <a:pt x="1400" y="367"/>
                      </a:lnTo>
                      <a:lnTo>
                        <a:pt x="1405" y="353"/>
                      </a:lnTo>
                      <a:lnTo>
                        <a:pt x="1411" y="353"/>
                      </a:lnTo>
                      <a:lnTo>
                        <a:pt x="1417" y="359"/>
                      </a:lnTo>
                      <a:lnTo>
                        <a:pt x="1417" y="353"/>
                      </a:lnTo>
                      <a:lnTo>
                        <a:pt x="1419" y="353"/>
                      </a:lnTo>
                      <a:lnTo>
                        <a:pt x="1422" y="350"/>
                      </a:lnTo>
                      <a:lnTo>
                        <a:pt x="1425" y="353"/>
                      </a:lnTo>
                      <a:lnTo>
                        <a:pt x="1427" y="353"/>
                      </a:lnTo>
                      <a:lnTo>
                        <a:pt x="1427" y="356"/>
                      </a:lnTo>
                      <a:lnTo>
                        <a:pt x="1430" y="356"/>
                      </a:lnTo>
                      <a:lnTo>
                        <a:pt x="1435" y="359"/>
                      </a:lnTo>
                      <a:lnTo>
                        <a:pt x="1435" y="361"/>
                      </a:lnTo>
                      <a:lnTo>
                        <a:pt x="1438" y="361"/>
                      </a:lnTo>
                      <a:lnTo>
                        <a:pt x="1443" y="361"/>
                      </a:lnTo>
                      <a:lnTo>
                        <a:pt x="1447" y="361"/>
                      </a:lnTo>
                      <a:lnTo>
                        <a:pt x="1447" y="369"/>
                      </a:lnTo>
                      <a:lnTo>
                        <a:pt x="1463" y="367"/>
                      </a:lnTo>
                      <a:lnTo>
                        <a:pt x="1466" y="367"/>
                      </a:lnTo>
                      <a:lnTo>
                        <a:pt x="1474" y="364"/>
                      </a:lnTo>
                      <a:lnTo>
                        <a:pt x="1480" y="367"/>
                      </a:lnTo>
                      <a:lnTo>
                        <a:pt x="1486" y="372"/>
                      </a:lnTo>
                      <a:lnTo>
                        <a:pt x="1486" y="375"/>
                      </a:lnTo>
                      <a:lnTo>
                        <a:pt x="1488" y="378"/>
                      </a:lnTo>
                      <a:lnTo>
                        <a:pt x="1486" y="386"/>
                      </a:lnTo>
                      <a:lnTo>
                        <a:pt x="1486" y="392"/>
                      </a:lnTo>
                      <a:lnTo>
                        <a:pt x="1488" y="402"/>
                      </a:lnTo>
                      <a:lnTo>
                        <a:pt x="1491" y="408"/>
                      </a:lnTo>
                      <a:lnTo>
                        <a:pt x="1491" y="410"/>
                      </a:lnTo>
                      <a:lnTo>
                        <a:pt x="1499" y="417"/>
                      </a:lnTo>
                      <a:lnTo>
                        <a:pt x="1507" y="417"/>
                      </a:lnTo>
                      <a:lnTo>
                        <a:pt x="1512" y="419"/>
                      </a:lnTo>
                      <a:lnTo>
                        <a:pt x="1521" y="430"/>
                      </a:lnTo>
                      <a:lnTo>
                        <a:pt x="1524" y="430"/>
                      </a:lnTo>
                      <a:lnTo>
                        <a:pt x="1527" y="430"/>
                      </a:lnTo>
                      <a:lnTo>
                        <a:pt x="1532" y="425"/>
                      </a:lnTo>
                      <a:lnTo>
                        <a:pt x="1535" y="425"/>
                      </a:lnTo>
                      <a:lnTo>
                        <a:pt x="1537" y="430"/>
                      </a:lnTo>
                      <a:lnTo>
                        <a:pt x="1537" y="438"/>
                      </a:lnTo>
                      <a:lnTo>
                        <a:pt x="1543" y="446"/>
                      </a:lnTo>
                      <a:lnTo>
                        <a:pt x="1543" y="455"/>
                      </a:lnTo>
                      <a:lnTo>
                        <a:pt x="1549" y="455"/>
                      </a:lnTo>
                      <a:lnTo>
                        <a:pt x="1565" y="453"/>
                      </a:lnTo>
                      <a:lnTo>
                        <a:pt x="1568" y="450"/>
                      </a:lnTo>
                      <a:lnTo>
                        <a:pt x="1568" y="441"/>
                      </a:lnTo>
                      <a:lnTo>
                        <a:pt x="1573" y="438"/>
                      </a:lnTo>
                      <a:lnTo>
                        <a:pt x="1579" y="433"/>
                      </a:lnTo>
                      <a:lnTo>
                        <a:pt x="1585" y="428"/>
                      </a:lnTo>
                      <a:lnTo>
                        <a:pt x="1585" y="419"/>
                      </a:lnTo>
                      <a:lnTo>
                        <a:pt x="1585" y="417"/>
                      </a:lnTo>
                      <a:lnTo>
                        <a:pt x="1588" y="419"/>
                      </a:lnTo>
                      <a:lnTo>
                        <a:pt x="1596" y="422"/>
                      </a:lnTo>
                      <a:lnTo>
                        <a:pt x="1596" y="425"/>
                      </a:lnTo>
                      <a:lnTo>
                        <a:pt x="1601" y="425"/>
                      </a:lnTo>
                      <a:lnTo>
                        <a:pt x="1609" y="422"/>
                      </a:lnTo>
                      <a:lnTo>
                        <a:pt x="1615" y="422"/>
                      </a:lnTo>
                      <a:lnTo>
                        <a:pt x="1621" y="419"/>
                      </a:lnTo>
                      <a:lnTo>
                        <a:pt x="1624" y="422"/>
                      </a:lnTo>
                      <a:lnTo>
                        <a:pt x="1632" y="410"/>
                      </a:lnTo>
                      <a:lnTo>
                        <a:pt x="1634" y="405"/>
                      </a:lnTo>
                      <a:lnTo>
                        <a:pt x="1637" y="402"/>
                      </a:lnTo>
                      <a:lnTo>
                        <a:pt x="1645" y="405"/>
                      </a:lnTo>
                      <a:lnTo>
                        <a:pt x="1654" y="402"/>
                      </a:lnTo>
                      <a:lnTo>
                        <a:pt x="1665" y="405"/>
                      </a:lnTo>
                      <a:lnTo>
                        <a:pt x="1676" y="402"/>
                      </a:lnTo>
                      <a:lnTo>
                        <a:pt x="1678" y="397"/>
                      </a:lnTo>
                      <a:lnTo>
                        <a:pt x="1676" y="392"/>
                      </a:lnTo>
                      <a:lnTo>
                        <a:pt x="1678" y="389"/>
                      </a:lnTo>
                      <a:lnTo>
                        <a:pt x="1684" y="386"/>
                      </a:lnTo>
                      <a:lnTo>
                        <a:pt x="1693" y="389"/>
                      </a:lnTo>
                      <a:lnTo>
                        <a:pt x="1695" y="386"/>
                      </a:lnTo>
                      <a:lnTo>
                        <a:pt x="1701" y="384"/>
                      </a:lnTo>
                      <a:lnTo>
                        <a:pt x="1703" y="381"/>
                      </a:lnTo>
                      <a:lnTo>
                        <a:pt x="1703" y="369"/>
                      </a:lnTo>
                      <a:lnTo>
                        <a:pt x="1706" y="367"/>
                      </a:lnTo>
                      <a:lnTo>
                        <a:pt x="1714" y="361"/>
                      </a:lnTo>
                      <a:lnTo>
                        <a:pt x="1726" y="356"/>
                      </a:lnTo>
                      <a:lnTo>
                        <a:pt x="1728" y="353"/>
                      </a:lnTo>
                      <a:lnTo>
                        <a:pt x="1731" y="353"/>
                      </a:lnTo>
                      <a:lnTo>
                        <a:pt x="1731" y="341"/>
                      </a:lnTo>
                      <a:lnTo>
                        <a:pt x="1745" y="333"/>
                      </a:lnTo>
                      <a:lnTo>
                        <a:pt x="1747" y="328"/>
                      </a:lnTo>
                      <a:lnTo>
                        <a:pt x="1750" y="328"/>
                      </a:lnTo>
                      <a:lnTo>
                        <a:pt x="1759" y="325"/>
                      </a:lnTo>
                      <a:lnTo>
                        <a:pt x="1767" y="325"/>
                      </a:lnTo>
                      <a:lnTo>
                        <a:pt x="1770" y="323"/>
                      </a:lnTo>
                      <a:lnTo>
                        <a:pt x="1778" y="317"/>
                      </a:lnTo>
                      <a:lnTo>
                        <a:pt x="1783" y="315"/>
                      </a:lnTo>
                      <a:lnTo>
                        <a:pt x="1786" y="315"/>
                      </a:lnTo>
                      <a:lnTo>
                        <a:pt x="1792" y="317"/>
                      </a:lnTo>
                      <a:lnTo>
                        <a:pt x="1797" y="317"/>
                      </a:lnTo>
                      <a:lnTo>
                        <a:pt x="1803" y="315"/>
                      </a:lnTo>
                      <a:lnTo>
                        <a:pt x="1819" y="315"/>
                      </a:lnTo>
                      <a:lnTo>
                        <a:pt x="1828" y="315"/>
                      </a:lnTo>
                      <a:lnTo>
                        <a:pt x="1836" y="312"/>
                      </a:lnTo>
                      <a:lnTo>
                        <a:pt x="1849" y="303"/>
                      </a:lnTo>
                      <a:lnTo>
                        <a:pt x="1855" y="303"/>
                      </a:lnTo>
                      <a:lnTo>
                        <a:pt x="1861" y="303"/>
                      </a:lnTo>
                      <a:lnTo>
                        <a:pt x="1866" y="300"/>
                      </a:lnTo>
                      <a:lnTo>
                        <a:pt x="1877" y="306"/>
                      </a:lnTo>
                      <a:lnTo>
                        <a:pt x="1888" y="297"/>
                      </a:lnTo>
                      <a:lnTo>
                        <a:pt x="1894" y="306"/>
                      </a:lnTo>
                      <a:lnTo>
                        <a:pt x="1897" y="306"/>
                      </a:lnTo>
                      <a:lnTo>
                        <a:pt x="1902" y="306"/>
                      </a:lnTo>
                      <a:lnTo>
                        <a:pt x="1908" y="312"/>
                      </a:lnTo>
                      <a:lnTo>
                        <a:pt x="1910" y="312"/>
                      </a:lnTo>
                      <a:lnTo>
                        <a:pt x="1913" y="309"/>
                      </a:lnTo>
                      <a:lnTo>
                        <a:pt x="1916" y="303"/>
                      </a:lnTo>
                      <a:lnTo>
                        <a:pt x="1924" y="300"/>
                      </a:lnTo>
                      <a:lnTo>
                        <a:pt x="1930" y="295"/>
                      </a:lnTo>
                      <a:lnTo>
                        <a:pt x="1933" y="295"/>
                      </a:lnTo>
                      <a:lnTo>
                        <a:pt x="1938" y="297"/>
                      </a:lnTo>
                      <a:lnTo>
                        <a:pt x="1943" y="297"/>
                      </a:lnTo>
                      <a:lnTo>
                        <a:pt x="1949" y="272"/>
                      </a:lnTo>
                      <a:lnTo>
                        <a:pt x="1957" y="264"/>
                      </a:lnTo>
                      <a:lnTo>
                        <a:pt x="1957" y="256"/>
                      </a:lnTo>
                      <a:lnTo>
                        <a:pt x="1966" y="248"/>
                      </a:lnTo>
                      <a:lnTo>
                        <a:pt x="1969" y="248"/>
                      </a:lnTo>
                      <a:lnTo>
                        <a:pt x="1974" y="243"/>
                      </a:lnTo>
                      <a:lnTo>
                        <a:pt x="1985" y="234"/>
                      </a:lnTo>
                      <a:lnTo>
                        <a:pt x="1985" y="223"/>
                      </a:lnTo>
                      <a:lnTo>
                        <a:pt x="1985" y="215"/>
                      </a:lnTo>
                      <a:lnTo>
                        <a:pt x="1987" y="204"/>
                      </a:lnTo>
                      <a:lnTo>
                        <a:pt x="1987" y="201"/>
                      </a:lnTo>
                      <a:lnTo>
                        <a:pt x="2007" y="201"/>
                      </a:lnTo>
                      <a:lnTo>
                        <a:pt x="2010" y="195"/>
                      </a:lnTo>
                      <a:lnTo>
                        <a:pt x="2010" y="190"/>
                      </a:lnTo>
                      <a:lnTo>
                        <a:pt x="2026" y="187"/>
                      </a:lnTo>
                      <a:lnTo>
                        <a:pt x="2030" y="187"/>
                      </a:lnTo>
                      <a:lnTo>
                        <a:pt x="2030" y="182"/>
                      </a:lnTo>
                      <a:lnTo>
                        <a:pt x="2035" y="182"/>
                      </a:lnTo>
                      <a:lnTo>
                        <a:pt x="2038" y="177"/>
                      </a:lnTo>
                      <a:lnTo>
                        <a:pt x="2040" y="177"/>
                      </a:lnTo>
                      <a:lnTo>
                        <a:pt x="2043" y="177"/>
                      </a:lnTo>
                      <a:lnTo>
                        <a:pt x="2046" y="177"/>
                      </a:lnTo>
                      <a:lnTo>
                        <a:pt x="2051" y="177"/>
                      </a:lnTo>
                      <a:lnTo>
                        <a:pt x="2054" y="182"/>
                      </a:lnTo>
                      <a:lnTo>
                        <a:pt x="2062" y="179"/>
                      </a:lnTo>
                      <a:lnTo>
                        <a:pt x="2062" y="169"/>
                      </a:lnTo>
                      <a:lnTo>
                        <a:pt x="2068" y="165"/>
                      </a:lnTo>
                      <a:lnTo>
                        <a:pt x="2071" y="154"/>
                      </a:lnTo>
                      <a:lnTo>
                        <a:pt x="2073" y="154"/>
                      </a:lnTo>
                      <a:lnTo>
                        <a:pt x="2076" y="149"/>
                      </a:lnTo>
                      <a:lnTo>
                        <a:pt x="2076" y="143"/>
                      </a:lnTo>
                      <a:lnTo>
                        <a:pt x="2079" y="141"/>
                      </a:lnTo>
                      <a:lnTo>
                        <a:pt x="2079" y="138"/>
                      </a:lnTo>
                      <a:lnTo>
                        <a:pt x="2082" y="138"/>
                      </a:lnTo>
                      <a:lnTo>
                        <a:pt x="2084" y="129"/>
                      </a:lnTo>
                      <a:lnTo>
                        <a:pt x="2090" y="129"/>
                      </a:lnTo>
                      <a:lnTo>
                        <a:pt x="2095" y="124"/>
                      </a:lnTo>
                      <a:lnTo>
                        <a:pt x="2107" y="110"/>
                      </a:lnTo>
                      <a:lnTo>
                        <a:pt x="2109" y="113"/>
                      </a:lnTo>
                      <a:lnTo>
                        <a:pt x="2115" y="100"/>
                      </a:lnTo>
                      <a:lnTo>
                        <a:pt x="2120" y="88"/>
                      </a:lnTo>
                      <a:lnTo>
                        <a:pt x="2123" y="80"/>
                      </a:lnTo>
                      <a:lnTo>
                        <a:pt x="2128" y="74"/>
                      </a:lnTo>
                      <a:lnTo>
                        <a:pt x="2128" y="72"/>
                      </a:lnTo>
                      <a:lnTo>
                        <a:pt x="2134" y="72"/>
                      </a:lnTo>
                      <a:lnTo>
                        <a:pt x="2137" y="72"/>
                      </a:lnTo>
                      <a:lnTo>
                        <a:pt x="2148" y="80"/>
                      </a:lnTo>
                      <a:lnTo>
                        <a:pt x="2156" y="80"/>
                      </a:lnTo>
                      <a:lnTo>
                        <a:pt x="2164" y="85"/>
                      </a:lnTo>
                      <a:lnTo>
                        <a:pt x="2168" y="85"/>
                      </a:lnTo>
                      <a:lnTo>
                        <a:pt x="2173" y="82"/>
                      </a:lnTo>
                      <a:lnTo>
                        <a:pt x="2178" y="77"/>
                      </a:lnTo>
                      <a:lnTo>
                        <a:pt x="2186" y="77"/>
                      </a:lnTo>
                      <a:lnTo>
                        <a:pt x="2186" y="74"/>
                      </a:lnTo>
                      <a:lnTo>
                        <a:pt x="2189" y="72"/>
                      </a:lnTo>
                      <a:lnTo>
                        <a:pt x="2192" y="72"/>
                      </a:lnTo>
                      <a:lnTo>
                        <a:pt x="2201" y="74"/>
                      </a:lnTo>
                      <a:lnTo>
                        <a:pt x="2203" y="72"/>
                      </a:lnTo>
                      <a:lnTo>
                        <a:pt x="2206" y="74"/>
                      </a:lnTo>
                      <a:lnTo>
                        <a:pt x="2209" y="72"/>
                      </a:lnTo>
                      <a:lnTo>
                        <a:pt x="2211" y="74"/>
                      </a:lnTo>
                      <a:lnTo>
                        <a:pt x="2214" y="72"/>
                      </a:lnTo>
                      <a:lnTo>
                        <a:pt x="2217" y="74"/>
                      </a:lnTo>
                      <a:lnTo>
                        <a:pt x="2237" y="72"/>
                      </a:lnTo>
                      <a:lnTo>
                        <a:pt x="2233" y="77"/>
                      </a:lnTo>
                      <a:lnTo>
                        <a:pt x="2233" y="80"/>
                      </a:lnTo>
                      <a:lnTo>
                        <a:pt x="2230" y="82"/>
                      </a:lnTo>
                      <a:lnTo>
                        <a:pt x="2230" y="85"/>
                      </a:lnTo>
                      <a:lnTo>
                        <a:pt x="2233" y="91"/>
                      </a:lnTo>
                      <a:lnTo>
                        <a:pt x="2237" y="93"/>
                      </a:lnTo>
                      <a:lnTo>
                        <a:pt x="2237" y="96"/>
                      </a:lnTo>
                      <a:lnTo>
                        <a:pt x="2239" y="100"/>
                      </a:lnTo>
                      <a:lnTo>
                        <a:pt x="2242" y="105"/>
                      </a:lnTo>
                      <a:lnTo>
                        <a:pt x="2250" y="105"/>
                      </a:lnTo>
                      <a:lnTo>
                        <a:pt x="2250" y="108"/>
                      </a:lnTo>
                      <a:lnTo>
                        <a:pt x="2253" y="105"/>
                      </a:lnTo>
                      <a:lnTo>
                        <a:pt x="2255" y="105"/>
                      </a:lnTo>
                      <a:lnTo>
                        <a:pt x="2261" y="105"/>
                      </a:lnTo>
                      <a:lnTo>
                        <a:pt x="2266" y="105"/>
                      </a:lnTo>
                      <a:lnTo>
                        <a:pt x="2270" y="105"/>
                      </a:lnTo>
                      <a:lnTo>
                        <a:pt x="2272" y="116"/>
                      </a:lnTo>
                      <a:lnTo>
                        <a:pt x="2270" y="126"/>
                      </a:lnTo>
                      <a:lnTo>
                        <a:pt x="2275" y="129"/>
                      </a:lnTo>
                      <a:lnTo>
                        <a:pt x="2283" y="124"/>
                      </a:lnTo>
                      <a:lnTo>
                        <a:pt x="2286" y="124"/>
                      </a:lnTo>
                      <a:lnTo>
                        <a:pt x="2291" y="121"/>
                      </a:lnTo>
                      <a:lnTo>
                        <a:pt x="2299" y="124"/>
                      </a:lnTo>
                      <a:lnTo>
                        <a:pt x="2299" y="129"/>
                      </a:lnTo>
                      <a:lnTo>
                        <a:pt x="2306" y="129"/>
                      </a:lnTo>
                      <a:lnTo>
                        <a:pt x="2316" y="126"/>
                      </a:lnTo>
                      <a:lnTo>
                        <a:pt x="2316" y="132"/>
                      </a:lnTo>
                      <a:lnTo>
                        <a:pt x="2322" y="138"/>
                      </a:lnTo>
                      <a:lnTo>
                        <a:pt x="2324" y="138"/>
                      </a:lnTo>
                      <a:lnTo>
                        <a:pt x="2324" y="141"/>
                      </a:lnTo>
                      <a:lnTo>
                        <a:pt x="2324" y="149"/>
                      </a:lnTo>
                      <a:lnTo>
                        <a:pt x="2330" y="154"/>
                      </a:lnTo>
                      <a:lnTo>
                        <a:pt x="2330" y="160"/>
                      </a:lnTo>
                      <a:lnTo>
                        <a:pt x="2339" y="162"/>
                      </a:lnTo>
                      <a:lnTo>
                        <a:pt x="2339" y="174"/>
                      </a:lnTo>
                      <a:lnTo>
                        <a:pt x="2344" y="174"/>
                      </a:lnTo>
                      <a:lnTo>
                        <a:pt x="2344" y="187"/>
                      </a:lnTo>
                      <a:lnTo>
                        <a:pt x="2347" y="193"/>
                      </a:lnTo>
                      <a:lnTo>
                        <a:pt x="2349" y="198"/>
                      </a:lnTo>
                      <a:lnTo>
                        <a:pt x="2352" y="204"/>
                      </a:lnTo>
                      <a:lnTo>
                        <a:pt x="2352" y="207"/>
                      </a:lnTo>
                      <a:lnTo>
                        <a:pt x="2352" y="210"/>
                      </a:lnTo>
                      <a:lnTo>
                        <a:pt x="2355" y="212"/>
                      </a:lnTo>
                      <a:lnTo>
                        <a:pt x="2355" y="220"/>
                      </a:lnTo>
                      <a:lnTo>
                        <a:pt x="2357" y="223"/>
                      </a:lnTo>
                      <a:lnTo>
                        <a:pt x="2355" y="229"/>
                      </a:lnTo>
                      <a:lnTo>
                        <a:pt x="2360" y="231"/>
                      </a:lnTo>
                      <a:lnTo>
                        <a:pt x="2363" y="237"/>
                      </a:lnTo>
                      <a:lnTo>
                        <a:pt x="2368" y="237"/>
                      </a:lnTo>
                      <a:lnTo>
                        <a:pt x="2368" y="240"/>
                      </a:lnTo>
                      <a:lnTo>
                        <a:pt x="2375" y="237"/>
                      </a:lnTo>
                      <a:lnTo>
                        <a:pt x="2380" y="240"/>
                      </a:lnTo>
                      <a:lnTo>
                        <a:pt x="2383" y="240"/>
                      </a:lnTo>
                      <a:lnTo>
                        <a:pt x="2383" y="246"/>
                      </a:lnTo>
                      <a:lnTo>
                        <a:pt x="2385" y="246"/>
                      </a:lnTo>
                      <a:lnTo>
                        <a:pt x="2391" y="248"/>
                      </a:lnTo>
                      <a:lnTo>
                        <a:pt x="2399" y="254"/>
                      </a:lnTo>
                      <a:lnTo>
                        <a:pt x="2401" y="254"/>
                      </a:lnTo>
                      <a:lnTo>
                        <a:pt x="2410" y="254"/>
                      </a:lnTo>
                      <a:lnTo>
                        <a:pt x="2413" y="259"/>
                      </a:lnTo>
                      <a:lnTo>
                        <a:pt x="2418" y="262"/>
                      </a:lnTo>
                      <a:lnTo>
                        <a:pt x="2416" y="267"/>
                      </a:lnTo>
                      <a:lnTo>
                        <a:pt x="2416" y="272"/>
                      </a:lnTo>
                      <a:lnTo>
                        <a:pt x="2416" y="276"/>
                      </a:lnTo>
                      <a:lnTo>
                        <a:pt x="2413" y="281"/>
                      </a:lnTo>
                      <a:lnTo>
                        <a:pt x="2413" y="284"/>
                      </a:lnTo>
                      <a:lnTo>
                        <a:pt x="2408" y="292"/>
                      </a:lnTo>
                      <a:lnTo>
                        <a:pt x="2410" y="297"/>
                      </a:lnTo>
                      <a:lnTo>
                        <a:pt x="2410" y="303"/>
                      </a:lnTo>
                      <a:lnTo>
                        <a:pt x="2413" y="303"/>
                      </a:lnTo>
                      <a:lnTo>
                        <a:pt x="2413" y="309"/>
                      </a:lnTo>
                      <a:lnTo>
                        <a:pt x="2410" y="312"/>
                      </a:lnTo>
                      <a:lnTo>
                        <a:pt x="2401" y="315"/>
                      </a:lnTo>
                      <a:lnTo>
                        <a:pt x="2401" y="317"/>
                      </a:lnTo>
                      <a:lnTo>
                        <a:pt x="2401" y="320"/>
                      </a:lnTo>
                      <a:lnTo>
                        <a:pt x="2396" y="323"/>
                      </a:lnTo>
                      <a:lnTo>
                        <a:pt x="2388" y="320"/>
                      </a:lnTo>
                      <a:lnTo>
                        <a:pt x="2388" y="323"/>
                      </a:lnTo>
                      <a:lnTo>
                        <a:pt x="2385" y="323"/>
                      </a:lnTo>
                      <a:lnTo>
                        <a:pt x="2383" y="325"/>
                      </a:lnTo>
                      <a:lnTo>
                        <a:pt x="2391" y="336"/>
                      </a:lnTo>
                      <a:lnTo>
                        <a:pt x="2388" y="339"/>
                      </a:lnTo>
                      <a:lnTo>
                        <a:pt x="2391" y="345"/>
                      </a:lnTo>
                      <a:lnTo>
                        <a:pt x="2385" y="350"/>
                      </a:lnTo>
                      <a:lnTo>
                        <a:pt x="2388" y="356"/>
                      </a:lnTo>
                      <a:lnTo>
                        <a:pt x="2388" y="361"/>
                      </a:lnTo>
                      <a:lnTo>
                        <a:pt x="2388" y="364"/>
                      </a:lnTo>
                      <a:lnTo>
                        <a:pt x="2385" y="364"/>
                      </a:lnTo>
                      <a:lnTo>
                        <a:pt x="2380" y="367"/>
                      </a:lnTo>
                      <a:lnTo>
                        <a:pt x="2380" y="375"/>
                      </a:lnTo>
                      <a:lnTo>
                        <a:pt x="2377" y="381"/>
                      </a:lnTo>
                      <a:lnTo>
                        <a:pt x="2375" y="386"/>
                      </a:lnTo>
                      <a:lnTo>
                        <a:pt x="2385" y="381"/>
                      </a:lnTo>
                      <a:lnTo>
                        <a:pt x="2396" y="381"/>
                      </a:lnTo>
                      <a:lnTo>
                        <a:pt x="2399" y="384"/>
                      </a:lnTo>
                      <a:lnTo>
                        <a:pt x="2413" y="392"/>
                      </a:lnTo>
                      <a:lnTo>
                        <a:pt x="2424" y="394"/>
                      </a:lnTo>
                      <a:lnTo>
                        <a:pt x="2434" y="397"/>
                      </a:lnTo>
                      <a:lnTo>
                        <a:pt x="2449" y="392"/>
                      </a:lnTo>
                      <a:lnTo>
                        <a:pt x="2454" y="392"/>
                      </a:lnTo>
                      <a:lnTo>
                        <a:pt x="2457" y="392"/>
                      </a:lnTo>
                      <a:lnTo>
                        <a:pt x="2460" y="389"/>
                      </a:lnTo>
                      <a:lnTo>
                        <a:pt x="2465" y="384"/>
                      </a:lnTo>
                      <a:lnTo>
                        <a:pt x="2468" y="384"/>
                      </a:lnTo>
                      <a:lnTo>
                        <a:pt x="2470" y="372"/>
                      </a:lnTo>
                      <a:lnTo>
                        <a:pt x="2473" y="369"/>
                      </a:lnTo>
                      <a:lnTo>
                        <a:pt x="2482" y="367"/>
                      </a:lnTo>
                      <a:lnTo>
                        <a:pt x="2485" y="367"/>
                      </a:lnTo>
                      <a:lnTo>
                        <a:pt x="2487" y="367"/>
                      </a:lnTo>
                      <a:lnTo>
                        <a:pt x="2495" y="369"/>
                      </a:lnTo>
                      <a:lnTo>
                        <a:pt x="2498" y="372"/>
                      </a:lnTo>
                      <a:lnTo>
                        <a:pt x="2503" y="364"/>
                      </a:lnTo>
                      <a:lnTo>
                        <a:pt x="2513" y="348"/>
                      </a:lnTo>
                      <a:lnTo>
                        <a:pt x="2518" y="341"/>
                      </a:lnTo>
                      <a:lnTo>
                        <a:pt x="2523" y="341"/>
                      </a:lnTo>
                      <a:lnTo>
                        <a:pt x="2531" y="350"/>
                      </a:lnTo>
                      <a:lnTo>
                        <a:pt x="2539" y="353"/>
                      </a:lnTo>
                      <a:lnTo>
                        <a:pt x="2542" y="353"/>
                      </a:lnTo>
                      <a:lnTo>
                        <a:pt x="2554" y="341"/>
                      </a:lnTo>
                      <a:lnTo>
                        <a:pt x="2554" y="333"/>
                      </a:lnTo>
                      <a:lnTo>
                        <a:pt x="2554" y="331"/>
                      </a:lnTo>
                      <a:lnTo>
                        <a:pt x="2559" y="315"/>
                      </a:lnTo>
                      <a:lnTo>
                        <a:pt x="2565" y="309"/>
                      </a:lnTo>
                      <a:lnTo>
                        <a:pt x="2570" y="279"/>
                      </a:lnTo>
                      <a:lnTo>
                        <a:pt x="2573" y="270"/>
                      </a:lnTo>
                      <a:lnTo>
                        <a:pt x="2570" y="259"/>
                      </a:lnTo>
                      <a:lnTo>
                        <a:pt x="2573" y="246"/>
                      </a:lnTo>
                      <a:lnTo>
                        <a:pt x="2579" y="229"/>
                      </a:lnTo>
                      <a:lnTo>
                        <a:pt x="2587" y="220"/>
                      </a:lnTo>
                      <a:lnTo>
                        <a:pt x="2590" y="218"/>
                      </a:lnTo>
                      <a:lnTo>
                        <a:pt x="2595" y="218"/>
                      </a:lnTo>
                      <a:lnTo>
                        <a:pt x="2598" y="218"/>
                      </a:lnTo>
                      <a:lnTo>
                        <a:pt x="2600" y="220"/>
                      </a:lnTo>
                      <a:lnTo>
                        <a:pt x="2603" y="220"/>
                      </a:lnTo>
                      <a:lnTo>
                        <a:pt x="2611" y="229"/>
                      </a:lnTo>
                      <a:lnTo>
                        <a:pt x="2620" y="234"/>
                      </a:lnTo>
                      <a:lnTo>
                        <a:pt x="2623" y="240"/>
                      </a:lnTo>
                      <a:lnTo>
                        <a:pt x="2628" y="240"/>
                      </a:lnTo>
                      <a:lnTo>
                        <a:pt x="2636" y="240"/>
                      </a:lnTo>
                      <a:lnTo>
                        <a:pt x="2653" y="231"/>
                      </a:lnTo>
                      <a:lnTo>
                        <a:pt x="2659" y="226"/>
                      </a:lnTo>
                      <a:lnTo>
                        <a:pt x="2664" y="220"/>
                      </a:lnTo>
                      <a:lnTo>
                        <a:pt x="2675" y="220"/>
                      </a:lnTo>
                      <a:lnTo>
                        <a:pt x="2689" y="220"/>
                      </a:lnTo>
                      <a:lnTo>
                        <a:pt x="2692" y="220"/>
                      </a:lnTo>
                      <a:lnTo>
                        <a:pt x="2697" y="218"/>
                      </a:lnTo>
                      <a:lnTo>
                        <a:pt x="2705" y="215"/>
                      </a:lnTo>
                      <a:lnTo>
                        <a:pt x="2722" y="195"/>
                      </a:lnTo>
                      <a:lnTo>
                        <a:pt x="2725" y="193"/>
                      </a:lnTo>
                      <a:lnTo>
                        <a:pt x="2728" y="185"/>
                      </a:lnTo>
                      <a:lnTo>
                        <a:pt x="2733" y="182"/>
                      </a:lnTo>
                      <a:lnTo>
                        <a:pt x="2741" y="165"/>
                      </a:lnTo>
                      <a:lnTo>
                        <a:pt x="2738" y="154"/>
                      </a:lnTo>
                      <a:lnTo>
                        <a:pt x="2730" y="138"/>
                      </a:lnTo>
                      <a:lnTo>
                        <a:pt x="2730" y="135"/>
                      </a:lnTo>
                      <a:lnTo>
                        <a:pt x="2730" y="132"/>
                      </a:lnTo>
                      <a:lnTo>
                        <a:pt x="2730" y="126"/>
                      </a:lnTo>
                      <a:lnTo>
                        <a:pt x="2733" y="124"/>
                      </a:lnTo>
                      <a:lnTo>
                        <a:pt x="2741" y="121"/>
                      </a:lnTo>
                      <a:lnTo>
                        <a:pt x="2763" y="116"/>
                      </a:lnTo>
                      <a:lnTo>
                        <a:pt x="2769" y="118"/>
                      </a:lnTo>
                      <a:lnTo>
                        <a:pt x="2774" y="118"/>
                      </a:lnTo>
                      <a:lnTo>
                        <a:pt x="2791" y="108"/>
                      </a:lnTo>
                      <a:lnTo>
                        <a:pt x="2810" y="110"/>
                      </a:lnTo>
                      <a:lnTo>
                        <a:pt x="2815" y="110"/>
                      </a:lnTo>
                      <a:lnTo>
                        <a:pt x="2818" y="108"/>
                      </a:lnTo>
                      <a:lnTo>
                        <a:pt x="2822" y="105"/>
                      </a:lnTo>
                      <a:lnTo>
                        <a:pt x="2824" y="102"/>
                      </a:lnTo>
                      <a:lnTo>
                        <a:pt x="2822" y="93"/>
                      </a:lnTo>
                      <a:lnTo>
                        <a:pt x="2822" y="88"/>
                      </a:lnTo>
                      <a:lnTo>
                        <a:pt x="2822" y="85"/>
                      </a:lnTo>
                      <a:lnTo>
                        <a:pt x="2818" y="72"/>
                      </a:lnTo>
                      <a:lnTo>
                        <a:pt x="2813" y="60"/>
                      </a:lnTo>
                      <a:lnTo>
                        <a:pt x="2815" y="52"/>
                      </a:lnTo>
                      <a:lnTo>
                        <a:pt x="2827" y="52"/>
                      </a:lnTo>
                      <a:lnTo>
                        <a:pt x="2832" y="52"/>
                      </a:lnTo>
                      <a:lnTo>
                        <a:pt x="2840" y="49"/>
                      </a:lnTo>
                      <a:lnTo>
                        <a:pt x="2848" y="49"/>
                      </a:lnTo>
                      <a:lnTo>
                        <a:pt x="2866" y="44"/>
                      </a:lnTo>
                      <a:lnTo>
                        <a:pt x="2866" y="41"/>
                      </a:lnTo>
                      <a:lnTo>
                        <a:pt x="2868" y="39"/>
                      </a:lnTo>
                      <a:lnTo>
                        <a:pt x="2871" y="36"/>
                      </a:lnTo>
                      <a:lnTo>
                        <a:pt x="2882" y="33"/>
                      </a:lnTo>
                      <a:lnTo>
                        <a:pt x="2884" y="31"/>
                      </a:lnTo>
                      <a:lnTo>
                        <a:pt x="2901" y="24"/>
                      </a:lnTo>
                      <a:lnTo>
                        <a:pt x="2909" y="19"/>
                      </a:lnTo>
                      <a:lnTo>
                        <a:pt x="2909" y="14"/>
                      </a:lnTo>
                      <a:lnTo>
                        <a:pt x="2912" y="11"/>
                      </a:lnTo>
                      <a:lnTo>
                        <a:pt x="2917" y="11"/>
                      </a:lnTo>
                      <a:lnTo>
                        <a:pt x="2924" y="11"/>
                      </a:lnTo>
                      <a:lnTo>
                        <a:pt x="2927" y="3"/>
                      </a:lnTo>
                      <a:lnTo>
                        <a:pt x="2929" y="3"/>
                      </a:lnTo>
                      <a:lnTo>
                        <a:pt x="2940" y="0"/>
                      </a:lnTo>
                      <a:lnTo>
                        <a:pt x="2943" y="0"/>
                      </a:lnTo>
                      <a:lnTo>
                        <a:pt x="2945" y="0"/>
                      </a:lnTo>
                      <a:lnTo>
                        <a:pt x="2948" y="3"/>
                      </a:lnTo>
                      <a:lnTo>
                        <a:pt x="2951" y="5"/>
                      </a:lnTo>
                      <a:lnTo>
                        <a:pt x="2957" y="11"/>
                      </a:lnTo>
                      <a:lnTo>
                        <a:pt x="2962" y="11"/>
                      </a:lnTo>
                      <a:lnTo>
                        <a:pt x="2973" y="11"/>
                      </a:lnTo>
                      <a:lnTo>
                        <a:pt x="2978" y="11"/>
                      </a:lnTo>
                      <a:lnTo>
                        <a:pt x="2981" y="14"/>
                      </a:lnTo>
                      <a:lnTo>
                        <a:pt x="2984" y="19"/>
                      </a:lnTo>
                      <a:lnTo>
                        <a:pt x="2984" y="22"/>
                      </a:lnTo>
                      <a:lnTo>
                        <a:pt x="2984" y="24"/>
                      </a:lnTo>
                      <a:lnTo>
                        <a:pt x="2987" y="33"/>
                      </a:lnTo>
                      <a:lnTo>
                        <a:pt x="2993" y="36"/>
                      </a:lnTo>
                      <a:lnTo>
                        <a:pt x="2996" y="39"/>
                      </a:lnTo>
                      <a:lnTo>
                        <a:pt x="2998" y="44"/>
                      </a:lnTo>
                      <a:lnTo>
                        <a:pt x="2996" y="47"/>
                      </a:lnTo>
                      <a:lnTo>
                        <a:pt x="2996" y="60"/>
                      </a:lnTo>
                      <a:lnTo>
                        <a:pt x="2996" y="64"/>
                      </a:lnTo>
                      <a:lnTo>
                        <a:pt x="2998" y="69"/>
                      </a:lnTo>
                      <a:lnTo>
                        <a:pt x="3001" y="72"/>
                      </a:lnTo>
                      <a:lnTo>
                        <a:pt x="3004" y="74"/>
                      </a:lnTo>
                      <a:lnTo>
                        <a:pt x="3006" y="74"/>
                      </a:lnTo>
                      <a:lnTo>
                        <a:pt x="3006" y="72"/>
                      </a:lnTo>
                      <a:lnTo>
                        <a:pt x="3014" y="74"/>
                      </a:lnTo>
                      <a:lnTo>
                        <a:pt x="3022" y="72"/>
                      </a:lnTo>
                      <a:lnTo>
                        <a:pt x="3026" y="69"/>
                      </a:lnTo>
                      <a:lnTo>
                        <a:pt x="3029" y="66"/>
                      </a:lnTo>
                      <a:lnTo>
                        <a:pt x="3034" y="72"/>
                      </a:lnTo>
                      <a:lnTo>
                        <a:pt x="3034" y="74"/>
                      </a:lnTo>
                      <a:lnTo>
                        <a:pt x="3045" y="77"/>
                      </a:lnTo>
                      <a:lnTo>
                        <a:pt x="3058" y="80"/>
                      </a:lnTo>
                      <a:lnTo>
                        <a:pt x="3070" y="82"/>
                      </a:lnTo>
                      <a:lnTo>
                        <a:pt x="3081" y="85"/>
                      </a:lnTo>
                      <a:lnTo>
                        <a:pt x="3083" y="85"/>
                      </a:lnTo>
                      <a:lnTo>
                        <a:pt x="3089" y="91"/>
                      </a:lnTo>
                      <a:lnTo>
                        <a:pt x="3100" y="96"/>
                      </a:lnTo>
                      <a:lnTo>
                        <a:pt x="3106" y="108"/>
                      </a:lnTo>
                      <a:lnTo>
                        <a:pt x="3111" y="110"/>
                      </a:lnTo>
                      <a:lnTo>
                        <a:pt x="3114" y="113"/>
                      </a:lnTo>
                      <a:lnTo>
                        <a:pt x="3116" y="113"/>
                      </a:lnTo>
                      <a:lnTo>
                        <a:pt x="3119" y="113"/>
                      </a:lnTo>
                      <a:lnTo>
                        <a:pt x="3127" y="110"/>
                      </a:lnTo>
                      <a:lnTo>
                        <a:pt x="3144" y="108"/>
                      </a:lnTo>
                      <a:lnTo>
                        <a:pt x="3150" y="105"/>
                      </a:lnTo>
                      <a:lnTo>
                        <a:pt x="3155" y="105"/>
                      </a:lnTo>
                      <a:lnTo>
                        <a:pt x="3175" y="108"/>
                      </a:lnTo>
                      <a:lnTo>
                        <a:pt x="3177" y="108"/>
                      </a:lnTo>
                      <a:lnTo>
                        <a:pt x="3180" y="110"/>
                      </a:lnTo>
                      <a:lnTo>
                        <a:pt x="3191" y="118"/>
                      </a:lnTo>
                      <a:lnTo>
                        <a:pt x="3203" y="129"/>
                      </a:lnTo>
                      <a:lnTo>
                        <a:pt x="3211" y="132"/>
                      </a:lnTo>
                      <a:lnTo>
                        <a:pt x="3216" y="138"/>
                      </a:lnTo>
                      <a:lnTo>
                        <a:pt x="3219" y="146"/>
                      </a:lnTo>
                      <a:lnTo>
                        <a:pt x="3221" y="160"/>
                      </a:lnTo>
                      <a:lnTo>
                        <a:pt x="3221" y="169"/>
                      </a:lnTo>
                      <a:lnTo>
                        <a:pt x="3224" y="174"/>
                      </a:lnTo>
                      <a:lnTo>
                        <a:pt x="3229" y="185"/>
                      </a:lnTo>
                      <a:lnTo>
                        <a:pt x="3241" y="190"/>
                      </a:lnTo>
                      <a:lnTo>
                        <a:pt x="3246" y="187"/>
                      </a:lnTo>
                      <a:lnTo>
                        <a:pt x="3249" y="187"/>
                      </a:lnTo>
                      <a:lnTo>
                        <a:pt x="3254" y="177"/>
                      </a:lnTo>
                      <a:lnTo>
                        <a:pt x="3254" y="151"/>
                      </a:lnTo>
                      <a:lnTo>
                        <a:pt x="3257" y="146"/>
                      </a:lnTo>
                      <a:lnTo>
                        <a:pt x="3272" y="124"/>
                      </a:lnTo>
                      <a:lnTo>
                        <a:pt x="3280" y="121"/>
                      </a:lnTo>
                      <a:lnTo>
                        <a:pt x="3296" y="124"/>
                      </a:lnTo>
                      <a:lnTo>
                        <a:pt x="3307" y="132"/>
                      </a:lnTo>
                      <a:lnTo>
                        <a:pt x="3313" y="138"/>
                      </a:lnTo>
                      <a:lnTo>
                        <a:pt x="3310" y="149"/>
                      </a:lnTo>
                      <a:lnTo>
                        <a:pt x="3307" y="154"/>
                      </a:lnTo>
                      <a:lnTo>
                        <a:pt x="3296" y="162"/>
                      </a:lnTo>
                      <a:lnTo>
                        <a:pt x="3293" y="165"/>
                      </a:lnTo>
                      <a:lnTo>
                        <a:pt x="3293" y="169"/>
                      </a:lnTo>
                      <a:lnTo>
                        <a:pt x="3290" y="171"/>
                      </a:lnTo>
                      <a:lnTo>
                        <a:pt x="3290" y="174"/>
                      </a:lnTo>
                      <a:lnTo>
                        <a:pt x="3293" y="179"/>
                      </a:lnTo>
                      <a:lnTo>
                        <a:pt x="3298" y="187"/>
                      </a:lnTo>
                      <a:lnTo>
                        <a:pt x="3307" y="195"/>
                      </a:lnTo>
                      <a:lnTo>
                        <a:pt x="3318" y="204"/>
                      </a:lnTo>
                      <a:lnTo>
                        <a:pt x="3323" y="207"/>
                      </a:lnTo>
                      <a:lnTo>
                        <a:pt x="3329" y="210"/>
                      </a:lnTo>
                      <a:lnTo>
                        <a:pt x="3338" y="212"/>
                      </a:lnTo>
                      <a:lnTo>
                        <a:pt x="3346" y="204"/>
                      </a:lnTo>
                      <a:lnTo>
                        <a:pt x="3357" y="193"/>
                      </a:lnTo>
                      <a:lnTo>
                        <a:pt x="3359" y="193"/>
                      </a:lnTo>
                      <a:lnTo>
                        <a:pt x="3365" y="190"/>
                      </a:lnTo>
                      <a:lnTo>
                        <a:pt x="3374" y="190"/>
                      </a:lnTo>
                      <a:lnTo>
                        <a:pt x="3374" y="195"/>
                      </a:lnTo>
                      <a:lnTo>
                        <a:pt x="3382" y="204"/>
                      </a:lnTo>
                      <a:lnTo>
                        <a:pt x="3384" y="212"/>
                      </a:lnTo>
                      <a:lnTo>
                        <a:pt x="3384" y="215"/>
                      </a:lnTo>
                      <a:lnTo>
                        <a:pt x="3382" y="218"/>
                      </a:lnTo>
                      <a:lnTo>
                        <a:pt x="3374" y="223"/>
                      </a:lnTo>
                      <a:lnTo>
                        <a:pt x="3371" y="229"/>
                      </a:lnTo>
                      <a:lnTo>
                        <a:pt x="3374" y="234"/>
                      </a:lnTo>
                      <a:lnTo>
                        <a:pt x="3379" y="234"/>
                      </a:lnTo>
                      <a:lnTo>
                        <a:pt x="3371" y="243"/>
                      </a:lnTo>
                      <a:lnTo>
                        <a:pt x="3374" y="254"/>
                      </a:lnTo>
                      <a:lnTo>
                        <a:pt x="3376" y="256"/>
                      </a:lnTo>
                      <a:lnTo>
                        <a:pt x="3379" y="259"/>
                      </a:lnTo>
                      <a:lnTo>
                        <a:pt x="3384" y="267"/>
                      </a:lnTo>
                      <a:lnTo>
                        <a:pt x="3390" y="281"/>
                      </a:lnTo>
                      <a:lnTo>
                        <a:pt x="3387" y="287"/>
                      </a:lnTo>
                      <a:lnTo>
                        <a:pt x="3400" y="317"/>
                      </a:lnTo>
                      <a:lnTo>
                        <a:pt x="3407" y="333"/>
                      </a:lnTo>
                      <a:lnTo>
                        <a:pt x="3418" y="345"/>
                      </a:lnTo>
                      <a:lnTo>
                        <a:pt x="3420" y="353"/>
                      </a:lnTo>
                      <a:lnTo>
                        <a:pt x="3423" y="356"/>
                      </a:lnTo>
                      <a:lnTo>
                        <a:pt x="3423" y="361"/>
                      </a:lnTo>
                      <a:lnTo>
                        <a:pt x="3420" y="364"/>
                      </a:lnTo>
                      <a:lnTo>
                        <a:pt x="3420" y="369"/>
                      </a:lnTo>
                      <a:lnTo>
                        <a:pt x="3423" y="372"/>
                      </a:lnTo>
                      <a:lnTo>
                        <a:pt x="3431" y="372"/>
                      </a:lnTo>
                      <a:lnTo>
                        <a:pt x="3440" y="381"/>
                      </a:lnTo>
                      <a:lnTo>
                        <a:pt x="3445" y="378"/>
                      </a:lnTo>
                      <a:lnTo>
                        <a:pt x="3453" y="381"/>
                      </a:lnTo>
                      <a:lnTo>
                        <a:pt x="3456" y="378"/>
                      </a:lnTo>
                      <a:lnTo>
                        <a:pt x="3459" y="378"/>
                      </a:lnTo>
                      <a:lnTo>
                        <a:pt x="3470" y="381"/>
                      </a:lnTo>
                      <a:lnTo>
                        <a:pt x="3473" y="381"/>
                      </a:lnTo>
                      <a:lnTo>
                        <a:pt x="3473" y="384"/>
                      </a:lnTo>
                      <a:lnTo>
                        <a:pt x="3476" y="386"/>
                      </a:lnTo>
                      <a:lnTo>
                        <a:pt x="3478" y="386"/>
                      </a:lnTo>
                      <a:lnTo>
                        <a:pt x="3484" y="392"/>
                      </a:lnTo>
                      <a:lnTo>
                        <a:pt x="3489" y="392"/>
                      </a:lnTo>
                      <a:lnTo>
                        <a:pt x="3492" y="392"/>
                      </a:lnTo>
                      <a:lnTo>
                        <a:pt x="3497" y="397"/>
                      </a:lnTo>
                      <a:lnTo>
                        <a:pt x="3503" y="402"/>
                      </a:lnTo>
                      <a:lnTo>
                        <a:pt x="3500" y="410"/>
                      </a:lnTo>
                      <a:lnTo>
                        <a:pt x="3497" y="417"/>
                      </a:lnTo>
                      <a:lnTo>
                        <a:pt x="3497" y="419"/>
                      </a:lnTo>
                      <a:lnTo>
                        <a:pt x="3495" y="422"/>
                      </a:lnTo>
                      <a:lnTo>
                        <a:pt x="3492" y="425"/>
                      </a:lnTo>
                      <a:lnTo>
                        <a:pt x="3495" y="428"/>
                      </a:lnTo>
                      <a:lnTo>
                        <a:pt x="3495" y="430"/>
                      </a:lnTo>
                      <a:lnTo>
                        <a:pt x="3492" y="433"/>
                      </a:lnTo>
                      <a:lnTo>
                        <a:pt x="3492" y="436"/>
                      </a:lnTo>
                      <a:lnTo>
                        <a:pt x="3489" y="433"/>
                      </a:lnTo>
                      <a:lnTo>
                        <a:pt x="3487" y="436"/>
                      </a:lnTo>
                      <a:lnTo>
                        <a:pt x="3487" y="438"/>
                      </a:lnTo>
                      <a:lnTo>
                        <a:pt x="3487" y="446"/>
                      </a:lnTo>
                      <a:lnTo>
                        <a:pt x="3489" y="453"/>
                      </a:lnTo>
                      <a:lnTo>
                        <a:pt x="3495" y="455"/>
                      </a:lnTo>
                      <a:lnTo>
                        <a:pt x="3497" y="458"/>
                      </a:lnTo>
                      <a:lnTo>
                        <a:pt x="3500" y="461"/>
                      </a:lnTo>
                      <a:lnTo>
                        <a:pt x="3505" y="463"/>
                      </a:lnTo>
                      <a:lnTo>
                        <a:pt x="3509" y="466"/>
                      </a:lnTo>
                      <a:lnTo>
                        <a:pt x="3505" y="469"/>
                      </a:lnTo>
                      <a:lnTo>
                        <a:pt x="3503" y="469"/>
                      </a:lnTo>
                      <a:lnTo>
                        <a:pt x="3500" y="469"/>
                      </a:lnTo>
                      <a:lnTo>
                        <a:pt x="3495" y="474"/>
                      </a:lnTo>
                      <a:lnTo>
                        <a:pt x="3492" y="479"/>
                      </a:lnTo>
                      <a:lnTo>
                        <a:pt x="3487" y="483"/>
                      </a:lnTo>
                      <a:lnTo>
                        <a:pt x="3487" y="486"/>
                      </a:lnTo>
                      <a:lnTo>
                        <a:pt x="3487" y="488"/>
                      </a:lnTo>
                      <a:lnTo>
                        <a:pt x="3487" y="494"/>
                      </a:lnTo>
                      <a:lnTo>
                        <a:pt x="3487" y="502"/>
                      </a:lnTo>
                      <a:lnTo>
                        <a:pt x="3487" y="510"/>
                      </a:lnTo>
                      <a:lnTo>
                        <a:pt x="3492" y="522"/>
                      </a:lnTo>
                      <a:lnTo>
                        <a:pt x="3495" y="522"/>
                      </a:lnTo>
                      <a:lnTo>
                        <a:pt x="3495" y="524"/>
                      </a:lnTo>
                      <a:lnTo>
                        <a:pt x="3503" y="532"/>
                      </a:lnTo>
                      <a:lnTo>
                        <a:pt x="3512" y="535"/>
                      </a:lnTo>
                      <a:lnTo>
                        <a:pt x="3514" y="535"/>
                      </a:lnTo>
                      <a:lnTo>
                        <a:pt x="3517" y="538"/>
                      </a:lnTo>
                      <a:lnTo>
                        <a:pt x="3514" y="543"/>
                      </a:lnTo>
                      <a:lnTo>
                        <a:pt x="3512" y="548"/>
                      </a:lnTo>
                      <a:lnTo>
                        <a:pt x="3514" y="551"/>
                      </a:lnTo>
                      <a:lnTo>
                        <a:pt x="3514" y="555"/>
                      </a:lnTo>
                      <a:lnTo>
                        <a:pt x="3509" y="560"/>
                      </a:lnTo>
                      <a:lnTo>
                        <a:pt x="3509" y="568"/>
                      </a:lnTo>
                      <a:lnTo>
                        <a:pt x="3503" y="576"/>
                      </a:lnTo>
                      <a:lnTo>
                        <a:pt x="3503" y="579"/>
                      </a:lnTo>
                      <a:lnTo>
                        <a:pt x="3509" y="582"/>
                      </a:lnTo>
                      <a:lnTo>
                        <a:pt x="3517" y="599"/>
                      </a:lnTo>
                      <a:lnTo>
                        <a:pt x="3520" y="601"/>
                      </a:lnTo>
                      <a:lnTo>
                        <a:pt x="3522" y="601"/>
                      </a:lnTo>
                      <a:lnTo>
                        <a:pt x="3528" y="599"/>
                      </a:lnTo>
                      <a:lnTo>
                        <a:pt x="3533" y="599"/>
                      </a:lnTo>
                      <a:lnTo>
                        <a:pt x="3533" y="604"/>
                      </a:lnTo>
                      <a:lnTo>
                        <a:pt x="3536" y="604"/>
                      </a:lnTo>
                      <a:lnTo>
                        <a:pt x="3542" y="604"/>
                      </a:lnTo>
                      <a:lnTo>
                        <a:pt x="3550" y="607"/>
                      </a:lnTo>
                      <a:lnTo>
                        <a:pt x="3553" y="604"/>
                      </a:lnTo>
                      <a:lnTo>
                        <a:pt x="3572" y="615"/>
                      </a:lnTo>
                      <a:lnTo>
                        <a:pt x="3574" y="620"/>
                      </a:lnTo>
                      <a:lnTo>
                        <a:pt x="3574" y="626"/>
                      </a:lnTo>
                      <a:lnTo>
                        <a:pt x="3574" y="629"/>
                      </a:lnTo>
                      <a:lnTo>
                        <a:pt x="3574" y="637"/>
                      </a:lnTo>
                      <a:lnTo>
                        <a:pt x="3586" y="660"/>
                      </a:lnTo>
                      <a:lnTo>
                        <a:pt x="3594" y="670"/>
                      </a:lnTo>
                      <a:lnTo>
                        <a:pt x="3594" y="676"/>
                      </a:lnTo>
                      <a:lnTo>
                        <a:pt x="3591" y="689"/>
                      </a:lnTo>
                      <a:lnTo>
                        <a:pt x="3591" y="693"/>
                      </a:lnTo>
                      <a:lnTo>
                        <a:pt x="3597" y="695"/>
                      </a:lnTo>
                      <a:lnTo>
                        <a:pt x="3607" y="747"/>
                      </a:lnTo>
                      <a:lnTo>
                        <a:pt x="3607" y="750"/>
                      </a:lnTo>
                      <a:lnTo>
                        <a:pt x="3611" y="753"/>
                      </a:lnTo>
                      <a:lnTo>
                        <a:pt x="3599" y="758"/>
                      </a:lnTo>
                      <a:lnTo>
                        <a:pt x="3591" y="758"/>
                      </a:lnTo>
                      <a:lnTo>
                        <a:pt x="3589" y="762"/>
                      </a:lnTo>
                      <a:lnTo>
                        <a:pt x="3581" y="767"/>
                      </a:lnTo>
                      <a:lnTo>
                        <a:pt x="3578" y="767"/>
                      </a:lnTo>
                      <a:lnTo>
                        <a:pt x="3574" y="770"/>
                      </a:lnTo>
                      <a:lnTo>
                        <a:pt x="3574" y="772"/>
                      </a:lnTo>
                      <a:lnTo>
                        <a:pt x="3572" y="772"/>
                      </a:lnTo>
                      <a:lnTo>
                        <a:pt x="3569" y="772"/>
                      </a:lnTo>
                      <a:lnTo>
                        <a:pt x="3569" y="775"/>
                      </a:lnTo>
                      <a:lnTo>
                        <a:pt x="3566" y="778"/>
                      </a:lnTo>
                      <a:lnTo>
                        <a:pt x="3566" y="780"/>
                      </a:lnTo>
                      <a:lnTo>
                        <a:pt x="3569" y="780"/>
                      </a:lnTo>
                      <a:lnTo>
                        <a:pt x="3561" y="783"/>
                      </a:lnTo>
                      <a:lnTo>
                        <a:pt x="3564" y="789"/>
                      </a:lnTo>
                      <a:lnTo>
                        <a:pt x="3561" y="791"/>
                      </a:lnTo>
                      <a:lnTo>
                        <a:pt x="3574" y="816"/>
                      </a:lnTo>
                      <a:lnTo>
                        <a:pt x="3578" y="824"/>
                      </a:lnTo>
                      <a:lnTo>
                        <a:pt x="3578" y="827"/>
                      </a:lnTo>
                      <a:lnTo>
                        <a:pt x="3578" y="830"/>
                      </a:lnTo>
                      <a:lnTo>
                        <a:pt x="3574" y="836"/>
                      </a:lnTo>
                      <a:lnTo>
                        <a:pt x="3574" y="841"/>
                      </a:lnTo>
                      <a:lnTo>
                        <a:pt x="3574" y="839"/>
                      </a:lnTo>
                      <a:lnTo>
                        <a:pt x="3572" y="841"/>
                      </a:lnTo>
                      <a:lnTo>
                        <a:pt x="3572" y="844"/>
                      </a:lnTo>
                      <a:lnTo>
                        <a:pt x="3566" y="844"/>
                      </a:lnTo>
                      <a:lnTo>
                        <a:pt x="3566" y="847"/>
                      </a:lnTo>
                      <a:lnTo>
                        <a:pt x="3569" y="850"/>
                      </a:lnTo>
                      <a:lnTo>
                        <a:pt x="3569" y="852"/>
                      </a:lnTo>
                      <a:lnTo>
                        <a:pt x="3572" y="855"/>
                      </a:lnTo>
                      <a:lnTo>
                        <a:pt x="3572" y="858"/>
                      </a:lnTo>
                      <a:lnTo>
                        <a:pt x="3578" y="905"/>
                      </a:lnTo>
                      <a:lnTo>
                        <a:pt x="3528" y="924"/>
                      </a:lnTo>
                      <a:lnTo>
                        <a:pt x="3514" y="929"/>
                      </a:lnTo>
                      <a:lnTo>
                        <a:pt x="3503" y="935"/>
                      </a:lnTo>
                      <a:lnTo>
                        <a:pt x="3492" y="935"/>
                      </a:lnTo>
                      <a:lnTo>
                        <a:pt x="3492" y="924"/>
                      </a:lnTo>
                      <a:lnTo>
                        <a:pt x="3492" y="921"/>
                      </a:lnTo>
                      <a:lnTo>
                        <a:pt x="3487" y="916"/>
                      </a:lnTo>
                      <a:lnTo>
                        <a:pt x="3484" y="916"/>
                      </a:lnTo>
                      <a:lnTo>
                        <a:pt x="3481" y="910"/>
                      </a:lnTo>
                      <a:lnTo>
                        <a:pt x="3478" y="910"/>
                      </a:lnTo>
                      <a:lnTo>
                        <a:pt x="3470" y="913"/>
                      </a:lnTo>
                      <a:lnTo>
                        <a:pt x="3467" y="910"/>
                      </a:lnTo>
                      <a:lnTo>
                        <a:pt x="3464" y="908"/>
                      </a:lnTo>
                      <a:lnTo>
                        <a:pt x="3459" y="913"/>
                      </a:lnTo>
                      <a:lnTo>
                        <a:pt x="3453" y="910"/>
                      </a:lnTo>
                      <a:lnTo>
                        <a:pt x="3451" y="916"/>
                      </a:lnTo>
                      <a:lnTo>
                        <a:pt x="3445" y="916"/>
                      </a:lnTo>
                      <a:lnTo>
                        <a:pt x="3440" y="913"/>
                      </a:lnTo>
                      <a:lnTo>
                        <a:pt x="3436" y="913"/>
                      </a:lnTo>
                      <a:lnTo>
                        <a:pt x="3431" y="913"/>
                      </a:lnTo>
                      <a:lnTo>
                        <a:pt x="3428" y="908"/>
                      </a:lnTo>
                      <a:lnTo>
                        <a:pt x="3420" y="910"/>
                      </a:lnTo>
                      <a:lnTo>
                        <a:pt x="3418" y="910"/>
                      </a:lnTo>
                      <a:lnTo>
                        <a:pt x="3415" y="916"/>
                      </a:lnTo>
                      <a:lnTo>
                        <a:pt x="3415" y="921"/>
                      </a:lnTo>
                      <a:lnTo>
                        <a:pt x="3415" y="927"/>
                      </a:lnTo>
                      <a:lnTo>
                        <a:pt x="3415" y="932"/>
                      </a:lnTo>
                      <a:lnTo>
                        <a:pt x="3412" y="941"/>
                      </a:lnTo>
                      <a:lnTo>
                        <a:pt x="3409" y="946"/>
                      </a:lnTo>
                      <a:lnTo>
                        <a:pt x="3407" y="946"/>
                      </a:lnTo>
                      <a:lnTo>
                        <a:pt x="3404" y="949"/>
                      </a:lnTo>
                      <a:lnTo>
                        <a:pt x="3407" y="954"/>
                      </a:lnTo>
                      <a:lnTo>
                        <a:pt x="3404" y="960"/>
                      </a:lnTo>
                      <a:lnTo>
                        <a:pt x="3407" y="960"/>
                      </a:lnTo>
                      <a:lnTo>
                        <a:pt x="3409" y="968"/>
                      </a:lnTo>
                      <a:lnTo>
                        <a:pt x="3407" y="970"/>
                      </a:lnTo>
                      <a:lnTo>
                        <a:pt x="3404" y="977"/>
                      </a:lnTo>
                      <a:lnTo>
                        <a:pt x="3404" y="982"/>
                      </a:lnTo>
                      <a:lnTo>
                        <a:pt x="3409" y="990"/>
                      </a:lnTo>
                      <a:lnTo>
                        <a:pt x="3409" y="998"/>
                      </a:lnTo>
                      <a:lnTo>
                        <a:pt x="3415" y="1001"/>
                      </a:lnTo>
                      <a:lnTo>
                        <a:pt x="3415" y="1004"/>
                      </a:lnTo>
                      <a:lnTo>
                        <a:pt x="3418" y="1001"/>
                      </a:lnTo>
                      <a:lnTo>
                        <a:pt x="3420" y="1001"/>
                      </a:lnTo>
                      <a:lnTo>
                        <a:pt x="3420" y="1007"/>
                      </a:lnTo>
                      <a:lnTo>
                        <a:pt x="3428" y="1010"/>
                      </a:lnTo>
                      <a:lnTo>
                        <a:pt x="3428" y="1013"/>
                      </a:lnTo>
                      <a:lnTo>
                        <a:pt x="3426" y="1018"/>
                      </a:lnTo>
                      <a:lnTo>
                        <a:pt x="3428" y="1021"/>
                      </a:lnTo>
                      <a:lnTo>
                        <a:pt x="3431" y="1026"/>
                      </a:lnTo>
                      <a:lnTo>
                        <a:pt x="3443" y="1031"/>
                      </a:lnTo>
                      <a:lnTo>
                        <a:pt x="3445" y="1037"/>
                      </a:lnTo>
                      <a:lnTo>
                        <a:pt x="3448" y="1039"/>
                      </a:lnTo>
                      <a:lnTo>
                        <a:pt x="3451" y="1039"/>
                      </a:lnTo>
                      <a:lnTo>
                        <a:pt x="3451" y="1034"/>
                      </a:lnTo>
                      <a:lnTo>
                        <a:pt x="3456" y="1037"/>
                      </a:lnTo>
                      <a:lnTo>
                        <a:pt x="3459" y="1039"/>
                      </a:lnTo>
                      <a:lnTo>
                        <a:pt x="3459" y="1043"/>
                      </a:lnTo>
                      <a:lnTo>
                        <a:pt x="3461" y="1048"/>
                      </a:lnTo>
                      <a:lnTo>
                        <a:pt x="3459" y="1048"/>
                      </a:lnTo>
                      <a:lnTo>
                        <a:pt x="3459" y="1051"/>
                      </a:lnTo>
                      <a:lnTo>
                        <a:pt x="3461" y="1054"/>
                      </a:lnTo>
                      <a:lnTo>
                        <a:pt x="3464" y="1054"/>
                      </a:lnTo>
                      <a:lnTo>
                        <a:pt x="3464" y="1056"/>
                      </a:lnTo>
                      <a:lnTo>
                        <a:pt x="3467" y="1056"/>
                      </a:lnTo>
                      <a:lnTo>
                        <a:pt x="3467" y="1059"/>
                      </a:lnTo>
                      <a:lnTo>
                        <a:pt x="3470" y="1059"/>
                      </a:lnTo>
                      <a:lnTo>
                        <a:pt x="3470" y="1065"/>
                      </a:lnTo>
                      <a:lnTo>
                        <a:pt x="3467" y="1073"/>
                      </a:lnTo>
                      <a:lnTo>
                        <a:pt x="3464" y="1073"/>
                      </a:lnTo>
                      <a:lnTo>
                        <a:pt x="3464" y="1076"/>
                      </a:lnTo>
                      <a:lnTo>
                        <a:pt x="3467" y="1082"/>
                      </a:lnTo>
                      <a:lnTo>
                        <a:pt x="3473" y="1084"/>
                      </a:lnTo>
                      <a:lnTo>
                        <a:pt x="3476" y="1084"/>
                      </a:lnTo>
                      <a:lnTo>
                        <a:pt x="3476" y="1087"/>
                      </a:lnTo>
                      <a:lnTo>
                        <a:pt x="3473" y="1092"/>
                      </a:lnTo>
                      <a:lnTo>
                        <a:pt x="3476" y="1095"/>
                      </a:lnTo>
                      <a:lnTo>
                        <a:pt x="3473" y="1098"/>
                      </a:lnTo>
                      <a:lnTo>
                        <a:pt x="3478" y="1100"/>
                      </a:lnTo>
                      <a:lnTo>
                        <a:pt x="3484" y="1106"/>
                      </a:lnTo>
                      <a:lnTo>
                        <a:pt x="3489" y="1108"/>
                      </a:lnTo>
                      <a:lnTo>
                        <a:pt x="3492" y="1106"/>
                      </a:lnTo>
                      <a:lnTo>
                        <a:pt x="3500" y="1115"/>
                      </a:lnTo>
                      <a:lnTo>
                        <a:pt x="3503" y="1112"/>
                      </a:lnTo>
                      <a:lnTo>
                        <a:pt x="3509" y="1115"/>
                      </a:lnTo>
                      <a:lnTo>
                        <a:pt x="3512" y="1115"/>
                      </a:lnTo>
                      <a:lnTo>
                        <a:pt x="3514" y="1115"/>
                      </a:lnTo>
                      <a:lnTo>
                        <a:pt x="3512" y="1117"/>
                      </a:lnTo>
                      <a:lnTo>
                        <a:pt x="3512" y="1120"/>
                      </a:lnTo>
                      <a:lnTo>
                        <a:pt x="3512" y="1123"/>
                      </a:lnTo>
                      <a:lnTo>
                        <a:pt x="3512" y="1125"/>
                      </a:lnTo>
                      <a:lnTo>
                        <a:pt x="3509" y="1128"/>
                      </a:lnTo>
                      <a:lnTo>
                        <a:pt x="3505" y="1128"/>
                      </a:lnTo>
                      <a:lnTo>
                        <a:pt x="3509" y="1134"/>
                      </a:lnTo>
                      <a:lnTo>
                        <a:pt x="3505" y="1134"/>
                      </a:lnTo>
                      <a:lnTo>
                        <a:pt x="3505" y="1136"/>
                      </a:lnTo>
                      <a:lnTo>
                        <a:pt x="3509" y="1136"/>
                      </a:lnTo>
                      <a:lnTo>
                        <a:pt x="3509" y="1139"/>
                      </a:lnTo>
                      <a:lnTo>
                        <a:pt x="3505" y="1142"/>
                      </a:lnTo>
                      <a:lnTo>
                        <a:pt x="3509" y="1144"/>
                      </a:lnTo>
                      <a:lnTo>
                        <a:pt x="3505" y="1148"/>
                      </a:lnTo>
                      <a:lnTo>
                        <a:pt x="3505" y="1151"/>
                      </a:lnTo>
                      <a:lnTo>
                        <a:pt x="3500" y="1153"/>
                      </a:lnTo>
                      <a:lnTo>
                        <a:pt x="3500" y="1159"/>
                      </a:lnTo>
                      <a:lnTo>
                        <a:pt x="3505" y="1167"/>
                      </a:lnTo>
                      <a:lnTo>
                        <a:pt x="3503" y="1167"/>
                      </a:lnTo>
                      <a:lnTo>
                        <a:pt x="3503" y="1169"/>
                      </a:lnTo>
                      <a:lnTo>
                        <a:pt x="3509" y="1172"/>
                      </a:lnTo>
                      <a:lnTo>
                        <a:pt x="3503" y="1172"/>
                      </a:lnTo>
                      <a:lnTo>
                        <a:pt x="3503" y="1175"/>
                      </a:lnTo>
                      <a:lnTo>
                        <a:pt x="3505" y="1177"/>
                      </a:lnTo>
                      <a:lnTo>
                        <a:pt x="3509" y="1175"/>
                      </a:lnTo>
                      <a:lnTo>
                        <a:pt x="3509" y="1177"/>
                      </a:lnTo>
                      <a:lnTo>
                        <a:pt x="3512" y="1186"/>
                      </a:lnTo>
                      <a:lnTo>
                        <a:pt x="3514" y="1189"/>
                      </a:lnTo>
                      <a:lnTo>
                        <a:pt x="3514" y="1192"/>
                      </a:lnTo>
                      <a:lnTo>
                        <a:pt x="3512" y="1194"/>
                      </a:lnTo>
                      <a:lnTo>
                        <a:pt x="3512" y="1197"/>
                      </a:lnTo>
                      <a:lnTo>
                        <a:pt x="3517" y="1197"/>
                      </a:lnTo>
                      <a:lnTo>
                        <a:pt x="3517" y="1203"/>
                      </a:lnTo>
                      <a:lnTo>
                        <a:pt x="3520" y="1200"/>
                      </a:lnTo>
                      <a:lnTo>
                        <a:pt x="3522" y="1200"/>
                      </a:lnTo>
                      <a:lnTo>
                        <a:pt x="3522" y="1203"/>
                      </a:lnTo>
                      <a:lnTo>
                        <a:pt x="3520" y="1203"/>
                      </a:lnTo>
                      <a:lnTo>
                        <a:pt x="3522" y="1205"/>
                      </a:lnTo>
                      <a:lnTo>
                        <a:pt x="3525" y="1208"/>
                      </a:lnTo>
                      <a:lnTo>
                        <a:pt x="3525" y="1211"/>
                      </a:lnTo>
                      <a:lnTo>
                        <a:pt x="3528" y="1211"/>
                      </a:lnTo>
                      <a:lnTo>
                        <a:pt x="3528" y="1205"/>
                      </a:lnTo>
                      <a:lnTo>
                        <a:pt x="3530" y="1205"/>
                      </a:lnTo>
                      <a:lnTo>
                        <a:pt x="3530" y="1203"/>
                      </a:lnTo>
                      <a:lnTo>
                        <a:pt x="3536" y="1203"/>
                      </a:lnTo>
                      <a:lnTo>
                        <a:pt x="3539" y="1205"/>
                      </a:lnTo>
                      <a:lnTo>
                        <a:pt x="3542" y="1205"/>
                      </a:lnTo>
                      <a:lnTo>
                        <a:pt x="3542" y="1211"/>
                      </a:lnTo>
                      <a:lnTo>
                        <a:pt x="3542" y="1213"/>
                      </a:lnTo>
                      <a:lnTo>
                        <a:pt x="3545" y="1217"/>
                      </a:lnTo>
                      <a:lnTo>
                        <a:pt x="3548" y="1213"/>
                      </a:lnTo>
                      <a:lnTo>
                        <a:pt x="3548" y="1217"/>
                      </a:lnTo>
                      <a:lnTo>
                        <a:pt x="3550" y="1211"/>
                      </a:lnTo>
                      <a:lnTo>
                        <a:pt x="3553" y="1211"/>
                      </a:lnTo>
                      <a:lnTo>
                        <a:pt x="3558" y="1213"/>
                      </a:lnTo>
                      <a:lnTo>
                        <a:pt x="3553" y="1213"/>
                      </a:lnTo>
                      <a:lnTo>
                        <a:pt x="3550" y="1213"/>
                      </a:lnTo>
                      <a:lnTo>
                        <a:pt x="3556" y="1217"/>
                      </a:lnTo>
                      <a:lnTo>
                        <a:pt x="3556" y="1220"/>
                      </a:lnTo>
                      <a:lnTo>
                        <a:pt x="3564" y="1217"/>
                      </a:lnTo>
                      <a:lnTo>
                        <a:pt x="3564" y="1220"/>
                      </a:lnTo>
                      <a:lnTo>
                        <a:pt x="3564" y="1222"/>
                      </a:lnTo>
                      <a:lnTo>
                        <a:pt x="3561" y="1222"/>
                      </a:lnTo>
                      <a:lnTo>
                        <a:pt x="3558" y="1222"/>
                      </a:lnTo>
                      <a:lnTo>
                        <a:pt x="3558" y="1225"/>
                      </a:lnTo>
                      <a:lnTo>
                        <a:pt x="3558" y="1228"/>
                      </a:lnTo>
                      <a:lnTo>
                        <a:pt x="3561" y="1230"/>
                      </a:lnTo>
                      <a:lnTo>
                        <a:pt x="3564" y="1230"/>
                      </a:lnTo>
                      <a:lnTo>
                        <a:pt x="3566" y="1236"/>
                      </a:lnTo>
                      <a:lnTo>
                        <a:pt x="3569" y="1236"/>
                      </a:lnTo>
                      <a:lnTo>
                        <a:pt x="3574" y="1238"/>
                      </a:lnTo>
                      <a:lnTo>
                        <a:pt x="3578" y="1238"/>
                      </a:lnTo>
                      <a:lnTo>
                        <a:pt x="3581" y="1241"/>
                      </a:lnTo>
                      <a:lnTo>
                        <a:pt x="3578" y="1244"/>
                      </a:lnTo>
                      <a:lnTo>
                        <a:pt x="3578" y="1249"/>
                      </a:lnTo>
                      <a:lnTo>
                        <a:pt x="3583" y="1253"/>
                      </a:lnTo>
                      <a:lnTo>
                        <a:pt x="3586" y="1249"/>
                      </a:lnTo>
                      <a:lnTo>
                        <a:pt x="3589" y="1253"/>
                      </a:lnTo>
                      <a:lnTo>
                        <a:pt x="3594" y="1253"/>
                      </a:lnTo>
                      <a:lnTo>
                        <a:pt x="3597" y="1255"/>
                      </a:lnTo>
                      <a:lnTo>
                        <a:pt x="3599" y="1253"/>
                      </a:lnTo>
                      <a:lnTo>
                        <a:pt x="3605" y="1258"/>
                      </a:lnTo>
                      <a:lnTo>
                        <a:pt x="3614" y="1258"/>
                      </a:lnTo>
                      <a:lnTo>
                        <a:pt x="3614" y="1263"/>
                      </a:lnTo>
                      <a:lnTo>
                        <a:pt x="3617" y="1263"/>
                      </a:lnTo>
                      <a:lnTo>
                        <a:pt x="3619" y="1263"/>
                      </a:lnTo>
                      <a:lnTo>
                        <a:pt x="3625" y="1261"/>
                      </a:lnTo>
                      <a:lnTo>
                        <a:pt x="3627" y="1261"/>
                      </a:lnTo>
                      <a:lnTo>
                        <a:pt x="3625" y="1269"/>
                      </a:lnTo>
                      <a:lnTo>
                        <a:pt x="3630" y="1269"/>
                      </a:lnTo>
                      <a:lnTo>
                        <a:pt x="3635" y="1272"/>
                      </a:lnTo>
                      <a:lnTo>
                        <a:pt x="3635" y="1269"/>
                      </a:lnTo>
                      <a:lnTo>
                        <a:pt x="3635" y="1266"/>
                      </a:lnTo>
                      <a:lnTo>
                        <a:pt x="3641" y="1261"/>
                      </a:lnTo>
                      <a:lnTo>
                        <a:pt x="3638" y="1255"/>
                      </a:lnTo>
                      <a:lnTo>
                        <a:pt x="3641" y="1255"/>
                      </a:lnTo>
                      <a:lnTo>
                        <a:pt x="3644" y="1255"/>
                      </a:lnTo>
                      <a:lnTo>
                        <a:pt x="3644" y="1249"/>
                      </a:lnTo>
                      <a:lnTo>
                        <a:pt x="3647" y="1253"/>
                      </a:lnTo>
                      <a:lnTo>
                        <a:pt x="3650" y="1249"/>
                      </a:lnTo>
                      <a:lnTo>
                        <a:pt x="3652" y="1249"/>
                      </a:lnTo>
                      <a:lnTo>
                        <a:pt x="3655" y="1255"/>
                      </a:lnTo>
                      <a:lnTo>
                        <a:pt x="3658" y="1258"/>
                      </a:lnTo>
                      <a:lnTo>
                        <a:pt x="3660" y="1258"/>
                      </a:lnTo>
                      <a:lnTo>
                        <a:pt x="3663" y="1258"/>
                      </a:lnTo>
                      <a:lnTo>
                        <a:pt x="3668" y="1255"/>
                      </a:lnTo>
                      <a:lnTo>
                        <a:pt x="3671" y="1255"/>
                      </a:lnTo>
                      <a:lnTo>
                        <a:pt x="3674" y="1255"/>
                      </a:lnTo>
                      <a:lnTo>
                        <a:pt x="3671" y="1261"/>
                      </a:lnTo>
                      <a:lnTo>
                        <a:pt x="3674" y="1263"/>
                      </a:lnTo>
                      <a:lnTo>
                        <a:pt x="3676" y="1263"/>
                      </a:lnTo>
                      <a:lnTo>
                        <a:pt x="3674" y="1261"/>
                      </a:lnTo>
                      <a:lnTo>
                        <a:pt x="3676" y="1261"/>
                      </a:lnTo>
                      <a:lnTo>
                        <a:pt x="3680" y="1261"/>
                      </a:lnTo>
                      <a:lnTo>
                        <a:pt x="3683" y="1263"/>
                      </a:lnTo>
                      <a:lnTo>
                        <a:pt x="3686" y="1263"/>
                      </a:lnTo>
                      <a:lnTo>
                        <a:pt x="3699" y="1263"/>
                      </a:lnTo>
                      <a:lnTo>
                        <a:pt x="3699" y="1258"/>
                      </a:lnTo>
                      <a:lnTo>
                        <a:pt x="3704" y="1253"/>
                      </a:lnTo>
                      <a:lnTo>
                        <a:pt x="3710" y="1253"/>
                      </a:lnTo>
                      <a:lnTo>
                        <a:pt x="3721" y="1253"/>
                      </a:lnTo>
                      <a:lnTo>
                        <a:pt x="3724" y="1253"/>
                      </a:lnTo>
                      <a:lnTo>
                        <a:pt x="3729" y="1249"/>
                      </a:lnTo>
                      <a:lnTo>
                        <a:pt x="3740" y="1241"/>
                      </a:lnTo>
                      <a:lnTo>
                        <a:pt x="3749" y="1233"/>
                      </a:lnTo>
                      <a:lnTo>
                        <a:pt x="3757" y="1225"/>
                      </a:lnTo>
                      <a:lnTo>
                        <a:pt x="3760" y="1225"/>
                      </a:lnTo>
                      <a:lnTo>
                        <a:pt x="3763" y="1220"/>
                      </a:lnTo>
                      <a:lnTo>
                        <a:pt x="3768" y="1220"/>
                      </a:lnTo>
                      <a:lnTo>
                        <a:pt x="3771" y="1220"/>
                      </a:lnTo>
                      <a:lnTo>
                        <a:pt x="3768" y="1220"/>
                      </a:lnTo>
                      <a:lnTo>
                        <a:pt x="3771" y="1222"/>
                      </a:lnTo>
                      <a:lnTo>
                        <a:pt x="3768" y="1228"/>
                      </a:lnTo>
                      <a:lnTo>
                        <a:pt x="3752" y="1244"/>
                      </a:lnTo>
                      <a:lnTo>
                        <a:pt x="3740" y="1261"/>
                      </a:lnTo>
                      <a:lnTo>
                        <a:pt x="3710" y="1324"/>
                      </a:lnTo>
                      <a:lnTo>
                        <a:pt x="3699" y="1343"/>
                      </a:lnTo>
                      <a:lnTo>
                        <a:pt x="3680" y="1391"/>
                      </a:lnTo>
                      <a:lnTo>
                        <a:pt x="3658" y="1437"/>
                      </a:lnTo>
                      <a:lnTo>
                        <a:pt x="3655" y="1451"/>
                      </a:lnTo>
                      <a:lnTo>
                        <a:pt x="3644" y="1468"/>
                      </a:lnTo>
                      <a:lnTo>
                        <a:pt x="3635" y="1481"/>
                      </a:lnTo>
                      <a:lnTo>
                        <a:pt x="3630" y="1489"/>
                      </a:lnTo>
                      <a:lnTo>
                        <a:pt x="3627" y="1498"/>
                      </a:lnTo>
                      <a:lnTo>
                        <a:pt x="3625" y="1504"/>
                      </a:lnTo>
                      <a:lnTo>
                        <a:pt x="3599" y="1545"/>
                      </a:lnTo>
                      <a:lnTo>
                        <a:pt x="3591" y="1556"/>
                      </a:lnTo>
                      <a:lnTo>
                        <a:pt x="3569" y="1586"/>
                      </a:lnTo>
                      <a:lnTo>
                        <a:pt x="3553" y="1611"/>
                      </a:lnTo>
                      <a:lnTo>
                        <a:pt x="3550" y="1614"/>
                      </a:lnTo>
                      <a:lnTo>
                        <a:pt x="3550" y="1617"/>
                      </a:lnTo>
                      <a:lnTo>
                        <a:pt x="3548" y="1622"/>
                      </a:lnTo>
                      <a:lnTo>
                        <a:pt x="3545" y="1622"/>
                      </a:lnTo>
                      <a:lnTo>
                        <a:pt x="3536" y="1636"/>
                      </a:lnTo>
                      <a:lnTo>
                        <a:pt x="3525" y="1650"/>
                      </a:lnTo>
                      <a:lnTo>
                        <a:pt x="3520" y="1658"/>
                      </a:lnTo>
                      <a:lnTo>
                        <a:pt x="3514" y="1669"/>
                      </a:lnTo>
                      <a:lnTo>
                        <a:pt x="3509" y="1680"/>
                      </a:lnTo>
                      <a:lnTo>
                        <a:pt x="3500" y="1694"/>
                      </a:lnTo>
                      <a:lnTo>
                        <a:pt x="3495" y="1696"/>
                      </a:lnTo>
                      <a:lnTo>
                        <a:pt x="3489" y="1702"/>
                      </a:lnTo>
                      <a:lnTo>
                        <a:pt x="3484" y="1708"/>
                      </a:lnTo>
                      <a:lnTo>
                        <a:pt x="3484" y="1716"/>
                      </a:lnTo>
                      <a:lnTo>
                        <a:pt x="3484" y="1719"/>
                      </a:lnTo>
                      <a:lnTo>
                        <a:pt x="3478" y="1719"/>
                      </a:lnTo>
                      <a:lnTo>
                        <a:pt x="3476" y="1724"/>
                      </a:lnTo>
                      <a:lnTo>
                        <a:pt x="3470" y="1727"/>
                      </a:lnTo>
                      <a:lnTo>
                        <a:pt x="3464" y="1735"/>
                      </a:lnTo>
                      <a:lnTo>
                        <a:pt x="3451" y="1749"/>
                      </a:lnTo>
                      <a:lnTo>
                        <a:pt x="3431" y="1777"/>
                      </a:lnTo>
                      <a:lnTo>
                        <a:pt x="3423" y="1782"/>
                      </a:lnTo>
                      <a:lnTo>
                        <a:pt x="3415" y="1793"/>
                      </a:lnTo>
                      <a:lnTo>
                        <a:pt x="3407" y="1801"/>
                      </a:lnTo>
                      <a:lnTo>
                        <a:pt x="3400" y="1810"/>
                      </a:lnTo>
                      <a:lnTo>
                        <a:pt x="3395" y="1818"/>
                      </a:lnTo>
                      <a:lnTo>
                        <a:pt x="3390" y="1818"/>
                      </a:lnTo>
                      <a:lnTo>
                        <a:pt x="3382" y="1826"/>
                      </a:lnTo>
                      <a:lnTo>
                        <a:pt x="3374" y="1840"/>
                      </a:lnTo>
                      <a:lnTo>
                        <a:pt x="3362" y="1851"/>
                      </a:lnTo>
                      <a:lnTo>
                        <a:pt x="3357" y="1851"/>
                      </a:lnTo>
                      <a:lnTo>
                        <a:pt x="3354" y="1851"/>
                      </a:lnTo>
                      <a:lnTo>
                        <a:pt x="3349" y="1851"/>
                      </a:lnTo>
                      <a:lnTo>
                        <a:pt x="3343" y="1854"/>
                      </a:lnTo>
                      <a:lnTo>
                        <a:pt x="3329" y="1862"/>
                      </a:lnTo>
                      <a:lnTo>
                        <a:pt x="3318" y="1873"/>
                      </a:lnTo>
                      <a:lnTo>
                        <a:pt x="3310" y="1875"/>
                      </a:lnTo>
                      <a:lnTo>
                        <a:pt x="3305" y="1875"/>
                      </a:lnTo>
                      <a:lnTo>
                        <a:pt x="3298" y="1873"/>
                      </a:lnTo>
                      <a:lnTo>
                        <a:pt x="3298" y="1875"/>
                      </a:lnTo>
                      <a:lnTo>
                        <a:pt x="3285" y="1873"/>
                      </a:lnTo>
                      <a:lnTo>
                        <a:pt x="3266" y="1870"/>
                      </a:lnTo>
                      <a:lnTo>
                        <a:pt x="3274" y="1851"/>
                      </a:lnTo>
                      <a:lnTo>
                        <a:pt x="3277" y="1842"/>
                      </a:lnTo>
                      <a:lnTo>
                        <a:pt x="3274" y="1837"/>
                      </a:lnTo>
                      <a:lnTo>
                        <a:pt x="3252" y="1842"/>
                      </a:lnTo>
                      <a:lnTo>
                        <a:pt x="3257" y="1854"/>
                      </a:lnTo>
                      <a:lnTo>
                        <a:pt x="3252" y="1862"/>
                      </a:lnTo>
                      <a:lnTo>
                        <a:pt x="3252" y="1865"/>
                      </a:lnTo>
                      <a:lnTo>
                        <a:pt x="3249" y="1865"/>
                      </a:lnTo>
                      <a:lnTo>
                        <a:pt x="3244" y="1873"/>
                      </a:lnTo>
                      <a:lnTo>
                        <a:pt x="3241" y="1875"/>
                      </a:lnTo>
                      <a:lnTo>
                        <a:pt x="3236" y="1884"/>
                      </a:lnTo>
                      <a:lnTo>
                        <a:pt x="3233" y="1887"/>
                      </a:lnTo>
                      <a:lnTo>
                        <a:pt x="3229" y="1887"/>
                      </a:lnTo>
                      <a:lnTo>
                        <a:pt x="3219" y="1895"/>
                      </a:lnTo>
                      <a:lnTo>
                        <a:pt x="3213" y="1895"/>
                      </a:lnTo>
                      <a:lnTo>
                        <a:pt x="3208" y="1901"/>
                      </a:lnTo>
                      <a:lnTo>
                        <a:pt x="3205" y="1906"/>
                      </a:lnTo>
                      <a:lnTo>
                        <a:pt x="3203" y="1909"/>
                      </a:lnTo>
                      <a:lnTo>
                        <a:pt x="3200" y="1909"/>
                      </a:lnTo>
                      <a:lnTo>
                        <a:pt x="3196" y="1911"/>
                      </a:lnTo>
                      <a:lnTo>
                        <a:pt x="3191" y="1920"/>
                      </a:lnTo>
                      <a:lnTo>
                        <a:pt x="3191" y="1923"/>
                      </a:lnTo>
                      <a:lnTo>
                        <a:pt x="3183" y="1926"/>
                      </a:lnTo>
                      <a:lnTo>
                        <a:pt x="3177" y="1928"/>
                      </a:lnTo>
                      <a:lnTo>
                        <a:pt x="3180" y="1928"/>
                      </a:lnTo>
                      <a:lnTo>
                        <a:pt x="3175" y="1931"/>
                      </a:lnTo>
                      <a:lnTo>
                        <a:pt x="3169" y="1934"/>
                      </a:lnTo>
                      <a:lnTo>
                        <a:pt x="3158" y="1939"/>
                      </a:lnTo>
                      <a:lnTo>
                        <a:pt x="3152" y="1942"/>
                      </a:lnTo>
                      <a:lnTo>
                        <a:pt x="3150" y="1947"/>
                      </a:lnTo>
                      <a:lnTo>
                        <a:pt x="3142" y="1951"/>
                      </a:lnTo>
                      <a:lnTo>
                        <a:pt x="3134" y="1956"/>
                      </a:lnTo>
                      <a:lnTo>
                        <a:pt x="3134" y="1959"/>
                      </a:lnTo>
                      <a:lnTo>
                        <a:pt x="3127" y="1959"/>
                      </a:lnTo>
                      <a:lnTo>
                        <a:pt x="3122" y="1962"/>
                      </a:lnTo>
                      <a:lnTo>
                        <a:pt x="3116" y="1970"/>
                      </a:lnTo>
                      <a:lnTo>
                        <a:pt x="3111" y="1989"/>
                      </a:lnTo>
                      <a:lnTo>
                        <a:pt x="3111" y="1992"/>
                      </a:lnTo>
                      <a:lnTo>
                        <a:pt x="3108" y="2013"/>
                      </a:lnTo>
                      <a:lnTo>
                        <a:pt x="3111" y="2025"/>
                      </a:lnTo>
                      <a:lnTo>
                        <a:pt x="3116" y="2033"/>
                      </a:lnTo>
                      <a:lnTo>
                        <a:pt x="3119" y="2036"/>
                      </a:lnTo>
                      <a:lnTo>
                        <a:pt x="3131" y="2028"/>
                      </a:lnTo>
                      <a:lnTo>
                        <a:pt x="3134" y="2031"/>
                      </a:lnTo>
                      <a:lnTo>
                        <a:pt x="3136" y="2036"/>
                      </a:lnTo>
                      <a:lnTo>
                        <a:pt x="3134" y="2039"/>
                      </a:lnTo>
                      <a:lnTo>
                        <a:pt x="3136" y="2039"/>
                      </a:lnTo>
                      <a:lnTo>
                        <a:pt x="3136" y="2044"/>
                      </a:lnTo>
                      <a:lnTo>
                        <a:pt x="3136" y="2049"/>
                      </a:lnTo>
                      <a:lnTo>
                        <a:pt x="3139" y="2053"/>
                      </a:lnTo>
                      <a:lnTo>
                        <a:pt x="3142" y="2058"/>
                      </a:lnTo>
                      <a:lnTo>
                        <a:pt x="3139" y="2061"/>
                      </a:lnTo>
                      <a:lnTo>
                        <a:pt x="3142" y="2064"/>
                      </a:lnTo>
                      <a:lnTo>
                        <a:pt x="3136" y="2072"/>
                      </a:lnTo>
                      <a:lnTo>
                        <a:pt x="3131" y="2069"/>
                      </a:lnTo>
                      <a:lnTo>
                        <a:pt x="3131" y="2074"/>
                      </a:lnTo>
                      <a:lnTo>
                        <a:pt x="3134" y="2074"/>
                      </a:lnTo>
                      <a:lnTo>
                        <a:pt x="3136" y="2074"/>
                      </a:lnTo>
                      <a:lnTo>
                        <a:pt x="3134" y="2077"/>
                      </a:lnTo>
                      <a:lnTo>
                        <a:pt x="3134" y="2080"/>
                      </a:lnTo>
                      <a:lnTo>
                        <a:pt x="3125" y="2085"/>
                      </a:lnTo>
                      <a:lnTo>
                        <a:pt x="3125" y="2091"/>
                      </a:lnTo>
                      <a:lnTo>
                        <a:pt x="3122" y="2105"/>
                      </a:lnTo>
                      <a:lnTo>
                        <a:pt x="3122" y="2110"/>
                      </a:lnTo>
                      <a:lnTo>
                        <a:pt x="3125" y="2113"/>
                      </a:lnTo>
                      <a:lnTo>
                        <a:pt x="3131" y="2113"/>
                      </a:lnTo>
                      <a:lnTo>
                        <a:pt x="3131" y="2116"/>
                      </a:lnTo>
                      <a:lnTo>
                        <a:pt x="3131" y="2118"/>
                      </a:lnTo>
                      <a:lnTo>
                        <a:pt x="3136" y="2121"/>
                      </a:lnTo>
                      <a:lnTo>
                        <a:pt x="3134" y="2125"/>
                      </a:lnTo>
                      <a:lnTo>
                        <a:pt x="3134" y="2133"/>
                      </a:lnTo>
                      <a:lnTo>
                        <a:pt x="3139" y="2133"/>
                      </a:lnTo>
                      <a:lnTo>
                        <a:pt x="3142" y="2130"/>
                      </a:lnTo>
                      <a:lnTo>
                        <a:pt x="3142" y="2133"/>
                      </a:lnTo>
                      <a:lnTo>
                        <a:pt x="3142" y="2141"/>
                      </a:lnTo>
                      <a:lnTo>
                        <a:pt x="3139" y="2146"/>
                      </a:lnTo>
                      <a:lnTo>
                        <a:pt x="3131" y="2154"/>
                      </a:lnTo>
                      <a:lnTo>
                        <a:pt x="3131" y="2151"/>
                      </a:lnTo>
                      <a:lnTo>
                        <a:pt x="3127" y="2146"/>
                      </a:lnTo>
                      <a:lnTo>
                        <a:pt x="3122" y="2146"/>
                      </a:lnTo>
                      <a:lnTo>
                        <a:pt x="3116" y="2151"/>
                      </a:lnTo>
                      <a:lnTo>
                        <a:pt x="3108" y="2151"/>
                      </a:lnTo>
                      <a:lnTo>
                        <a:pt x="3111" y="2154"/>
                      </a:lnTo>
                      <a:lnTo>
                        <a:pt x="3111" y="2160"/>
                      </a:lnTo>
                      <a:lnTo>
                        <a:pt x="3108" y="2163"/>
                      </a:lnTo>
                      <a:lnTo>
                        <a:pt x="3100" y="2171"/>
                      </a:lnTo>
                      <a:lnTo>
                        <a:pt x="3098" y="2182"/>
                      </a:lnTo>
                      <a:lnTo>
                        <a:pt x="3098" y="2199"/>
                      </a:lnTo>
                      <a:lnTo>
                        <a:pt x="3103" y="2215"/>
                      </a:lnTo>
                      <a:lnTo>
                        <a:pt x="3108" y="2223"/>
                      </a:lnTo>
                      <a:lnTo>
                        <a:pt x="3116" y="2238"/>
                      </a:lnTo>
                      <a:lnTo>
                        <a:pt x="3116" y="2240"/>
                      </a:lnTo>
                      <a:lnTo>
                        <a:pt x="3122" y="2243"/>
                      </a:lnTo>
                      <a:lnTo>
                        <a:pt x="3125" y="2251"/>
                      </a:lnTo>
                      <a:lnTo>
                        <a:pt x="3125" y="2263"/>
                      </a:lnTo>
                      <a:lnTo>
                        <a:pt x="3125" y="2265"/>
                      </a:lnTo>
                      <a:lnTo>
                        <a:pt x="3119" y="2289"/>
                      </a:lnTo>
                      <a:lnTo>
                        <a:pt x="3119" y="2295"/>
                      </a:lnTo>
                      <a:lnTo>
                        <a:pt x="3116" y="2309"/>
                      </a:lnTo>
                      <a:lnTo>
                        <a:pt x="3114" y="2317"/>
                      </a:lnTo>
                      <a:lnTo>
                        <a:pt x="3114" y="2323"/>
                      </a:lnTo>
                      <a:lnTo>
                        <a:pt x="3106" y="2348"/>
                      </a:lnTo>
                      <a:lnTo>
                        <a:pt x="3103" y="2361"/>
                      </a:lnTo>
                      <a:lnTo>
                        <a:pt x="3100" y="2370"/>
                      </a:lnTo>
                      <a:lnTo>
                        <a:pt x="3100" y="2378"/>
                      </a:lnTo>
                      <a:lnTo>
                        <a:pt x="3100" y="2381"/>
                      </a:lnTo>
                      <a:lnTo>
                        <a:pt x="3098" y="2397"/>
                      </a:lnTo>
                      <a:lnTo>
                        <a:pt x="3100" y="2406"/>
                      </a:lnTo>
                      <a:lnTo>
                        <a:pt x="3100" y="2403"/>
                      </a:lnTo>
                      <a:lnTo>
                        <a:pt x="3103" y="2406"/>
                      </a:lnTo>
                      <a:lnTo>
                        <a:pt x="3103" y="2411"/>
                      </a:lnTo>
                      <a:lnTo>
                        <a:pt x="3103" y="2414"/>
                      </a:lnTo>
                      <a:lnTo>
                        <a:pt x="3103" y="2417"/>
                      </a:lnTo>
                      <a:lnTo>
                        <a:pt x="3100" y="2419"/>
                      </a:lnTo>
                      <a:lnTo>
                        <a:pt x="3100" y="2422"/>
                      </a:lnTo>
                      <a:lnTo>
                        <a:pt x="3095" y="2433"/>
                      </a:lnTo>
                      <a:lnTo>
                        <a:pt x="3095" y="2445"/>
                      </a:lnTo>
                      <a:lnTo>
                        <a:pt x="3089" y="2466"/>
                      </a:lnTo>
                      <a:lnTo>
                        <a:pt x="3086" y="2488"/>
                      </a:lnTo>
                      <a:lnTo>
                        <a:pt x="3081" y="2499"/>
                      </a:lnTo>
                      <a:lnTo>
                        <a:pt x="3081" y="2513"/>
                      </a:lnTo>
                      <a:lnTo>
                        <a:pt x="3078" y="2524"/>
                      </a:lnTo>
                      <a:lnTo>
                        <a:pt x="3075" y="2530"/>
                      </a:lnTo>
                      <a:lnTo>
                        <a:pt x="3070" y="2557"/>
                      </a:lnTo>
                      <a:lnTo>
                        <a:pt x="3070" y="2573"/>
                      </a:lnTo>
                      <a:lnTo>
                        <a:pt x="3070" y="2585"/>
                      </a:lnTo>
                      <a:lnTo>
                        <a:pt x="3070" y="2604"/>
                      </a:lnTo>
                      <a:lnTo>
                        <a:pt x="3075" y="2616"/>
                      </a:lnTo>
                      <a:lnTo>
                        <a:pt x="3081" y="2618"/>
                      </a:lnTo>
                      <a:lnTo>
                        <a:pt x="3083" y="2618"/>
                      </a:lnTo>
                      <a:lnTo>
                        <a:pt x="3086" y="2613"/>
                      </a:lnTo>
                      <a:lnTo>
                        <a:pt x="3086" y="2618"/>
                      </a:lnTo>
                      <a:lnTo>
                        <a:pt x="3083" y="2618"/>
                      </a:lnTo>
                      <a:lnTo>
                        <a:pt x="3083" y="2626"/>
                      </a:lnTo>
                      <a:lnTo>
                        <a:pt x="3081" y="2629"/>
                      </a:lnTo>
                      <a:lnTo>
                        <a:pt x="3083" y="2629"/>
                      </a:lnTo>
                      <a:lnTo>
                        <a:pt x="3083" y="2626"/>
                      </a:lnTo>
                      <a:lnTo>
                        <a:pt x="3086" y="2626"/>
                      </a:lnTo>
                      <a:lnTo>
                        <a:pt x="3086" y="2642"/>
                      </a:lnTo>
                      <a:lnTo>
                        <a:pt x="3086" y="2660"/>
                      </a:lnTo>
                      <a:lnTo>
                        <a:pt x="3089" y="2676"/>
                      </a:lnTo>
                      <a:lnTo>
                        <a:pt x="3091" y="2685"/>
                      </a:lnTo>
                      <a:lnTo>
                        <a:pt x="3091" y="2690"/>
                      </a:lnTo>
                      <a:lnTo>
                        <a:pt x="3098" y="2706"/>
                      </a:lnTo>
                      <a:lnTo>
                        <a:pt x="3098" y="2747"/>
                      </a:lnTo>
                      <a:lnTo>
                        <a:pt x="3098" y="2795"/>
                      </a:lnTo>
                      <a:lnTo>
                        <a:pt x="3098" y="2806"/>
                      </a:lnTo>
                      <a:lnTo>
                        <a:pt x="3098" y="2814"/>
                      </a:lnTo>
                      <a:lnTo>
                        <a:pt x="3100" y="2831"/>
                      </a:lnTo>
                      <a:lnTo>
                        <a:pt x="3098" y="2833"/>
                      </a:lnTo>
                      <a:lnTo>
                        <a:pt x="3100" y="2836"/>
                      </a:lnTo>
                      <a:lnTo>
                        <a:pt x="3106" y="2872"/>
                      </a:lnTo>
                      <a:lnTo>
                        <a:pt x="3114" y="2902"/>
                      </a:lnTo>
                      <a:lnTo>
                        <a:pt x="3114" y="2905"/>
                      </a:lnTo>
                      <a:lnTo>
                        <a:pt x="3116" y="2908"/>
                      </a:lnTo>
                      <a:lnTo>
                        <a:pt x="3119" y="2930"/>
                      </a:lnTo>
                      <a:lnTo>
                        <a:pt x="3119" y="2957"/>
                      </a:lnTo>
                      <a:lnTo>
                        <a:pt x="3122" y="2985"/>
                      </a:lnTo>
                      <a:lnTo>
                        <a:pt x="3127" y="3007"/>
                      </a:lnTo>
                      <a:lnTo>
                        <a:pt x="3131" y="3007"/>
                      </a:lnTo>
                      <a:lnTo>
                        <a:pt x="3136" y="3026"/>
                      </a:lnTo>
                      <a:lnTo>
                        <a:pt x="3136" y="3029"/>
                      </a:lnTo>
                      <a:lnTo>
                        <a:pt x="3139" y="3032"/>
                      </a:lnTo>
                      <a:lnTo>
                        <a:pt x="3150" y="3054"/>
                      </a:lnTo>
                      <a:lnTo>
                        <a:pt x="3152" y="3056"/>
                      </a:lnTo>
                      <a:lnTo>
                        <a:pt x="3152" y="3059"/>
                      </a:lnTo>
                      <a:lnTo>
                        <a:pt x="3150" y="3062"/>
                      </a:lnTo>
                      <a:lnTo>
                        <a:pt x="3150" y="3065"/>
                      </a:lnTo>
                      <a:lnTo>
                        <a:pt x="3155" y="3068"/>
                      </a:lnTo>
                      <a:lnTo>
                        <a:pt x="3155" y="3071"/>
                      </a:lnTo>
                      <a:lnTo>
                        <a:pt x="3152" y="3074"/>
                      </a:lnTo>
                      <a:lnTo>
                        <a:pt x="3150" y="3079"/>
                      </a:lnTo>
                      <a:lnTo>
                        <a:pt x="3142" y="3092"/>
                      </a:lnTo>
                      <a:lnTo>
                        <a:pt x="3131" y="3131"/>
                      </a:lnTo>
                      <a:lnTo>
                        <a:pt x="3122" y="3151"/>
                      </a:lnTo>
                      <a:lnTo>
                        <a:pt x="3116" y="3167"/>
                      </a:lnTo>
                      <a:lnTo>
                        <a:pt x="3114" y="3170"/>
                      </a:lnTo>
                      <a:lnTo>
                        <a:pt x="3114" y="3181"/>
                      </a:lnTo>
                      <a:lnTo>
                        <a:pt x="3114" y="3186"/>
                      </a:lnTo>
                      <a:lnTo>
                        <a:pt x="3116" y="3194"/>
                      </a:lnTo>
                      <a:lnTo>
                        <a:pt x="3114" y="3197"/>
                      </a:lnTo>
                      <a:lnTo>
                        <a:pt x="3111" y="3206"/>
                      </a:lnTo>
                      <a:lnTo>
                        <a:pt x="3108" y="3209"/>
                      </a:lnTo>
                      <a:lnTo>
                        <a:pt x="3106" y="3217"/>
                      </a:lnTo>
                      <a:lnTo>
                        <a:pt x="3100" y="3220"/>
                      </a:lnTo>
                      <a:lnTo>
                        <a:pt x="3091" y="3230"/>
                      </a:lnTo>
                      <a:lnTo>
                        <a:pt x="3091" y="3233"/>
                      </a:lnTo>
                      <a:lnTo>
                        <a:pt x="3089" y="3233"/>
                      </a:lnTo>
                      <a:lnTo>
                        <a:pt x="3086" y="3245"/>
                      </a:lnTo>
                      <a:lnTo>
                        <a:pt x="3086" y="3247"/>
                      </a:lnTo>
                      <a:lnTo>
                        <a:pt x="3091" y="3238"/>
                      </a:lnTo>
                      <a:lnTo>
                        <a:pt x="3086" y="3253"/>
                      </a:lnTo>
                      <a:lnTo>
                        <a:pt x="3089" y="3263"/>
                      </a:lnTo>
                      <a:lnTo>
                        <a:pt x="3091" y="3266"/>
                      </a:lnTo>
                      <a:lnTo>
                        <a:pt x="3095" y="3266"/>
                      </a:lnTo>
                      <a:lnTo>
                        <a:pt x="3095" y="3269"/>
                      </a:lnTo>
                      <a:lnTo>
                        <a:pt x="3091" y="3275"/>
                      </a:lnTo>
                      <a:lnTo>
                        <a:pt x="3091" y="3286"/>
                      </a:lnTo>
                      <a:lnTo>
                        <a:pt x="3086" y="3289"/>
                      </a:lnTo>
                      <a:lnTo>
                        <a:pt x="3081" y="3294"/>
                      </a:lnTo>
                      <a:lnTo>
                        <a:pt x="3073" y="3307"/>
                      </a:lnTo>
                      <a:lnTo>
                        <a:pt x="3073" y="3316"/>
                      </a:lnTo>
                      <a:lnTo>
                        <a:pt x="3070" y="3319"/>
                      </a:lnTo>
                      <a:lnTo>
                        <a:pt x="3070" y="3322"/>
                      </a:lnTo>
                      <a:lnTo>
                        <a:pt x="3073" y="3319"/>
                      </a:lnTo>
                      <a:lnTo>
                        <a:pt x="3073" y="3322"/>
                      </a:lnTo>
                      <a:lnTo>
                        <a:pt x="3073" y="3327"/>
                      </a:lnTo>
                      <a:lnTo>
                        <a:pt x="3070" y="3330"/>
                      </a:lnTo>
                      <a:lnTo>
                        <a:pt x="3070" y="3335"/>
                      </a:lnTo>
                      <a:lnTo>
                        <a:pt x="3062" y="3352"/>
                      </a:lnTo>
                      <a:lnTo>
                        <a:pt x="3062" y="3363"/>
                      </a:lnTo>
                      <a:lnTo>
                        <a:pt x="3058" y="3376"/>
                      </a:lnTo>
                      <a:lnTo>
                        <a:pt x="3058" y="3383"/>
                      </a:lnTo>
                      <a:lnTo>
                        <a:pt x="3058" y="3391"/>
                      </a:lnTo>
                      <a:lnTo>
                        <a:pt x="3056" y="3399"/>
                      </a:lnTo>
                      <a:lnTo>
                        <a:pt x="3058" y="3401"/>
                      </a:lnTo>
                      <a:lnTo>
                        <a:pt x="3053" y="3407"/>
                      </a:lnTo>
                      <a:lnTo>
                        <a:pt x="3053" y="3419"/>
                      </a:lnTo>
                      <a:lnTo>
                        <a:pt x="3053" y="3427"/>
                      </a:lnTo>
                      <a:lnTo>
                        <a:pt x="3050" y="3427"/>
                      </a:lnTo>
                      <a:lnTo>
                        <a:pt x="3047" y="3429"/>
                      </a:lnTo>
                      <a:lnTo>
                        <a:pt x="3045" y="3435"/>
                      </a:lnTo>
                      <a:lnTo>
                        <a:pt x="3045" y="3440"/>
                      </a:lnTo>
                      <a:lnTo>
                        <a:pt x="3042" y="3443"/>
                      </a:lnTo>
                      <a:lnTo>
                        <a:pt x="3039" y="3443"/>
                      </a:lnTo>
                      <a:lnTo>
                        <a:pt x="3039" y="3445"/>
                      </a:lnTo>
                      <a:lnTo>
                        <a:pt x="3037" y="3462"/>
                      </a:lnTo>
                      <a:lnTo>
                        <a:pt x="3039" y="3490"/>
                      </a:lnTo>
                      <a:lnTo>
                        <a:pt x="3045" y="3498"/>
                      </a:lnTo>
                      <a:lnTo>
                        <a:pt x="3050" y="3504"/>
                      </a:lnTo>
                      <a:lnTo>
                        <a:pt x="3045" y="3506"/>
                      </a:lnTo>
                      <a:lnTo>
                        <a:pt x="3034" y="3523"/>
                      </a:lnTo>
                      <a:lnTo>
                        <a:pt x="3034" y="3539"/>
                      </a:lnTo>
                      <a:lnTo>
                        <a:pt x="3026" y="3554"/>
                      </a:lnTo>
                      <a:lnTo>
                        <a:pt x="3026" y="3570"/>
                      </a:lnTo>
                      <a:lnTo>
                        <a:pt x="3029" y="3573"/>
                      </a:lnTo>
                      <a:lnTo>
                        <a:pt x="3026" y="3575"/>
                      </a:lnTo>
                      <a:lnTo>
                        <a:pt x="3022" y="3581"/>
                      </a:lnTo>
                      <a:lnTo>
                        <a:pt x="3022" y="3592"/>
                      </a:lnTo>
                      <a:lnTo>
                        <a:pt x="3020" y="3598"/>
                      </a:lnTo>
                      <a:lnTo>
                        <a:pt x="3014" y="3600"/>
                      </a:lnTo>
                      <a:lnTo>
                        <a:pt x="3012" y="3606"/>
                      </a:lnTo>
                      <a:lnTo>
                        <a:pt x="3009" y="3617"/>
                      </a:lnTo>
                      <a:lnTo>
                        <a:pt x="3009" y="3647"/>
                      </a:lnTo>
                      <a:lnTo>
                        <a:pt x="3009" y="3652"/>
                      </a:lnTo>
                      <a:lnTo>
                        <a:pt x="3006" y="3667"/>
                      </a:lnTo>
                      <a:lnTo>
                        <a:pt x="3009" y="3688"/>
                      </a:lnTo>
                      <a:lnTo>
                        <a:pt x="3009" y="3697"/>
                      </a:lnTo>
                      <a:lnTo>
                        <a:pt x="3012" y="3716"/>
                      </a:lnTo>
                      <a:lnTo>
                        <a:pt x="3017" y="3736"/>
                      </a:lnTo>
                      <a:lnTo>
                        <a:pt x="3017" y="3764"/>
                      </a:lnTo>
                      <a:lnTo>
                        <a:pt x="3020" y="3782"/>
                      </a:lnTo>
                      <a:lnTo>
                        <a:pt x="3017" y="3785"/>
                      </a:lnTo>
                      <a:lnTo>
                        <a:pt x="3017" y="3790"/>
                      </a:lnTo>
                      <a:lnTo>
                        <a:pt x="3020" y="3807"/>
                      </a:lnTo>
                      <a:lnTo>
                        <a:pt x="3039" y="3835"/>
                      </a:lnTo>
                      <a:lnTo>
                        <a:pt x="3042" y="3835"/>
                      </a:lnTo>
                      <a:lnTo>
                        <a:pt x="3039" y="3838"/>
                      </a:lnTo>
                      <a:lnTo>
                        <a:pt x="3020" y="3854"/>
                      </a:lnTo>
                      <a:lnTo>
                        <a:pt x="3022" y="3862"/>
                      </a:lnTo>
                      <a:lnTo>
                        <a:pt x="3014" y="3868"/>
                      </a:lnTo>
                      <a:lnTo>
                        <a:pt x="3012" y="3874"/>
                      </a:lnTo>
                      <a:lnTo>
                        <a:pt x="2989" y="3895"/>
                      </a:lnTo>
                      <a:lnTo>
                        <a:pt x="2987" y="3901"/>
                      </a:lnTo>
                      <a:lnTo>
                        <a:pt x="2987" y="3907"/>
                      </a:lnTo>
                      <a:lnTo>
                        <a:pt x="2989" y="3910"/>
                      </a:lnTo>
                      <a:lnTo>
                        <a:pt x="2987" y="3912"/>
                      </a:lnTo>
                      <a:lnTo>
                        <a:pt x="2965" y="3923"/>
                      </a:lnTo>
                      <a:lnTo>
                        <a:pt x="2960" y="3923"/>
                      </a:lnTo>
                      <a:lnTo>
                        <a:pt x="2957" y="3920"/>
                      </a:lnTo>
                      <a:lnTo>
                        <a:pt x="2951" y="3923"/>
                      </a:lnTo>
                      <a:lnTo>
                        <a:pt x="2945" y="3928"/>
                      </a:lnTo>
                      <a:lnTo>
                        <a:pt x="2943" y="3928"/>
                      </a:lnTo>
                      <a:lnTo>
                        <a:pt x="2935" y="3931"/>
                      </a:lnTo>
                      <a:lnTo>
                        <a:pt x="2915" y="3943"/>
                      </a:lnTo>
                      <a:lnTo>
                        <a:pt x="2904" y="3953"/>
                      </a:lnTo>
                      <a:lnTo>
                        <a:pt x="2896" y="3964"/>
                      </a:lnTo>
                      <a:lnTo>
                        <a:pt x="2884" y="3984"/>
                      </a:lnTo>
                      <a:lnTo>
                        <a:pt x="2874" y="4005"/>
                      </a:lnTo>
                      <a:lnTo>
                        <a:pt x="2871" y="4003"/>
                      </a:lnTo>
                      <a:lnTo>
                        <a:pt x="2868" y="4003"/>
                      </a:lnTo>
                      <a:lnTo>
                        <a:pt x="2863" y="4003"/>
                      </a:lnTo>
                      <a:lnTo>
                        <a:pt x="2863" y="4000"/>
                      </a:lnTo>
                      <a:lnTo>
                        <a:pt x="2860" y="4000"/>
                      </a:lnTo>
                      <a:lnTo>
                        <a:pt x="2863" y="4005"/>
                      </a:lnTo>
                      <a:lnTo>
                        <a:pt x="2868" y="4003"/>
                      </a:lnTo>
                      <a:lnTo>
                        <a:pt x="2866" y="4005"/>
                      </a:lnTo>
                      <a:lnTo>
                        <a:pt x="2868" y="4012"/>
                      </a:lnTo>
                      <a:lnTo>
                        <a:pt x="2871" y="4009"/>
                      </a:lnTo>
                      <a:lnTo>
                        <a:pt x="2858" y="4028"/>
                      </a:lnTo>
                      <a:lnTo>
                        <a:pt x="2838" y="4064"/>
                      </a:lnTo>
                      <a:lnTo>
                        <a:pt x="2838" y="4069"/>
                      </a:lnTo>
                      <a:lnTo>
                        <a:pt x="2830" y="4086"/>
                      </a:lnTo>
                      <a:lnTo>
                        <a:pt x="2830" y="4089"/>
                      </a:lnTo>
                      <a:lnTo>
                        <a:pt x="2827" y="4100"/>
                      </a:lnTo>
                      <a:lnTo>
                        <a:pt x="2830" y="4102"/>
                      </a:lnTo>
                      <a:lnTo>
                        <a:pt x="2824" y="4114"/>
                      </a:lnTo>
                      <a:lnTo>
                        <a:pt x="2824" y="4110"/>
                      </a:lnTo>
                      <a:lnTo>
                        <a:pt x="2824" y="4105"/>
                      </a:lnTo>
                      <a:lnTo>
                        <a:pt x="2822" y="4102"/>
                      </a:lnTo>
                      <a:lnTo>
                        <a:pt x="2815" y="4100"/>
                      </a:lnTo>
                      <a:lnTo>
                        <a:pt x="2725" y="4041"/>
                      </a:lnTo>
                      <a:lnTo>
                        <a:pt x="2722" y="4039"/>
                      </a:lnTo>
                      <a:lnTo>
                        <a:pt x="2711" y="4030"/>
                      </a:lnTo>
                      <a:lnTo>
                        <a:pt x="2664" y="4000"/>
                      </a:lnTo>
                      <a:lnTo>
                        <a:pt x="2598" y="3959"/>
                      </a:lnTo>
                      <a:lnTo>
                        <a:pt x="2598" y="3948"/>
                      </a:lnTo>
                      <a:lnTo>
                        <a:pt x="2592" y="3945"/>
                      </a:lnTo>
                      <a:lnTo>
                        <a:pt x="2584" y="3940"/>
                      </a:lnTo>
                      <a:lnTo>
                        <a:pt x="2582" y="3936"/>
                      </a:lnTo>
                      <a:lnTo>
                        <a:pt x="2582" y="3934"/>
                      </a:lnTo>
                      <a:lnTo>
                        <a:pt x="2603" y="3923"/>
                      </a:lnTo>
                      <a:lnTo>
                        <a:pt x="2617" y="3904"/>
                      </a:lnTo>
                      <a:lnTo>
                        <a:pt x="2617" y="3901"/>
                      </a:lnTo>
                      <a:lnTo>
                        <a:pt x="2615" y="3895"/>
                      </a:lnTo>
                      <a:lnTo>
                        <a:pt x="2608" y="3892"/>
                      </a:lnTo>
                      <a:lnTo>
                        <a:pt x="2606" y="3895"/>
                      </a:lnTo>
                      <a:lnTo>
                        <a:pt x="2608" y="3890"/>
                      </a:lnTo>
                      <a:lnTo>
                        <a:pt x="2606" y="3884"/>
                      </a:lnTo>
                      <a:lnTo>
                        <a:pt x="2600" y="3879"/>
                      </a:lnTo>
                      <a:lnTo>
                        <a:pt x="2603" y="3874"/>
                      </a:lnTo>
                      <a:lnTo>
                        <a:pt x="2600" y="3868"/>
                      </a:lnTo>
                      <a:lnTo>
                        <a:pt x="2603" y="3862"/>
                      </a:lnTo>
                      <a:lnTo>
                        <a:pt x="2598" y="3854"/>
                      </a:lnTo>
                      <a:lnTo>
                        <a:pt x="2592" y="3854"/>
                      </a:lnTo>
                      <a:lnTo>
                        <a:pt x="2590" y="3854"/>
                      </a:lnTo>
                      <a:lnTo>
                        <a:pt x="2587" y="3849"/>
                      </a:lnTo>
                      <a:lnTo>
                        <a:pt x="2579" y="3851"/>
                      </a:lnTo>
                      <a:lnTo>
                        <a:pt x="2575" y="3849"/>
                      </a:lnTo>
                      <a:lnTo>
                        <a:pt x="2573" y="3841"/>
                      </a:lnTo>
                      <a:lnTo>
                        <a:pt x="2570" y="3841"/>
                      </a:lnTo>
                      <a:lnTo>
                        <a:pt x="2567" y="3838"/>
                      </a:lnTo>
                      <a:lnTo>
                        <a:pt x="2567" y="3829"/>
                      </a:lnTo>
                      <a:lnTo>
                        <a:pt x="2565" y="3826"/>
                      </a:lnTo>
                      <a:lnTo>
                        <a:pt x="2559" y="3823"/>
                      </a:lnTo>
                      <a:lnTo>
                        <a:pt x="2556" y="3821"/>
                      </a:lnTo>
                      <a:lnTo>
                        <a:pt x="2559" y="3815"/>
                      </a:lnTo>
                      <a:lnTo>
                        <a:pt x="2554" y="3813"/>
                      </a:lnTo>
                      <a:lnTo>
                        <a:pt x="2551" y="3807"/>
                      </a:lnTo>
                      <a:lnTo>
                        <a:pt x="2548" y="3805"/>
                      </a:lnTo>
                      <a:lnTo>
                        <a:pt x="2548" y="3810"/>
                      </a:lnTo>
                      <a:lnTo>
                        <a:pt x="2546" y="3818"/>
                      </a:lnTo>
                      <a:lnTo>
                        <a:pt x="2542" y="3813"/>
                      </a:lnTo>
                      <a:lnTo>
                        <a:pt x="2537" y="3805"/>
                      </a:lnTo>
                      <a:lnTo>
                        <a:pt x="2534" y="3805"/>
                      </a:lnTo>
                      <a:lnTo>
                        <a:pt x="2529" y="3810"/>
                      </a:lnTo>
                      <a:lnTo>
                        <a:pt x="2526" y="3805"/>
                      </a:lnTo>
                      <a:lnTo>
                        <a:pt x="2521" y="3802"/>
                      </a:lnTo>
                      <a:lnTo>
                        <a:pt x="2521" y="3796"/>
                      </a:lnTo>
                      <a:lnTo>
                        <a:pt x="2521" y="3793"/>
                      </a:lnTo>
                      <a:lnTo>
                        <a:pt x="2523" y="3793"/>
                      </a:lnTo>
                      <a:lnTo>
                        <a:pt x="2521" y="3788"/>
                      </a:lnTo>
                      <a:lnTo>
                        <a:pt x="2523" y="3785"/>
                      </a:lnTo>
                      <a:lnTo>
                        <a:pt x="2515" y="3785"/>
                      </a:lnTo>
                      <a:lnTo>
                        <a:pt x="2510" y="3790"/>
                      </a:lnTo>
                      <a:lnTo>
                        <a:pt x="2501" y="3785"/>
                      </a:lnTo>
                      <a:lnTo>
                        <a:pt x="2496" y="3772"/>
                      </a:lnTo>
                      <a:lnTo>
                        <a:pt x="2493" y="3769"/>
                      </a:lnTo>
                      <a:lnTo>
                        <a:pt x="2490" y="3766"/>
                      </a:lnTo>
                      <a:lnTo>
                        <a:pt x="2493" y="3760"/>
                      </a:lnTo>
                      <a:lnTo>
                        <a:pt x="2493" y="3752"/>
                      </a:lnTo>
                      <a:lnTo>
                        <a:pt x="2487" y="3752"/>
                      </a:lnTo>
                      <a:lnTo>
                        <a:pt x="2487" y="3746"/>
                      </a:lnTo>
                      <a:lnTo>
                        <a:pt x="2485" y="3746"/>
                      </a:lnTo>
                      <a:lnTo>
                        <a:pt x="2479" y="3738"/>
                      </a:lnTo>
                      <a:lnTo>
                        <a:pt x="2479" y="3736"/>
                      </a:lnTo>
                      <a:lnTo>
                        <a:pt x="2479" y="3733"/>
                      </a:lnTo>
                      <a:lnTo>
                        <a:pt x="2465" y="3730"/>
                      </a:lnTo>
                      <a:lnTo>
                        <a:pt x="2460" y="3724"/>
                      </a:lnTo>
                      <a:lnTo>
                        <a:pt x="2454" y="3721"/>
                      </a:lnTo>
                      <a:lnTo>
                        <a:pt x="2446" y="3724"/>
                      </a:lnTo>
                      <a:lnTo>
                        <a:pt x="2444" y="3721"/>
                      </a:lnTo>
                      <a:lnTo>
                        <a:pt x="2434" y="3716"/>
                      </a:lnTo>
                      <a:lnTo>
                        <a:pt x="2446" y="3711"/>
                      </a:lnTo>
                      <a:lnTo>
                        <a:pt x="2446" y="3708"/>
                      </a:lnTo>
                      <a:lnTo>
                        <a:pt x="2446" y="3705"/>
                      </a:lnTo>
                      <a:lnTo>
                        <a:pt x="2446" y="3700"/>
                      </a:lnTo>
                      <a:lnTo>
                        <a:pt x="2444" y="3697"/>
                      </a:lnTo>
                      <a:lnTo>
                        <a:pt x="2449" y="3691"/>
                      </a:lnTo>
                      <a:lnTo>
                        <a:pt x="2444" y="3688"/>
                      </a:lnTo>
                      <a:lnTo>
                        <a:pt x="2444" y="3683"/>
                      </a:lnTo>
                      <a:lnTo>
                        <a:pt x="2449" y="3683"/>
                      </a:lnTo>
                      <a:lnTo>
                        <a:pt x="2449" y="3677"/>
                      </a:lnTo>
                      <a:lnTo>
                        <a:pt x="2452" y="3677"/>
                      </a:lnTo>
                      <a:lnTo>
                        <a:pt x="2457" y="3669"/>
                      </a:lnTo>
                      <a:lnTo>
                        <a:pt x="2468" y="3667"/>
                      </a:lnTo>
                      <a:lnTo>
                        <a:pt x="2460" y="3661"/>
                      </a:lnTo>
                      <a:lnTo>
                        <a:pt x="2460" y="3655"/>
                      </a:lnTo>
                      <a:lnTo>
                        <a:pt x="2457" y="3652"/>
                      </a:lnTo>
                      <a:lnTo>
                        <a:pt x="2457" y="3647"/>
                      </a:lnTo>
                      <a:lnTo>
                        <a:pt x="2460" y="3647"/>
                      </a:lnTo>
                      <a:lnTo>
                        <a:pt x="2462" y="3644"/>
                      </a:lnTo>
                      <a:lnTo>
                        <a:pt x="2460" y="3636"/>
                      </a:lnTo>
                      <a:lnTo>
                        <a:pt x="2465" y="3631"/>
                      </a:lnTo>
                      <a:lnTo>
                        <a:pt x="2465" y="3626"/>
                      </a:lnTo>
                      <a:lnTo>
                        <a:pt x="2457" y="3622"/>
                      </a:lnTo>
                      <a:lnTo>
                        <a:pt x="2454" y="3608"/>
                      </a:lnTo>
                      <a:lnTo>
                        <a:pt x="2460" y="3600"/>
                      </a:lnTo>
                      <a:lnTo>
                        <a:pt x="2462" y="3583"/>
                      </a:lnTo>
                      <a:lnTo>
                        <a:pt x="2462" y="3581"/>
                      </a:lnTo>
                      <a:lnTo>
                        <a:pt x="2457" y="3581"/>
                      </a:lnTo>
                      <a:lnTo>
                        <a:pt x="2457" y="3578"/>
                      </a:lnTo>
                      <a:lnTo>
                        <a:pt x="2457" y="3573"/>
                      </a:lnTo>
                      <a:lnTo>
                        <a:pt x="2465" y="3556"/>
                      </a:lnTo>
                      <a:lnTo>
                        <a:pt x="2465" y="3554"/>
                      </a:lnTo>
                      <a:lnTo>
                        <a:pt x="2465" y="3550"/>
                      </a:lnTo>
                      <a:lnTo>
                        <a:pt x="2468" y="3539"/>
                      </a:lnTo>
                      <a:lnTo>
                        <a:pt x="2470" y="3539"/>
                      </a:lnTo>
                      <a:lnTo>
                        <a:pt x="2479" y="3531"/>
                      </a:lnTo>
                      <a:lnTo>
                        <a:pt x="2485" y="3517"/>
                      </a:lnTo>
                      <a:lnTo>
                        <a:pt x="2490" y="3506"/>
                      </a:lnTo>
                      <a:lnTo>
                        <a:pt x="2490" y="3498"/>
                      </a:lnTo>
                      <a:lnTo>
                        <a:pt x="2496" y="3496"/>
                      </a:lnTo>
                      <a:lnTo>
                        <a:pt x="2504" y="3496"/>
                      </a:lnTo>
                      <a:lnTo>
                        <a:pt x="2504" y="3498"/>
                      </a:lnTo>
                      <a:lnTo>
                        <a:pt x="2506" y="3501"/>
                      </a:lnTo>
                      <a:lnTo>
                        <a:pt x="2513" y="3501"/>
                      </a:lnTo>
                      <a:lnTo>
                        <a:pt x="2515" y="3501"/>
                      </a:lnTo>
                      <a:lnTo>
                        <a:pt x="2521" y="3504"/>
                      </a:lnTo>
                      <a:lnTo>
                        <a:pt x="2523" y="3504"/>
                      </a:lnTo>
                      <a:lnTo>
                        <a:pt x="2526" y="3501"/>
                      </a:lnTo>
                      <a:lnTo>
                        <a:pt x="2529" y="3501"/>
                      </a:lnTo>
                      <a:lnTo>
                        <a:pt x="2537" y="3498"/>
                      </a:lnTo>
                      <a:lnTo>
                        <a:pt x="2539" y="3496"/>
                      </a:lnTo>
                      <a:lnTo>
                        <a:pt x="2548" y="3501"/>
                      </a:lnTo>
                      <a:lnTo>
                        <a:pt x="2548" y="3504"/>
                      </a:lnTo>
                      <a:lnTo>
                        <a:pt x="2551" y="3504"/>
                      </a:lnTo>
                      <a:lnTo>
                        <a:pt x="2556" y="3509"/>
                      </a:lnTo>
                      <a:lnTo>
                        <a:pt x="2559" y="3506"/>
                      </a:lnTo>
                      <a:lnTo>
                        <a:pt x="2562" y="3506"/>
                      </a:lnTo>
                      <a:lnTo>
                        <a:pt x="2567" y="3501"/>
                      </a:lnTo>
                      <a:lnTo>
                        <a:pt x="2570" y="3506"/>
                      </a:lnTo>
                      <a:lnTo>
                        <a:pt x="2575" y="3506"/>
                      </a:lnTo>
                      <a:lnTo>
                        <a:pt x="2579" y="3501"/>
                      </a:lnTo>
                      <a:lnTo>
                        <a:pt x="2579" y="3493"/>
                      </a:lnTo>
                      <a:lnTo>
                        <a:pt x="2582" y="3490"/>
                      </a:lnTo>
                      <a:lnTo>
                        <a:pt x="2582" y="3488"/>
                      </a:lnTo>
                      <a:lnTo>
                        <a:pt x="2587" y="3488"/>
                      </a:lnTo>
                      <a:lnTo>
                        <a:pt x="2587" y="3485"/>
                      </a:lnTo>
                      <a:lnTo>
                        <a:pt x="2590" y="3481"/>
                      </a:lnTo>
                      <a:lnTo>
                        <a:pt x="2587" y="3478"/>
                      </a:lnTo>
                      <a:lnTo>
                        <a:pt x="2587" y="3473"/>
                      </a:lnTo>
                      <a:lnTo>
                        <a:pt x="2584" y="3470"/>
                      </a:lnTo>
                      <a:lnTo>
                        <a:pt x="2584" y="3465"/>
                      </a:lnTo>
                      <a:lnTo>
                        <a:pt x="2579" y="3462"/>
                      </a:lnTo>
                      <a:lnTo>
                        <a:pt x="2573" y="3465"/>
                      </a:lnTo>
                      <a:lnTo>
                        <a:pt x="2570" y="3462"/>
                      </a:lnTo>
                      <a:lnTo>
                        <a:pt x="2559" y="3462"/>
                      </a:lnTo>
                      <a:lnTo>
                        <a:pt x="2554" y="3460"/>
                      </a:lnTo>
                      <a:lnTo>
                        <a:pt x="2548" y="3457"/>
                      </a:lnTo>
                      <a:lnTo>
                        <a:pt x="2554" y="3454"/>
                      </a:lnTo>
                      <a:lnTo>
                        <a:pt x="2559" y="3440"/>
                      </a:lnTo>
                      <a:lnTo>
                        <a:pt x="2565" y="3437"/>
                      </a:lnTo>
                      <a:lnTo>
                        <a:pt x="2565" y="3429"/>
                      </a:lnTo>
                      <a:lnTo>
                        <a:pt x="2567" y="3424"/>
                      </a:lnTo>
                      <a:lnTo>
                        <a:pt x="2565" y="3421"/>
                      </a:lnTo>
                      <a:lnTo>
                        <a:pt x="2562" y="3419"/>
                      </a:lnTo>
                      <a:lnTo>
                        <a:pt x="2562" y="3412"/>
                      </a:lnTo>
                      <a:lnTo>
                        <a:pt x="2567" y="3401"/>
                      </a:lnTo>
                      <a:lnTo>
                        <a:pt x="2570" y="3388"/>
                      </a:lnTo>
                      <a:lnTo>
                        <a:pt x="2573" y="3383"/>
                      </a:lnTo>
                      <a:lnTo>
                        <a:pt x="2573" y="3380"/>
                      </a:lnTo>
                      <a:lnTo>
                        <a:pt x="2579" y="3368"/>
                      </a:lnTo>
                      <a:lnTo>
                        <a:pt x="2584" y="3368"/>
                      </a:lnTo>
                      <a:lnTo>
                        <a:pt x="2587" y="3366"/>
                      </a:lnTo>
                      <a:lnTo>
                        <a:pt x="2590" y="3368"/>
                      </a:lnTo>
                      <a:lnTo>
                        <a:pt x="2590" y="3366"/>
                      </a:lnTo>
                      <a:lnTo>
                        <a:pt x="2592" y="3363"/>
                      </a:lnTo>
                      <a:lnTo>
                        <a:pt x="2595" y="3363"/>
                      </a:lnTo>
                      <a:lnTo>
                        <a:pt x="2603" y="3368"/>
                      </a:lnTo>
                      <a:lnTo>
                        <a:pt x="2608" y="3368"/>
                      </a:lnTo>
                      <a:lnTo>
                        <a:pt x="2608" y="3366"/>
                      </a:lnTo>
                      <a:lnTo>
                        <a:pt x="2611" y="3368"/>
                      </a:lnTo>
                      <a:lnTo>
                        <a:pt x="2620" y="3371"/>
                      </a:lnTo>
                      <a:lnTo>
                        <a:pt x="2625" y="3371"/>
                      </a:lnTo>
                      <a:lnTo>
                        <a:pt x="2625" y="3368"/>
                      </a:lnTo>
                      <a:lnTo>
                        <a:pt x="2625" y="3363"/>
                      </a:lnTo>
                      <a:lnTo>
                        <a:pt x="2623" y="3363"/>
                      </a:lnTo>
                      <a:lnTo>
                        <a:pt x="2623" y="3355"/>
                      </a:lnTo>
                      <a:lnTo>
                        <a:pt x="2620" y="3355"/>
                      </a:lnTo>
                      <a:lnTo>
                        <a:pt x="2617" y="3352"/>
                      </a:lnTo>
                      <a:lnTo>
                        <a:pt x="2620" y="3352"/>
                      </a:lnTo>
                      <a:lnTo>
                        <a:pt x="2620" y="3347"/>
                      </a:lnTo>
                      <a:lnTo>
                        <a:pt x="2623" y="3347"/>
                      </a:lnTo>
                      <a:lnTo>
                        <a:pt x="2625" y="3343"/>
                      </a:lnTo>
                      <a:lnTo>
                        <a:pt x="2633" y="3335"/>
                      </a:lnTo>
                      <a:lnTo>
                        <a:pt x="2639" y="3324"/>
                      </a:lnTo>
                      <a:lnTo>
                        <a:pt x="2642" y="3324"/>
                      </a:lnTo>
                      <a:lnTo>
                        <a:pt x="2644" y="3319"/>
                      </a:lnTo>
                      <a:lnTo>
                        <a:pt x="2648" y="3311"/>
                      </a:lnTo>
                      <a:lnTo>
                        <a:pt x="2651" y="3305"/>
                      </a:lnTo>
                      <a:lnTo>
                        <a:pt x="2653" y="3311"/>
                      </a:lnTo>
                      <a:lnTo>
                        <a:pt x="2651" y="3316"/>
                      </a:lnTo>
                      <a:lnTo>
                        <a:pt x="2653" y="3316"/>
                      </a:lnTo>
                      <a:lnTo>
                        <a:pt x="2656" y="3322"/>
                      </a:lnTo>
                      <a:lnTo>
                        <a:pt x="2661" y="3319"/>
                      </a:lnTo>
                      <a:lnTo>
                        <a:pt x="2664" y="3314"/>
                      </a:lnTo>
                      <a:lnTo>
                        <a:pt x="2664" y="3307"/>
                      </a:lnTo>
                      <a:lnTo>
                        <a:pt x="2669" y="3307"/>
                      </a:lnTo>
                      <a:lnTo>
                        <a:pt x="2672" y="3299"/>
                      </a:lnTo>
                      <a:lnTo>
                        <a:pt x="2672" y="3297"/>
                      </a:lnTo>
                      <a:lnTo>
                        <a:pt x="2675" y="3291"/>
                      </a:lnTo>
                      <a:lnTo>
                        <a:pt x="2680" y="3278"/>
                      </a:lnTo>
                      <a:lnTo>
                        <a:pt x="2684" y="3275"/>
                      </a:lnTo>
                      <a:lnTo>
                        <a:pt x="2686" y="3272"/>
                      </a:lnTo>
                      <a:lnTo>
                        <a:pt x="2686" y="3269"/>
                      </a:lnTo>
                      <a:lnTo>
                        <a:pt x="2692" y="3266"/>
                      </a:lnTo>
                      <a:lnTo>
                        <a:pt x="2692" y="3261"/>
                      </a:lnTo>
                      <a:lnTo>
                        <a:pt x="2694" y="3258"/>
                      </a:lnTo>
                      <a:lnTo>
                        <a:pt x="2697" y="3258"/>
                      </a:lnTo>
                      <a:lnTo>
                        <a:pt x="2697" y="3261"/>
                      </a:lnTo>
                      <a:lnTo>
                        <a:pt x="2700" y="3261"/>
                      </a:lnTo>
                      <a:lnTo>
                        <a:pt x="2702" y="3263"/>
                      </a:lnTo>
                      <a:lnTo>
                        <a:pt x="2705" y="3263"/>
                      </a:lnTo>
                      <a:lnTo>
                        <a:pt x="2708" y="3253"/>
                      </a:lnTo>
                      <a:lnTo>
                        <a:pt x="2713" y="3250"/>
                      </a:lnTo>
                      <a:lnTo>
                        <a:pt x="2717" y="3247"/>
                      </a:lnTo>
                      <a:lnTo>
                        <a:pt x="2725" y="3247"/>
                      </a:lnTo>
                      <a:lnTo>
                        <a:pt x="2722" y="3238"/>
                      </a:lnTo>
                      <a:lnTo>
                        <a:pt x="2720" y="3236"/>
                      </a:lnTo>
                      <a:lnTo>
                        <a:pt x="2717" y="3230"/>
                      </a:lnTo>
                      <a:lnTo>
                        <a:pt x="2725" y="3220"/>
                      </a:lnTo>
                      <a:lnTo>
                        <a:pt x="2725" y="3217"/>
                      </a:lnTo>
                      <a:lnTo>
                        <a:pt x="2730" y="3214"/>
                      </a:lnTo>
                      <a:lnTo>
                        <a:pt x="2730" y="3212"/>
                      </a:lnTo>
                      <a:lnTo>
                        <a:pt x="2736" y="3209"/>
                      </a:lnTo>
                      <a:lnTo>
                        <a:pt x="2738" y="3197"/>
                      </a:lnTo>
                      <a:lnTo>
                        <a:pt x="2736" y="3192"/>
                      </a:lnTo>
                      <a:lnTo>
                        <a:pt x="2733" y="3192"/>
                      </a:lnTo>
                      <a:lnTo>
                        <a:pt x="2730" y="3186"/>
                      </a:lnTo>
                      <a:lnTo>
                        <a:pt x="2733" y="3186"/>
                      </a:lnTo>
                      <a:lnTo>
                        <a:pt x="2736" y="3189"/>
                      </a:lnTo>
                      <a:lnTo>
                        <a:pt x="2738" y="3189"/>
                      </a:lnTo>
                      <a:lnTo>
                        <a:pt x="2738" y="3186"/>
                      </a:lnTo>
                      <a:lnTo>
                        <a:pt x="2746" y="3181"/>
                      </a:lnTo>
                      <a:lnTo>
                        <a:pt x="2746" y="3176"/>
                      </a:lnTo>
                      <a:lnTo>
                        <a:pt x="2744" y="3173"/>
                      </a:lnTo>
                      <a:lnTo>
                        <a:pt x="2744" y="3167"/>
                      </a:lnTo>
                      <a:lnTo>
                        <a:pt x="2738" y="3167"/>
                      </a:lnTo>
                      <a:lnTo>
                        <a:pt x="2738" y="3161"/>
                      </a:lnTo>
                      <a:lnTo>
                        <a:pt x="2736" y="3156"/>
                      </a:lnTo>
                      <a:lnTo>
                        <a:pt x="2730" y="3153"/>
                      </a:lnTo>
                      <a:lnTo>
                        <a:pt x="2730" y="3148"/>
                      </a:lnTo>
                      <a:lnTo>
                        <a:pt x="2722" y="3140"/>
                      </a:lnTo>
                      <a:lnTo>
                        <a:pt x="2717" y="3140"/>
                      </a:lnTo>
                      <a:lnTo>
                        <a:pt x="2717" y="3137"/>
                      </a:lnTo>
                      <a:lnTo>
                        <a:pt x="2722" y="3128"/>
                      </a:lnTo>
                      <a:lnTo>
                        <a:pt x="2725" y="3128"/>
                      </a:lnTo>
                      <a:lnTo>
                        <a:pt x="2722" y="3128"/>
                      </a:lnTo>
                      <a:lnTo>
                        <a:pt x="2720" y="3125"/>
                      </a:lnTo>
                      <a:lnTo>
                        <a:pt x="2708" y="3125"/>
                      </a:lnTo>
                      <a:lnTo>
                        <a:pt x="2705" y="3125"/>
                      </a:lnTo>
                      <a:lnTo>
                        <a:pt x="2705" y="3131"/>
                      </a:lnTo>
                      <a:lnTo>
                        <a:pt x="2697" y="3131"/>
                      </a:lnTo>
                      <a:lnTo>
                        <a:pt x="2697" y="3125"/>
                      </a:lnTo>
                      <a:lnTo>
                        <a:pt x="2692" y="3125"/>
                      </a:lnTo>
                      <a:lnTo>
                        <a:pt x="2692" y="3128"/>
                      </a:lnTo>
                      <a:lnTo>
                        <a:pt x="2689" y="3128"/>
                      </a:lnTo>
                      <a:lnTo>
                        <a:pt x="2689" y="3125"/>
                      </a:lnTo>
                      <a:lnTo>
                        <a:pt x="2686" y="3125"/>
                      </a:lnTo>
                      <a:lnTo>
                        <a:pt x="2684" y="3120"/>
                      </a:lnTo>
                      <a:lnTo>
                        <a:pt x="2680" y="3120"/>
                      </a:lnTo>
                      <a:lnTo>
                        <a:pt x="2680" y="3123"/>
                      </a:lnTo>
                      <a:lnTo>
                        <a:pt x="2677" y="3123"/>
                      </a:lnTo>
                      <a:lnTo>
                        <a:pt x="2677" y="3120"/>
                      </a:lnTo>
                      <a:lnTo>
                        <a:pt x="2675" y="3120"/>
                      </a:lnTo>
                      <a:lnTo>
                        <a:pt x="2677" y="3117"/>
                      </a:lnTo>
                      <a:lnTo>
                        <a:pt x="2675" y="3117"/>
                      </a:lnTo>
                      <a:lnTo>
                        <a:pt x="2672" y="3117"/>
                      </a:lnTo>
                      <a:lnTo>
                        <a:pt x="2669" y="3115"/>
                      </a:lnTo>
                      <a:lnTo>
                        <a:pt x="2672" y="3115"/>
                      </a:lnTo>
                      <a:lnTo>
                        <a:pt x="2669" y="3112"/>
                      </a:lnTo>
                      <a:lnTo>
                        <a:pt x="2664" y="3112"/>
                      </a:lnTo>
                      <a:lnTo>
                        <a:pt x="2664" y="3109"/>
                      </a:lnTo>
                      <a:lnTo>
                        <a:pt x="2667" y="3109"/>
                      </a:lnTo>
                      <a:lnTo>
                        <a:pt x="2664" y="3107"/>
                      </a:lnTo>
                      <a:lnTo>
                        <a:pt x="2664" y="3104"/>
                      </a:lnTo>
                      <a:lnTo>
                        <a:pt x="2661" y="3101"/>
                      </a:lnTo>
                      <a:lnTo>
                        <a:pt x="2659" y="3104"/>
                      </a:lnTo>
                      <a:lnTo>
                        <a:pt x="2659" y="3101"/>
                      </a:lnTo>
                      <a:lnTo>
                        <a:pt x="2661" y="3101"/>
                      </a:lnTo>
                      <a:lnTo>
                        <a:pt x="2661" y="3095"/>
                      </a:lnTo>
                      <a:lnTo>
                        <a:pt x="2661" y="3098"/>
                      </a:lnTo>
                      <a:lnTo>
                        <a:pt x="2664" y="3090"/>
                      </a:lnTo>
                      <a:lnTo>
                        <a:pt x="2661" y="3090"/>
                      </a:lnTo>
                      <a:lnTo>
                        <a:pt x="2659" y="3095"/>
                      </a:lnTo>
                      <a:lnTo>
                        <a:pt x="2656" y="3095"/>
                      </a:lnTo>
                      <a:lnTo>
                        <a:pt x="2653" y="3092"/>
                      </a:lnTo>
                      <a:lnTo>
                        <a:pt x="2656" y="3087"/>
                      </a:lnTo>
                      <a:lnTo>
                        <a:pt x="2656" y="3084"/>
                      </a:lnTo>
                      <a:lnTo>
                        <a:pt x="2651" y="3087"/>
                      </a:lnTo>
                      <a:lnTo>
                        <a:pt x="2651" y="3090"/>
                      </a:lnTo>
                      <a:lnTo>
                        <a:pt x="2648" y="3090"/>
                      </a:lnTo>
                      <a:lnTo>
                        <a:pt x="2644" y="3090"/>
                      </a:lnTo>
                      <a:lnTo>
                        <a:pt x="2642" y="3087"/>
                      </a:lnTo>
                      <a:lnTo>
                        <a:pt x="2636" y="3090"/>
                      </a:lnTo>
                      <a:lnTo>
                        <a:pt x="2633" y="3090"/>
                      </a:lnTo>
                      <a:lnTo>
                        <a:pt x="2633" y="3084"/>
                      </a:lnTo>
                      <a:lnTo>
                        <a:pt x="2631" y="3087"/>
                      </a:lnTo>
                      <a:lnTo>
                        <a:pt x="2628" y="3087"/>
                      </a:lnTo>
                      <a:lnTo>
                        <a:pt x="2625" y="3087"/>
                      </a:lnTo>
                      <a:lnTo>
                        <a:pt x="2625" y="3090"/>
                      </a:lnTo>
                      <a:lnTo>
                        <a:pt x="2623" y="3090"/>
                      </a:lnTo>
                      <a:lnTo>
                        <a:pt x="2623" y="3087"/>
                      </a:lnTo>
                      <a:lnTo>
                        <a:pt x="2620" y="3090"/>
                      </a:lnTo>
                      <a:lnTo>
                        <a:pt x="2617" y="3087"/>
                      </a:lnTo>
                      <a:lnTo>
                        <a:pt x="2623" y="3084"/>
                      </a:lnTo>
                      <a:lnTo>
                        <a:pt x="2623" y="3074"/>
                      </a:lnTo>
                      <a:lnTo>
                        <a:pt x="2620" y="3074"/>
                      </a:lnTo>
                      <a:lnTo>
                        <a:pt x="2611" y="3068"/>
                      </a:lnTo>
                      <a:lnTo>
                        <a:pt x="2608" y="3071"/>
                      </a:lnTo>
                      <a:lnTo>
                        <a:pt x="2608" y="3068"/>
                      </a:lnTo>
                      <a:lnTo>
                        <a:pt x="2606" y="3068"/>
                      </a:lnTo>
                      <a:lnTo>
                        <a:pt x="2606" y="3062"/>
                      </a:lnTo>
                      <a:lnTo>
                        <a:pt x="2603" y="3062"/>
                      </a:lnTo>
                      <a:lnTo>
                        <a:pt x="2603" y="3059"/>
                      </a:lnTo>
                      <a:lnTo>
                        <a:pt x="2600" y="3059"/>
                      </a:lnTo>
                      <a:lnTo>
                        <a:pt x="2600" y="3054"/>
                      </a:lnTo>
                      <a:lnTo>
                        <a:pt x="2598" y="3054"/>
                      </a:lnTo>
                      <a:lnTo>
                        <a:pt x="2598" y="3051"/>
                      </a:lnTo>
                      <a:lnTo>
                        <a:pt x="2595" y="3046"/>
                      </a:lnTo>
                      <a:lnTo>
                        <a:pt x="2592" y="3046"/>
                      </a:lnTo>
                      <a:lnTo>
                        <a:pt x="2587" y="3048"/>
                      </a:lnTo>
                      <a:lnTo>
                        <a:pt x="2584" y="3048"/>
                      </a:lnTo>
                      <a:lnTo>
                        <a:pt x="2582" y="3048"/>
                      </a:lnTo>
                      <a:lnTo>
                        <a:pt x="2579" y="3051"/>
                      </a:lnTo>
                      <a:lnTo>
                        <a:pt x="2575" y="3048"/>
                      </a:lnTo>
                      <a:lnTo>
                        <a:pt x="2570" y="3051"/>
                      </a:lnTo>
                      <a:lnTo>
                        <a:pt x="2562" y="3051"/>
                      </a:lnTo>
                      <a:lnTo>
                        <a:pt x="2559" y="3051"/>
                      </a:lnTo>
                      <a:lnTo>
                        <a:pt x="2556" y="3051"/>
                      </a:lnTo>
                      <a:lnTo>
                        <a:pt x="2554" y="3054"/>
                      </a:lnTo>
                      <a:lnTo>
                        <a:pt x="2551" y="3051"/>
                      </a:lnTo>
                      <a:lnTo>
                        <a:pt x="2548" y="3051"/>
                      </a:lnTo>
                      <a:lnTo>
                        <a:pt x="2546" y="3048"/>
                      </a:lnTo>
                      <a:lnTo>
                        <a:pt x="2539" y="3051"/>
                      </a:lnTo>
                      <a:lnTo>
                        <a:pt x="2537" y="3054"/>
                      </a:lnTo>
                      <a:lnTo>
                        <a:pt x="2534" y="3051"/>
                      </a:lnTo>
                      <a:lnTo>
                        <a:pt x="2529" y="3051"/>
                      </a:lnTo>
                      <a:lnTo>
                        <a:pt x="2526" y="3048"/>
                      </a:lnTo>
                      <a:lnTo>
                        <a:pt x="2526" y="3051"/>
                      </a:lnTo>
                      <a:lnTo>
                        <a:pt x="2521" y="3046"/>
                      </a:lnTo>
                      <a:lnTo>
                        <a:pt x="2521" y="3048"/>
                      </a:lnTo>
                      <a:lnTo>
                        <a:pt x="2518" y="3046"/>
                      </a:lnTo>
                      <a:lnTo>
                        <a:pt x="2515" y="3035"/>
                      </a:lnTo>
                      <a:lnTo>
                        <a:pt x="2506" y="3026"/>
                      </a:lnTo>
                      <a:lnTo>
                        <a:pt x="2504" y="3026"/>
                      </a:lnTo>
                      <a:lnTo>
                        <a:pt x="2501" y="3023"/>
                      </a:lnTo>
                      <a:lnTo>
                        <a:pt x="2496" y="3032"/>
                      </a:lnTo>
                      <a:lnTo>
                        <a:pt x="2493" y="3035"/>
                      </a:lnTo>
                      <a:lnTo>
                        <a:pt x="2490" y="3032"/>
                      </a:lnTo>
                      <a:lnTo>
                        <a:pt x="2487" y="3029"/>
                      </a:lnTo>
                      <a:lnTo>
                        <a:pt x="2482" y="3032"/>
                      </a:lnTo>
                      <a:lnTo>
                        <a:pt x="2479" y="3038"/>
                      </a:lnTo>
                      <a:lnTo>
                        <a:pt x="2479" y="3043"/>
                      </a:lnTo>
                      <a:lnTo>
                        <a:pt x="2470" y="3043"/>
                      </a:lnTo>
                      <a:lnTo>
                        <a:pt x="2465" y="3046"/>
                      </a:lnTo>
                      <a:lnTo>
                        <a:pt x="2460" y="3046"/>
                      </a:lnTo>
                      <a:lnTo>
                        <a:pt x="2457" y="3040"/>
                      </a:lnTo>
                      <a:lnTo>
                        <a:pt x="2460" y="3035"/>
                      </a:lnTo>
                      <a:lnTo>
                        <a:pt x="2449" y="3032"/>
                      </a:lnTo>
                      <a:lnTo>
                        <a:pt x="2449" y="3029"/>
                      </a:lnTo>
                      <a:lnTo>
                        <a:pt x="2444" y="3026"/>
                      </a:lnTo>
                      <a:lnTo>
                        <a:pt x="2446" y="3023"/>
                      </a:lnTo>
                      <a:lnTo>
                        <a:pt x="2446" y="3021"/>
                      </a:lnTo>
                      <a:lnTo>
                        <a:pt x="2444" y="3018"/>
                      </a:lnTo>
                      <a:lnTo>
                        <a:pt x="2440" y="3018"/>
                      </a:lnTo>
                      <a:lnTo>
                        <a:pt x="2434" y="3010"/>
                      </a:lnTo>
                      <a:lnTo>
                        <a:pt x="2432" y="3010"/>
                      </a:lnTo>
                      <a:lnTo>
                        <a:pt x="2429" y="3015"/>
                      </a:lnTo>
                      <a:lnTo>
                        <a:pt x="2426" y="3015"/>
                      </a:lnTo>
                      <a:lnTo>
                        <a:pt x="2421" y="3005"/>
                      </a:lnTo>
                      <a:lnTo>
                        <a:pt x="2413" y="3002"/>
                      </a:lnTo>
                      <a:lnTo>
                        <a:pt x="2413" y="2999"/>
                      </a:lnTo>
                      <a:lnTo>
                        <a:pt x="2408" y="2990"/>
                      </a:lnTo>
                      <a:lnTo>
                        <a:pt x="2404" y="2990"/>
                      </a:lnTo>
                      <a:lnTo>
                        <a:pt x="2404" y="2987"/>
                      </a:lnTo>
                      <a:lnTo>
                        <a:pt x="2401" y="2987"/>
                      </a:lnTo>
                      <a:lnTo>
                        <a:pt x="2396" y="2990"/>
                      </a:lnTo>
                      <a:lnTo>
                        <a:pt x="2391" y="2990"/>
                      </a:lnTo>
                      <a:lnTo>
                        <a:pt x="2388" y="2996"/>
                      </a:lnTo>
                      <a:lnTo>
                        <a:pt x="2391" y="3002"/>
                      </a:lnTo>
                      <a:lnTo>
                        <a:pt x="2388" y="3002"/>
                      </a:lnTo>
                      <a:lnTo>
                        <a:pt x="2385" y="3005"/>
                      </a:lnTo>
                      <a:lnTo>
                        <a:pt x="2377" y="3007"/>
                      </a:lnTo>
                      <a:lnTo>
                        <a:pt x="2371" y="3005"/>
                      </a:lnTo>
                      <a:lnTo>
                        <a:pt x="2368" y="2999"/>
                      </a:lnTo>
                      <a:lnTo>
                        <a:pt x="2371" y="2993"/>
                      </a:lnTo>
                      <a:lnTo>
                        <a:pt x="2368" y="2987"/>
                      </a:lnTo>
                      <a:lnTo>
                        <a:pt x="2357" y="2982"/>
                      </a:lnTo>
                      <a:lnTo>
                        <a:pt x="2357" y="2979"/>
                      </a:lnTo>
                      <a:lnTo>
                        <a:pt x="2352" y="2979"/>
                      </a:lnTo>
                      <a:lnTo>
                        <a:pt x="2352" y="2982"/>
                      </a:lnTo>
                      <a:lnTo>
                        <a:pt x="2352" y="2990"/>
                      </a:lnTo>
                      <a:lnTo>
                        <a:pt x="2349" y="2990"/>
                      </a:lnTo>
                      <a:lnTo>
                        <a:pt x="2347" y="2996"/>
                      </a:lnTo>
                      <a:lnTo>
                        <a:pt x="2344" y="2993"/>
                      </a:lnTo>
                      <a:lnTo>
                        <a:pt x="2341" y="2996"/>
                      </a:lnTo>
                      <a:lnTo>
                        <a:pt x="2330" y="2999"/>
                      </a:lnTo>
                      <a:lnTo>
                        <a:pt x="2327" y="2999"/>
                      </a:lnTo>
                      <a:lnTo>
                        <a:pt x="2322" y="2999"/>
                      </a:lnTo>
                      <a:lnTo>
                        <a:pt x="2319" y="2985"/>
                      </a:lnTo>
                      <a:lnTo>
                        <a:pt x="2314" y="2985"/>
                      </a:lnTo>
                      <a:lnTo>
                        <a:pt x="2311" y="2985"/>
                      </a:lnTo>
                      <a:lnTo>
                        <a:pt x="2308" y="2985"/>
                      </a:lnTo>
                      <a:lnTo>
                        <a:pt x="2302" y="2985"/>
                      </a:lnTo>
                      <a:lnTo>
                        <a:pt x="2297" y="2979"/>
                      </a:lnTo>
                      <a:lnTo>
                        <a:pt x="2297" y="2985"/>
                      </a:lnTo>
                      <a:lnTo>
                        <a:pt x="2294" y="2987"/>
                      </a:lnTo>
                      <a:lnTo>
                        <a:pt x="2291" y="2990"/>
                      </a:lnTo>
                      <a:lnTo>
                        <a:pt x="2291" y="2999"/>
                      </a:lnTo>
                      <a:lnTo>
                        <a:pt x="2288" y="2999"/>
                      </a:lnTo>
                      <a:lnTo>
                        <a:pt x="2280" y="3007"/>
                      </a:lnTo>
                      <a:lnTo>
                        <a:pt x="2270" y="3007"/>
                      </a:lnTo>
                      <a:lnTo>
                        <a:pt x="2261" y="3013"/>
                      </a:lnTo>
                      <a:lnTo>
                        <a:pt x="2253" y="3010"/>
                      </a:lnTo>
                      <a:lnTo>
                        <a:pt x="2245" y="3018"/>
                      </a:lnTo>
                      <a:lnTo>
                        <a:pt x="2233" y="3021"/>
                      </a:lnTo>
                      <a:lnTo>
                        <a:pt x="2230" y="3021"/>
                      </a:lnTo>
                      <a:lnTo>
                        <a:pt x="2228" y="3029"/>
                      </a:lnTo>
                      <a:lnTo>
                        <a:pt x="2225" y="3032"/>
                      </a:lnTo>
                      <a:lnTo>
                        <a:pt x="2219" y="3029"/>
                      </a:lnTo>
                      <a:lnTo>
                        <a:pt x="2214" y="3026"/>
                      </a:lnTo>
                      <a:lnTo>
                        <a:pt x="2206" y="3023"/>
                      </a:lnTo>
                      <a:lnTo>
                        <a:pt x="2203" y="3023"/>
                      </a:lnTo>
                      <a:lnTo>
                        <a:pt x="2194" y="3018"/>
                      </a:lnTo>
                      <a:lnTo>
                        <a:pt x="2186" y="3018"/>
                      </a:lnTo>
                      <a:lnTo>
                        <a:pt x="2181" y="3021"/>
                      </a:lnTo>
                      <a:lnTo>
                        <a:pt x="2173" y="3023"/>
                      </a:lnTo>
                      <a:lnTo>
                        <a:pt x="2168" y="3018"/>
                      </a:lnTo>
                      <a:lnTo>
                        <a:pt x="2164" y="3018"/>
                      </a:lnTo>
                      <a:lnTo>
                        <a:pt x="2159" y="3021"/>
                      </a:lnTo>
                      <a:lnTo>
                        <a:pt x="2151" y="3021"/>
                      </a:lnTo>
                      <a:lnTo>
                        <a:pt x="2148" y="3021"/>
                      </a:lnTo>
                      <a:lnTo>
                        <a:pt x="2145" y="2977"/>
                      </a:lnTo>
                      <a:lnTo>
                        <a:pt x="2137" y="2918"/>
                      </a:lnTo>
                      <a:lnTo>
                        <a:pt x="2137" y="2916"/>
                      </a:lnTo>
                      <a:lnTo>
                        <a:pt x="2125" y="2908"/>
                      </a:lnTo>
                      <a:lnTo>
                        <a:pt x="2095" y="2877"/>
                      </a:lnTo>
                      <a:lnTo>
                        <a:pt x="2056" y="2841"/>
                      </a:lnTo>
                      <a:lnTo>
                        <a:pt x="1957" y="2751"/>
                      </a:lnTo>
                      <a:lnTo>
                        <a:pt x="1954" y="2751"/>
                      </a:lnTo>
                      <a:lnTo>
                        <a:pt x="1952" y="2754"/>
                      </a:lnTo>
                      <a:lnTo>
                        <a:pt x="1941" y="2756"/>
                      </a:lnTo>
                      <a:lnTo>
                        <a:pt x="1935" y="2759"/>
                      </a:lnTo>
                      <a:lnTo>
                        <a:pt x="1930" y="2759"/>
                      </a:lnTo>
                      <a:lnTo>
                        <a:pt x="1927" y="2767"/>
                      </a:lnTo>
                      <a:lnTo>
                        <a:pt x="1921" y="2770"/>
                      </a:lnTo>
                      <a:lnTo>
                        <a:pt x="1918" y="2772"/>
                      </a:lnTo>
                      <a:lnTo>
                        <a:pt x="1913" y="2772"/>
                      </a:lnTo>
                      <a:lnTo>
                        <a:pt x="1910" y="2775"/>
                      </a:lnTo>
                      <a:lnTo>
                        <a:pt x="1905" y="2775"/>
                      </a:lnTo>
                      <a:lnTo>
                        <a:pt x="1905" y="2780"/>
                      </a:lnTo>
                      <a:lnTo>
                        <a:pt x="1897" y="2783"/>
                      </a:lnTo>
                      <a:lnTo>
                        <a:pt x="1885" y="2778"/>
                      </a:lnTo>
                      <a:lnTo>
                        <a:pt x="1880" y="2778"/>
                      </a:lnTo>
                      <a:lnTo>
                        <a:pt x="1877" y="2775"/>
                      </a:lnTo>
                      <a:lnTo>
                        <a:pt x="1864" y="2778"/>
                      </a:lnTo>
                      <a:lnTo>
                        <a:pt x="1847" y="2783"/>
                      </a:lnTo>
                      <a:lnTo>
                        <a:pt x="1841" y="2787"/>
                      </a:lnTo>
                      <a:lnTo>
                        <a:pt x="1839" y="2787"/>
                      </a:lnTo>
                      <a:lnTo>
                        <a:pt x="1836" y="2787"/>
                      </a:lnTo>
                      <a:lnTo>
                        <a:pt x="1836" y="2778"/>
                      </a:lnTo>
                      <a:lnTo>
                        <a:pt x="1833" y="2778"/>
                      </a:lnTo>
                      <a:lnTo>
                        <a:pt x="1831" y="2770"/>
                      </a:lnTo>
                      <a:lnTo>
                        <a:pt x="1825" y="2764"/>
                      </a:lnTo>
                      <a:lnTo>
                        <a:pt x="1819" y="2762"/>
                      </a:lnTo>
                      <a:lnTo>
                        <a:pt x="1816" y="2759"/>
                      </a:lnTo>
                      <a:lnTo>
                        <a:pt x="1814" y="2756"/>
                      </a:lnTo>
                      <a:lnTo>
                        <a:pt x="1814" y="2751"/>
                      </a:lnTo>
                      <a:lnTo>
                        <a:pt x="1808" y="2751"/>
                      </a:lnTo>
                      <a:lnTo>
                        <a:pt x="1805" y="2745"/>
                      </a:lnTo>
                      <a:lnTo>
                        <a:pt x="1803" y="2745"/>
                      </a:lnTo>
                      <a:lnTo>
                        <a:pt x="1803" y="2751"/>
                      </a:lnTo>
                      <a:lnTo>
                        <a:pt x="1797" y="2754"/>
                      </a:lnTo>
                      <a:lnTo>
                        <a:pt x="1795" y="2751"/>
                      </a:lnTo>
                      <a:lnTo>
                        <a:pt x="1789" y="2754"/>
                      </a:lnTo>
                      <a:lnTo>
                        <a:pt x="1783" y="2751"/>
                      </a:lnTo>
                      <a:lnTo>
                        <a:pt x="1775" y="2756"/>
                      </a:lnTo>
                      <a:lnTo>
                        <a:pt x="1770" y="2762"/>
                      </a:lnTo>
                      <a:lnTo>
                        <a:pt x="1764" y="2756"/>
                      </a:lnTo>
                      <a:lnTo>
                        <a:pt x="1762" y="2759"/>
                      </a:lnTo>
                      <a:lnTo>
                        <a:pt x="1759" y="2754"/>
                      </a:lnTo>
                      <a:lnTo>
                        <a:pt x="1747" y="2751"/>
                      </a:lnTo>
                      <a:lnTo>
                        <a:pt x="1745" y="2747"/>
                      </a:lnTo>
                      <a:lnTo>
                        <a:pt x="1742" y="2742"/>
                      </a:lnTo>
                      <a:lnTo>
                        <a:pt x="1739" y="2742"/>
                      </a:lnTo>
                      <a:lnTo>
                        <a:pt x="1731" y="2751"/>
                      </a:lnTo>
                      <a:lnTo>
                        <a:pt x="1726" y="2742"/>
                      </a:lnTo>
                      <a:lnTo>
                        <a:pt x="1723" y="2739"/>
                      </a:lnTo>
                      <a:lnTo>
                        <a:pt x="1714" y="2742"/>
                      </a:lnTo>
                      <a:lnTo>
                        <a:pt x="1706" y="2737"/>
                      </a:lnTo>
                      <a:lnTo>
                        <a:pt x="1695" y="2734"/>
                      </a:lnTo>
                      <a:lnTo>
                        <a:pt x="1698" y="2723"/>
                      </a:lnTo>
                      <a:lnTo>
                        <a:pt x="1698" y="2718"/>
                      </a:lnTo>
                      <a:lnTo>
                        <a:pt x="1684" y="2718"/>
                      </a:lnTo>
                      <a:lnTo>
                        <a:pt x="1676" y="2706"/>
                      </a:lnTo>
                      <a:lnTo>
                        <a:pt x="1668" y="2701"/>
                      </a:lnTo>
                      <a:lnTo>
                        <a:pt x="1665" y="2701"/>
                      </a:lnTo>
                      <a:lnTo>
                        <a:pt x="1659" y="2701"/>
                      </a:lnTo>
                      <a:lnTo>
                        <a:pt x="1659" y="2695"/>
                      </a:lnTo>
                      <a:lnTo>
                        <a:pt x="1651" y="2693"/>
                      </a:lnTo>
                      <a:lnTo>
                        <a:pt x="1648" y="2693"/>
                      </a:lnTo>
                      <a:lnTo>
                        <a:pt x="1642" y="2685"/>
                      </a:lnTo>
                      <a:lnTo>
                        <a:pt x="1640" y="2682"/>
                      </a:lnTo>
                      <a:lnTo>
                        <a:pt x="1637" y="2678"/>
                      </a:lnTo>
                      <a:lnTo>
                        <a:pt x="1632" y="2676"/>
                      </a:lnTo>
                      <a:lnTo>
                        <a:pt x="1626" y="2682"/>
                      </a:lnTo>
                      <a:lnTo>
                        <a:pt x="1624" y="2687"/>
                      </a:lnTo>
                      <a:lnTo>
                        <a:pt x="1618" y="2682"/>
                      </a:lnTo>
                      <a:lnTo>
                        <a:pt x="1609" y="2676"/>
                      </a:lnTo>
                      <a:lnTo>
                        <a:pt x="1612" y="2676"/>
                      </a:lnTo>
                      <a:lnTo>
                        <a:pt x="1609" y="2676"/>
                      </a:lnTo>
                      <a:lnTo>
                        <a:pt x="1607" y="2670"/>
                      </a:lnTo>
                      <a:lnTo>
                        <a:pt x="1607" y="2673"/>
                      </a:lnTo>
                      <a:lnTo>
                        <a:pt x="1601" y="2668"/>
                      </a:lnTo>
                      <a:lnTo>
                        <a:pt x="1599" y="2670"/>
                      </a:lnTo>
                      <a:lnTo>
                        <a:pt x="1596" y="2668"/>
                      </a:lnTo>
                      <a:lnTo>
                        <a:pt x="1590" y="2665"/>
                      </a:lnTo>
                      <a:lnTo>
                        <a:pt x="1593" y="2662"/>
                      </a:lnTo>
                      <a:lnTo>
                        <a:pt x="1590" y="2662"/>
                      </a:lnTo>
                      <a:lnTo>
                        <a:pt x="1590" y="2660"/>
                      </a:lnTo>
                      <a:lnTo>
                        <a:pt x="1585" y="2660"/>
                      </a:lnTo>
                      <a:lnTo>
                        <a:pt x="1588" y="2660"/>
                      </a:lnTo>
                      <a:lnTo>
                        <a:pt x="1581" y="2662"/>
                      </a:lnTo>
                      <a:lnTo>
                        <a:pt x="1581" y="2660"/>
                      </a:lnTo>
                      <a:lnTo>
                        <a:pt x="1576" y="2657"/>
                      </a:lnTo>
                      <a:lnTo>
                        <a:pt x="1571" y="2652"/>
                      </a:lnTo>
                      <a:lnTo>
                        <a:pt x="1568" y="2645"/>
                      </a:lnTo>
                      <a:lnTo>
                        <a:pt x="1555" y="2643"/>
                      </a:lnTo>
                      <a:lnTo>
                        <a:pt x="1549" y="2637"/>
                      </a:lnTo>
                      <a:lnTo>
                        <a:pt x="1538" y="2629"/>
                      </a:lnTo>
                      <a:lnTo>
                        <a:pt x="1535" y="2626"/>
                      </a:lnTo>
                      <a:lnTo>
                        <a:pt x="1535" y="2624"/>
                      </a:lnTo>
                      <a:lnTo>
                        <a:pt x="1530" y="2624"/>
                      </a:lnTo>
                      <a:lnTo>
                        <a:pt x="1527" y="2618"/>
                      </a:lnTo>
                      <a:lnTo>
                        <a:pt x="1522" y="2616"/>
                      </a:lnTo>
                      <a:lnTo>
                        <a:pt x="1522" y="2613"/>
                      </a:lnTo>
                      <a:lnTo>
                        <a:pt x="1524" y="2613"/>
                      </a:lnTo>
                      <a:lnTo>
                        <a:pt x="1522" y="2609"/>
                      </a:lnTo>
                      <a:lnTo>
                        <a:pt x="1519" y="2613"/>
                      </a:lnTo>
                      <a:lnTo>
                        <a:pt x="1516" y="2613"/>
                      </a:lnTo>
                      <a:lnTo>
                        <a:pt x="1512" y="2609"/>
                      </a:lnTo>
                      <a:lnTo>
                        <a:pt x="1510" y="2607"/>
                      </a:lnTo>
                      <a:lnTo>
                        <a:pt x="1510" y="2609"/>
                      </a:lnTo>
                      <a:lnTo>
                        <a:pt x="1507" y="2609"/>
                      </a:lnTo>
                      <a:lnTo>
                        <a:pt x="1504" y="2601"/>
                      </a:lnTo>
                      <a:lnTo>
                        <a:pt x="1504" y="2604"/>
                      </a:lnTo>
                      <a:lnTo>
                        <a:pt x="1502" y="2601"/>
                      </a:lnTo>
                      <a:lnTo>
                        <a:pt x="1499" y="2601"/>
                      </a:lnTo>
                      <a:lnTo>
                        <a:pt x="1499" y="2599"/>
                      </a:lnTo>
                      <a:lnTo>
                        <a:pt x="1496" y="2591"/>
                      </a:lnTo>
                      <a:lnTo>
                        <a:pt x="1494" y="2588"/>
                      </a:lnTo>
                      <a:lnTo>
                        <a:pt x="1488" y="2588"/>
                      </a:lnTo>
                      <a:lnTo>
                        <a:pt x="1480" y="2582"/>
                      </a:lnTo>
                      <a:lnTo>
                        <a:pt x="1477" y="2585"/>
                      </a:lnTo>
                      <a:lnTo>
                        <a:pt x="1469" y="2582"/>
                      </a:lnTo>
                      <a:lnTo>
                        <a:pt x="1466" y="2585"/>
                      </a:lnTo>
                      <a:lnTo>
                        <a:pt x="1458" y="2580"/>
                      </a:lnTo>
                      <a:lnTo>
                        <a:pt x="1458" y="2577"/>
                      </a:lnTo>
                      <a:lnTo>
                        <a:pt x="1455" y="2577"/>
                      </a:lnTo>
                      <a:lnTo>
                        <a:pt x="1450" y="2580"/>
                      </a:lnTo>
                      <a:lnTo>
                        <a:pt x="1447" y="2580"/>
                      </a:lnTo>
                      <a:lnTo>
                        <a:pt x="1443" y="2573"/>
                      </a:lnTo>
                      <a:lnTo>
                        <a:pt x="1441" y="2580"/>
                      </a:lnTo>
                      <a:lnTo>
                        <a:pt x="1438" y="2580"/>
                      </a:lnTo>
                      <a:lnTo>
                        <a:pt x="1435" y="2582"/>
                      </a:lnTo>
                      <a:lnTo>
                        <a:pt x="1433" y="2577"/>
                      </a:lnTo>
                      <a:lnTo>
                        <a:pt x="1427" y="2573"/>
                      </a:lnTo>
                      <a:lnTo>
                        <a:pt x="1425" y="2571"/>
                      </a:lnTo>
                      <a:lnTo>
                        <a:pt x="1425" y="2573"/>
                      </a:lnTo>
                      <a:lnTo>
                        <a:pt x="1422" y="2573"/>
                      </a:lnTo>
                      <a:lnTo>
                        <a:pt x="1417" y="2568"/>
                      </a:lnTo>
                      <a:lnTo>
                        <a:pt x="1408" y="2568"/>
                      </a:lnTo>
                      <a:lnTo>
                        <a:pt x="1397" y="2563"/>
                      </a:lnTo>
                      <a:lnTo>
                        <a:pt x="1397" y="2565"/>
                      </a:lnTo>
                      <a:lnTo>
                        <a:pt x="1391" y="2563"/>
                      </a:lnTo>
                      <a:lnTo>
                        <a:pt x="1389" y="2563"/>
                      </a:lnTo>
                      <a:lnTo>
                        <a:pt x="1386" y="2565"/>
                      </a:lnTo>
                      <a:lnTo>
                        <a:pt x="1378" y="2565"/>
                      </a:lnTo>
                      <a:lnTo>
                        <a:pt x="1374" y="2565"/>
                      </a:lnTo>
                      <a:lnTo>
                        <a:pt x="1356" y="2568"/>
                      </a:lnTo>
                      <a:lnTo>
                        <a:pt x="1356" y="2571"/>
                      </a:lnTo>
                      <a:lnTo>
                        <a:pt x="1353" y="2573"/>
                      </a:lnTo>
                      <a:lnTo>
                        <a:pt x="1348" y="2573"/>
                      </a:lnTo>
                      <a:lnTo>
                        <a:pt x="1345" y="2571"/>
                      </a:lnTo>
                      <a:lnTo>
                        <a:pt x="1339" y="2573"/>
                      </a:lnTo>
                      <a:lnTo>
                        <a:pt x="1336" y="2573"/>
                      </a:lnTo>
                      <a:lnTo>
                        <a:pt x="1333" y="2577"/>
                      </a:lnTo>
                      <a:lnTo>
                        <a:pt x="1328" y="2582"/>
                      </a:lnTo>
                      <a:lnTo>
                        <a:pt x="1323" y="2582"/>
                      </a:lnTo>
                      <a:lnTo>
                        <a:pt x="1320" y="2582"/>
                      </a:lnTo>
                      <a:lnTo>
                        <a:pt x="1309" y="2588"/>
                      </a:lnTo>
                      <a:lnTo>
                        <a:pt x="1300" y="2593"/>
                      </a:lnTo>
                      <a:lnTo>
                        <a:pt x="1297" y="2591"/>
                      </a:lnTo>
                      <a:lnTo>
                        <a:pt x="1295" y="2593"/>
                      </a:lnTo>
                      <a:lnTo>
                        <a:pt x="1292" y="2593"/>
                      </a:lnTo>
                      <a:lnTo>
                        <a:pt x="1289" y="2596"/>
                      </a:lnTo>
                      <a:lnTo>
                        <a:pt x="1289" y="2599"/>
                      </a:lnTo>
                      <a:lnTo>
                        <a:pt x="1284" y="2599"/>
                      </a:lnTo>
                      <a:lnTo>
                        <a:pt x="1281" y="2601"/>
                      </a:lnTo>
                      <a:lnTo>
                        <a:pt x="1284" y="2607"/>
                      </a:lnTo>
                      <a:lnTo>
                        <a:pt x="1281" y="2609"/>
                      </a:lnTo>
                      <a:lnTo>
                        <a:pt x="1276" y="2609"/>
                      </a:lnTo>
                      <a:lnTo>
                        <a:pt x="1273" y="2613"/>
                      </a:lnTo>
                      <a:lnTo>
                        <a:pt x="1279" y="2618"/>
                      </a:lnTo>
                      <a:lnTo>
                        <a:pt x="1279" y="2621"/>
                      </a:lnTo>
                      <a:lnTo>
                        <a:pt x="1276" y="2621"/>
                      </a:lnTo>
                      <a:lnTo>
                        <a:pt x="1273" y="2621"/>
                      </a:lnTo>
                      <a:lnTo>
                        <a:pt x="1270" y="2621"/>
                      </a:lnTo>
                      <a:lnTo>
                        <a:pt x="1267" y="2624"/>
                      </a:lnTo>
                      <a:lnTo>
                        <a:pt x="1262" y="2624"/>
                      </a:lnTo>
                      <a:lnTo>
                        <a:pt x="1262" y="2629"/>
                      </a:lnTo>
                      <a:lnTo>
                        <a:pt x="1259" y="2626"/>
                      </a:lnTo>
                      <a:lnTo>
                        <a:pt x="1256" y="2632"/>
                      </a:lnTo>
                      <a:lnTo>
                        <a:pt x="1254" y="2632"/>
                      </a:lnTo>
                      <a:lnTo>
                        <a:pt x="1251" y="2626"/>
                      </a:lnTo>
                      <a:lnTo>
                        <a:pt x="1251" y="2621"/>
                      </a:lnTo>
                      <a:lnTo>
                        <a:pt x="1254" y="2621"/>
                      </a:lnTo>
                      <a:lnTo>
                        <a:pt x="1251" y="2618"/>
                      </a:lnTo>
                      <a:lnTo>
                        <a:pt x="1236" y="2609"/>
                      </a:lnTo>
                      <a:lnTo>
                        <a:pt x="1234" y="2604"/>
                      </a:lnTo>
                      <a:lnTo>
                        <a:pt x="1228" y="2604"/>
                      </a:lnTo>
                      <a:lnTo>
                        <a:pt x="1223" y="2607"/>
                      </a:lnTo>
                      <a:lnTo>
                        <a:pt x="1220" y="2607"/>
                      </a:lnTo>
                      <a:lnTo>
                        <a:pt x="1215" y="2604"/>
                      </a:lnTo>
                      <a:lnTo>
                        <a:pt x="1201" y="2601"/>
                      </a:lnTo>
                      <a:lnTo>
                        <a:pt x="1198" y="2599"/>
                      </a:lnTo>
                      <a:lnTo>
                        <a:pt x="1195" y="2596"/>
                      </a:lnTo>
                      <a:lnTo>
                        <a:pt x="1193" y="2596"/>
                      </a:lnTo>
                      <a:lnTo>
                        <a:pt x="1190" y="2596"/>
                      </a:lnTo>
                      <a:lnTo>
                        <a:pt x="1190" y="2593"/>
                      </a:lnTo>
                      <a:lnTo>
                        <a:pt x="1185" y="2593"/>
                      </a:lnTo>
                      <a:lnTo>
                        <a:pt x="1182" y="2596"/>
                      </a:lnTo>
                      <a:lnTo>
                        <a:pt x="1176" y="2596"/>
                      </a:lnTo>
                      <a:lnTo>
                        <a:pt x="1176" y="2593"/>
                      </a:lnTo>
                      <a:lnTo>
                        <a:pt x="1179" y="2591"/>
                      </a:lnTo>
                      <a:lnTo>
                        <a:pt x="1179" y="2588"/>
                      </a:lnTo>
                      <a:lnTo>
                        <a:pt x="1176" y="2585"/>
                      </a:lnTo>
                      <a:lnTo>
                        <a:pt x="1174" y="2582"/>
                      </a:lnTo>
                      <a:lnTo>
                        <a:pt x="1162" y="2582"/>
                      </a:lnTo>
                      <a:lnTo>
                        <a:pt x="1159" y="2580"/>
                      </a:lnTo>
                      <a:lnTo>
                        <a:pt x="1157" y="2580"/>
                      </a:lnTo>
                      <a:lnTo>
                        <a:pt x="1154" y="2580"/>
                      </a:lnTo>
                      <a:lnTo>
                        <a:pt x="1151" y="2577"/>
                      </a:lnTo>
                      <a:lnTo>
                        <a:pt x="1143" y="2577"/>
                      </a:lnTo>
                      <a:lnTo>
                        <a:pt x="1126" y="2571"/>
                      </a:lnTo>
                      <a:lnTo>
                        <a:pt x="1121" y="2571"/>
                      </a:lnTo>
                      <a:lnTo>
                        <a:pt x="1118" y="2568"/>
                      </a:lnTo>
                      <a:lnTo>
                        <a:pt x="1116" y="2568"/>
                      </a:lnTo>
                      <a:lnTo>
                        <a:pt x="1116" y="2563"/>
                      </a:lnTo>
                      <a:lnTo>
                        <a:pt x="1113" y="2563"/>
                      </a:lnTo>
                      <a:lnTo>
                        <a:pt x="1113" y="2565"/>
                      </a:lnTo>
                      <a:lnTo>
                        <a:pt x="1110" y="2563"/>
                      </a:lnTo>
                      <a:lnTo>
                        <a:pt x="1113" y="2560"/>
                      </a:lnTo>
                      <a:lnTo>
                        <a:pt x="1110" y="2560"/>
                      </a:lnTo>
                      <a:lnTo>
                        <a:pt x="1113" y="2557"/>
                      </a:lnTo>
                      <a:lnTo>
                        <a:pt x="1110" y="2557"/>
                      </a:lnTo>
                      <a:lnTo>
                        <a:pt x="1116" y="2557"/>
                      </a:lnTo>
                      <a:lnTo>
                        <a:pt x="1110" y="2555"/>
                      </a:lnTo>
                      <a:lnTo>
                        <a:pt x="1116" y="2552"/>
                      </a:lnTo>
                      <a:lnTo>
                        <a:pt x="1116" y="2547"/>
                      </a:lnTo>
                      <a:lnTo>
                        <a:pt x="1113" y="2547"/>
                      </a:lnTo>
                      <a:lnTo>
                        <a:pt x="1113" y="2538"/>
                      </a:lnTo>
                      <a:lnTo>
                        <a:pt x="1110" y="2540"/>
                      </a:lnTo>
                      <a:lnTo>
                        <a:pt x="1110" y="2538"/>
                      </a:lnTo>
                      <a:lnTo>
                        <a:pt x="1110" y="2535"/>
                      </a:lnTo>
                      <a:lnTo>
                        <a:pt x="1113" y="2527"/>
                      </a:lnTo>
                      <a:lnTo>
                        <a:pt x="1113" y="2524"/>
                      </a:lnTo>
                      <a:lnTo>
                        <a:pt x="1116" y="2508"/>
                      </a:lnTo>
                      <a:lnTo>
                        <a:pt x="1126" y="2483"/>
                      </a:lnTo>
                      <a:lnTo>
                        <a:pt x="1129" y="2480"/>
                      </a:lnTo>
                      <a:lnTo>
                        <a:pt x="1132" y="2472"/>
                      </a:lnTo>
                      <a:lnTo>
                        <a:pt x="1138" y="2453"/>
                      </a:lnTo>
                      <a:lnTo>
                        <a:pt x="1143" y="2447"/>
                      </a:lnTo>
                      <a:lnTo>
                        <a:pt x="1143" y="2445"/>
                      </a:lnTo>
                      <a:lnTo>
                        <a:pt x="1151" y="2433"/>
                      </a:lnTo>
                      <a:lnTo>
                        <a:pt x="1149" y="2430"/>
                      </a:lnTo>
                      <a:lnTo>
                        <a:pt x="1143" y="2430"/>
                      </a:lnTo>
                      <a:lnTo>
                        <a:pt x="1141" y="2425"/>
                      </a:lnTo>
                      <a:lnTo>
                        <a:pt x="1138" y="2427"/>
                      </a:lnTo>
                      <a:lnTo>
                        <a:pt x="1138" y="2425"/>
                      </a:lnTo>
                      <a:lnTo>
                        <a:pt x="1134" y="2425"/>
                      </a:lnTo>
                      <a:lnTo>
                        <a:pt x="1138" y="2422"/>
                      </a:lnTo>
                      <a:lnTo>
                        <a:pt x="1134" y="2422"/>
                      </a:lnTo>
                      <a:lnTo>
                        <a:pt x="1129" y="2419"/>
                      </a:lnTo>
                      <a:lnTo>
                        <a:pt x="1126" y="2425"/>
                      </a:lnTo>
                      <a:lnTo>
                        <a:pt x="1126" y="2422"/>
                      </a:lnTo>
                      <a:lnTo>
                        <a:pt x="1124" y="2425"/>
                      </a:lnTo>
                      <a:lnTo>
                        <a:pt x="1121" y="2422"/>
                      </a:lnTo>
                      <a:lnTo>
                        <a:pt x="1124" y="2422"/>
                      </a:lnTo>
                      <a:lnTo>
                        <a:pt x="1124" y="2419"/>
                      </a:lnTo>
                      <a:lnTo>
                        <a:pt x="1118" y="2422"/>
                      </a:lnTo>
                      <a:lnTo>
                        <a:pt x="1116" y="2419"/>
                      </a:lnTo>
                      <a:lnTo>
                        <a:pt x="1116" y="2422"/>
                      </a:lnTo>
                      <a:lnTo>
                        <a:pt x="1113" y="2419"/>
                      </a:lnTo>
                      <a:lnTo>
                        <a:pt x="1108" y="2419"/>
                      </a:lnTo>
                      <a:lnTo>
                        <a:pt x="1108" y="2414"/>
                      </a:lnTo>
                      <a:lnTo>
                        <a:pt x="1108" y="2417"/>
                      </a:lnTo>
                      <a:lnTo>
                        <a:pt x="1105" y="2414"/>
                      </a:lnTo>
                      <a:lnTo>
                        <a:pt x="1102" y="2414"/>
                      </a:lnTo>
                      <a:lnTo>
                        <a:pt x="1102" y="2417"/>
                      </a:lnTo>
                      <a:lnTo>
                        <a:pt x="1098" y="2414"/>
                      </a:lnTo>
                      <a:lnTo>
                        <a:pt x="1098" y="2417"/>
                      </a:lnTo>
                      <a:lnTo>
                        <a:pt x="1096" y="2414"/>
                      </a:lnTo>
                      <a:lnTo>
                        <a:pt x="1093" y="2414"/>
                      </a:lnTo>
                      <a:lnTo>
                        <a:pt x="1093" y="2417"/>
                      </a:lnTo>
                      <a:lnTo>
                        <a:pt x="1090" y="2414"/>
                      </a:lnTo>
                      <a:lnTo>
                        <a:pt x="1088" y="2417"/>
                      </a:lnTo>
                      <a:lnTo>
                        <a:pt x="1085" y="2411"/>
                      </a:lnTo>
                      <a:lnTo>
                        <a:pt x="1082" y="2411"/>
                      </a:lnTo>
                      <a:lnTo>
                        <a:pt x="1082" y="2417"/>
                      </a:lnTo>
                      <a:lnTo>
                        <a:pt x="1082" y="2411"/>
                      </a:lnTo>
                      <a:lnTo>
                        <a:pt x="1080" y="2411"/>
                      </a:lnTo>
                      <a:lnTo>
                        <a:pt x="1077" y="2406"/>
                      </a:lnTo>
                      <a:lnTo>
                        <a:pt x="1074" y="2406"/>
                      </a:lnTo>
                      <a:lnTo>
                        <a:pt x="1072" y="2409"/>
                      </a:lnTo>
                      <a:lnTo>
                        <a:pt x="1072" y="2406"/>
                      </a:lnTo>
                      <a:lnTo>
                        <a:pt x="1065" y="2403"/>
                      </a:lnTo>
                      <a:lnTo>
                        <a:pt x="1069" y="2403"/>
                      </a:lnTo>
                      <a:lnTo>
                        <a:pt x="1060" y="2403"/>
                      </a:lnTo>
                      <a:lnTo>
                        <a:pt x="1057" y="2403"/>
                      </a:lnTo>
                      <a:lnTo>
                        <a:pt x="1057" y="2406"/>
                      </a:lnTo>
                      <a:lnTo>
                        <a:pt x="1052" y="2406"/>
                      </a:lnTo>
                      <a:lnTo>
                        <a:pt x="1049" y="2411"/>
                      </a:lnTo>
                      <a:lnTo>
                        <a:pt x="1047" y="2409"/>
                      </a:lnTo>
                      <a:lnTo>
                        <a:pt x="1047" y="2411"/>
                      </a:lnTo>
                      <a:lnTo>
                        <a:pt x="1044" y="2409"/>
                      </a:lnTo>
                      <a:lnTo>
                        <a:pt x="1041" y="2409"/>
                      </a:lnTo>
                      <a:lnTo>
                        <a:pt x="1041" y="2406"/>
                      </a:lnTo>
                      <a:lnTo>
                        <a:pt x="1039" y="2409"/>
                      </a:lnTo>
                      <a:lnTo>
                        <a:pt x="1036" y="2409"/>
                      </a:lnTo>
                      <a:lnTo>
                        <a:pt x="1033" y="2409"/>
                      </a:lnTo>
                      <a:lnTo>
                        <a:pt x="1033" y="2406"/>
                      </a:lnTo>
                      <a:lnTo>
                        <a:pt x="1033" y="2403"/>
                      </a:lnTo>
                      <a:lnTo>
                        <a:pt x="1029" y="2403"/>
                      </a:lnTo>
                      <a:lnTo>
                        <a:pt x="1029" y="2406"/>
                      </a:lnTo>
                      <a:lnTo>
                        <a:pt x="1027" y="2406"/>
                      </a:lnTo>
                      <a:lnTo>
                        <a:pt x="1027" y="2403"/>
                      </a:lnTo>
                      <a:lnTo>
                        <a:pt x="1024" y="2406"/>
                      </a:lnTo>
                      <a:lnTo>
                        <a:pt x="1021" y="2406"/>
                      </a:lnTo>
                      <a:lnTo>
                        <a:pt x="1019" y="2403"/>
                      </a:lnTo>
                      <a:lnTo>
                        <a:pt x="1019" y="2397"/>
                      </a:lnTo>
                      <a:lnTo>
                        <a:pt x="1016" y="2397"/>
                      </a:lnTo>
                      <a:lnTo>
                        <a:pt x="1013" y="2406"/>
                      </a:lnTo>
                      <a:lnTo>
                        <a:pt x="1008" y="2409"/>
                      </a:lnTo>
                      <a:lnTo>
                        <a:pt x="1005" y="2406"/>
                      </a:lnTo>
                      <a:lnTo>
                        <a:pt x="1008" y="2406"/>
                      </a:lnTo>
                      <a:lnTo>
                        <a:pt x="1008" y="2400"/>
                      </a:lnTo>
                      <a:lnTo>
                        <a:pt x="996" y="2397"/>
                      </a:lnTo>
                      <a:lnTo>
                        <a:pt x="996" y="2403"/>
                      </a:lnTo>
                      <a:lnTo>
                        <a:pt x="994" y="2403"/>
                      </a:lnTo>
                      <a:lnTo>
                        <a:pt x="988" y="2397"/>
                      </a:lnTo>
                      <a:lnTo>
                        <a:pt x="980" y="2397"/>
                      </a:lnTo>
                      <a:lnTo>
                        <a:pt x="980" y="2394"/>
                      </a:lnTo>
                      <a:lnTo>
                        <a:pt x="977" y="2394"/>
                      </a:lnTo>
                      <a:lnTo>
                        <a:pt x="977" y="2389"/>
                      </a:lnTo>
                      <a:lnTo>
                        <a:pt x="975" y="2386"/>
                      </a:lnTo>
                      <a:lnTo>
                        <a:pt x="975" y="2389"/>
                      </a:lnTo>
                      <a:lnTo>
                        <a:pt x="975" y="2392"/>
                      </a:lnTo>
                      <a:lnTo>
                        <a:pt x="967" y="2392"/>
                      </a:lnTo>
                      <a:lnTo>
                        <a:pt x="967" y="2394"/>
                      </a:lnTo>
                      <a:lnTo>
                        <a:pt x="967" y="2397"/>
                      </a:lnTo>
                      <a:lnTo>
                        <a:pt x="964" y="2394"/>
                      </a:lnTo>
                      <a:lnTo>
                        <a:pt x="960" y="2397"/>
                      </a:lnTo>
                      <a:lnTo>
                        <a:pt x="964" y="2397"/>
                      </a:lnTo>
                      <a:lnTo>
                        <a:pt x="964" y="2400"/>
                      </a:lnTo>
                      <a:lnTo>
                        <a:pt x="960" y="2394"/>
                      </a:lnTo>
                      <a:lnTo>
                        <a:pt x="952" y="2394"/>
                      </a:lnTo>
                      <a:lnTo>
                        <a:pt x="950" y="2394"/>
                      </a:lnTo>
                      <a:lnTo>
                        <a:pt x="947" y="2394"/>
                      </a:lnTo>
                      <a:lnTo>
                        <a:pt x="944" y="2394"/>
                      </a:lnTo>
                      <a:lnTo>
                        <a:pt x="942" y="2397"/>
                      </a:lnTo>
                      <a:lnTo>
                        <a:pt x="934" y="2392"/>
                      </a:lnTo>
                      <a:lnTo>
                        <a:pt x="925" y="2394"/>
                      </a:lnTo>
                      <a:lnTo>
                        <a:pt x="925" y="2397"/>
                      </a:lnTo>
                      <a:lnTo>
                        <a:pt x="919" y="2397"/>
                      </a:lnTo>
                      <a:lnTo>
                        <a:pt x="922" y="2400"/>
                      </a:lnTo>
                      <a:lnTo>
                        <a:pt x="919" y="2400"/>
                      </a:lnTo>
                      <a:lnTo>
                        <a:pt x="917" y="2403"/>
                      </a:lnTo>
                      <a:lnTo>
                        <a:pt x="914" y="2403"/>
                      </a:lnTo>
                      <a:lnTo>
                        <a:pt x="911" y="2406"/>
                      </a:lnTo>
                      <a:lnTo>
                        <a:pt x="909" y="2403"/>
                      </a:lnTo>
                      <a:lnTo>
                        <a:pt x="909" y="2406"/>
                      </a:lnTo>
                      <a:lnTo>
                        <a:pt x="906" y="2409"/>
                      </a:lnTo>
                      <a:lnTo>
                        <a:pt x="906" y="2406"/>
                      </a:lnTo>
                      <a:lnTo>
                        <a:pt x="903" y="2406"/>
                      </a:lnTo>
                      <a:lnTo>
                        <a:pt x="900" y="2406"/>
                      </a:lnTo>
                      <a:lnTo>
                        <a:pt x="898" y="2409"/>
                      </a:lnTo>
                      <a:lnTo>
                        <a:pt x="889" y="2411"/>
                      </a:lnTo>
                      <a:lnTo>
                        <a:pt x="883" y="2417"/>
                      </a:lnTo>
                      <a:lnTo>
                        <a:pt x="878" y="2419"/>
                      </a:lnTo>
                      <a:lnTo>
                        <a:pt x="875" y="2422"/>
                      </a:lnTo>
                      <a:lnTo>
                        <a:pt x="873" y="2419"/>
                      </a:lnTo>
                      <a:lnTo>
                        <a:pt x="873" y="2422"/>
                      </a:lnTo>
                      <a:lnTo>
                        <a:pt x="870" y="2422"/>
                      </a:lnTo>
                      <a:lnTo>
                        <a:pt x="867" y="2425"/>
                      </a:lnTo>
                      <a:lnTo>
                        <a:pt x="865" y="2427"/>
                      </a:lnTo>
                      <a:lnTo>
                        <a:pt x="862" y="2427"/>
                      </a:lnTo>
                      <a:lnTo>
                        <a:pt x="858" y="2425"/>
                      </a:lnTo>
                      <a:lnTo>
                        <a:pt x="856" y="2427"/>
                      </a:lnTo>
                      <a:lnTo>
                        <a:pt x="856" y="2425"/>
                      </a:lnTo>
                      <a:lnTo>
                        <a:pt x="853" y="2427"/>
                      </a:lnTo>
                      <a:lnTo>
                        <a:pt x="848" y="2427"/>
                      </a:lnTo>
                      <a:lnTo>
                        <a:pt x="842" y="2427"/>
                      </a:lnTo>
                      <a:lnTo>
                        <a:pt x="842" y="2433"/>
                      </a:lnTo>
                      <a:lnTo>
                        <a:pt x="837" y="2430"/>
                      </a:lnTo>
                      <a:lnTo>
                        <a:pt x="837" y="2433"/>
                      </a:lnTo>
                      <a:lnTo>
                        <a:pt x="834" y="2433"/>
                      </a:lnTo>
                      <a:lnTo>
                        <a:pt x="834" y="2435"/>
                      </a:lnTo>
                      <a:lnTo>
                        <a:pt x="831" y="2435"/>
                      </a:lnTo>
                      <a:lnTo>
                        <a:pt x="829" y="2435"/>
                      </a:lnTo>
                      <a:lnTo>
                        <a:pt x="829" y="2439"/>
                      </a:lnTo>
                      <a:lnTo>
                        <a:pt x="829" y="2435"/>
                      </a:lnTo>
                      <a:lnTo>
                        <a:pt x="825" y="2439"/>
                      </a:lnTo>
                      <a:lnTo>
                        <a:pt x="820" y="2445"/>
                      </a:lnTo>
                      <a:lnTo>
                        <a:pt x="817" y="2445"/>
                      </a:lnTo>
                      <a:lnTo>
                        <a:pt x="814" y="2445"/>
                      </a:lnTo>
                      <a:lnTo>
                        <a:pt x="812" y="2447"/>
                      </a:lnTo>
                      <a:lnTo>
                        <a:pt x="809" y="2447"/>
                      </a:lnTo>
                      <a:lnTo>
                        <a:pt x="806" y="2455"/>
                      </a:lnTo>
                      <a:lnTo>
                        <a:pt x="804" y="2453"/>
                      </a:lnTo>
                      <a:lnTo>
                        <a:pt x="801" y="2455"/>
                      </a:lnTo>
                      <a:lnTo>
                        <a:pt x="804" y="2455"/>
                      </a:lnTo>
                      <a:lnTo>
                        <a:pt x="801" y="2458"/>
                      </a:lnTo>
                      <a:lnTo>
                        <a:pt x="798" y="2455"/>
                      </a:lnTo>
                      <a:lnTo>
                        <a:pt x="796" y="2455"/>
                      </a:lnTo>
                      <a:lnTo>
                        <a:pt x="793" y="2461"/>
                      </a:lnTo>
                      <a:lnTo>
                        <a:pt x="796" y="2463"/>
                      </a:lnTo>
                      <a:lnTo>
                        <a:pt x="793" y="2466"/>
                      </a:lnTo>
                      <a:lnTo>
                        <a:pt x="789" y="2463"/>
                      </a:lnTo>
                      <a:lnTo>
                        <a:pt x="789" y="2469"/>
                      </a:lnTo>
                      <a:lnTo>
                        <a:pt x="784" y="2463"/>
                      </a:lnTo>
                      <a:lnTo>
                        <a:pt x="784" y="2466"/>
                      </a:lnTo>
                      <a:lnTo>
                        <a:pt x="781" y="2466"/>
                      </a:lnTo>
                      <a:lnTo>
                        <a:pt x="781" y="2472"/>
                      </a:lnTo>
                      <a:lnTo>
                        <a:pt x="779" y="2472"/>
                      </a:lnTo>
                      <a:lnTo>
                        <a:pt x="779" y="2478"/>
                      </a:lnTo>
                      <a:lnTo>
                        <a:pt x="776" y="2478"/>
                      </a:lnTo>
                      <a:lnTo>
                        <a:pt x="773" y="2478"/>
                      </a:lnTo>
                      <a:lnTo>
                        <a:pt x="773" y="2475"/>
                      </a:lnTo>
                      <a:lnTo>
                        <a:pt x="771" y="2480"/>
                      </a:lnTo>
                      <a:lnTo>
                        <a:pt x="768" y="2478"/>
                      </a:lnTo>
                      <a:lnTo>
                        <a:pt x="768" y="2483"/>
                      </a:lnTo>
                      <a:lnTo>
                        <a:pt x="762" y="2486"/>
                      </a:lnTo>
                      <a:lnTo>
                        <a:pt x="760" y="2486"/>
                      </a:lnTo>
                      <a:lnTo>
                        <a:pt x="760" y="2488"/>
                      </a:lnTo>
                      <a:lnTo>
                        <a:pt x="756" y="2491"/>
                      </a:lnTo>
                      <a:lnTo>
                        <a:pt x="753" y="2488"/>
                      </a:lnTo>
                      <a:lnTo>
                        <a:pt x="753" y="2491"/>
                      </a:lnTo>
                      <a:lnTo>
                        <a:pt x="751" y="2491"/>
                      </a:lnTo>
                      <a:lnTo>
                        <a:pt x="745" y="2491"/>
                      </a:lnTo>
                      <a:lnTo>
                        <a:pt x="743" y="2494"/>
                      </a:lnTo>
                      <a:lnTo>
                        <a:pt x="740" y="2494"/>
                      </a:lnTo>
                      <a:lnTo>
                        <a:pt x="740" y="2496"/>
                      </a:lnTo>
                      <a:lnTo>
                        <a:pt x="737" y="2496"/>
                      </a:lnTo>
                      <a:lnTo>
                        <a:pt x="732" y="2496"/>
                      </a:lnTo>
                      <a:lnTo>
                        <a:pt x="735" y="2499"/>
                      </a:lnTo>
                      <a:lnTo>
                        <a:pt x="732" y="2502"/>
                      </a:lnTo>
                      <a:lnTo>
                        <a:pt x="724" y="2499"/>
                      </a:lnTo>
                      <a:lnTo>
                        <a:pt x="724" y="2502"/>
                      </a:lnTo>
                      <a:lnTo>
                        <a:pt x="729" y="2504"/>
                      </a:lnTo>
                      <a:lnTo>
                        <a:pt x="727" y="2508"/>
                      </a:lnTo>
                      <a:lnTo>
                        <a:pt x="724" y="2508"/>
                      </a:lnTo>
                      <a:lnTo>
                        <a:pt x="727" y="2511"/>
                      </a:lnTo>
                      <a:lnTo>
                        <a:pt x="724" y="2513"/>
                      </a:lnTo>
                      <a:lnTo>
                        <a:pt x="727" y="2513"/>
                      </a:lnTo>
                      <a:lnTo>
                        <a:pt x="729" y="2516"/>
                      </a:lnTo>
                      <a:lnTo>
                        <a:pt x="724" y="2516"/>
                      </a:lnTo>
                      <a:lnTo>
                        <a:pt x="720" y="2516"/>
                      </a:lnTo>
                      <a:lnTo>
                        <a:pt x="718" y="2519"/>
                      </a:lnTo>
                      <a:lnTo>
                        <a:pt x="718" y="2524"/>
                      </a:lnTo>
                      <a:lnTo>
                        <a:pt x="718" y="2527"/>
                      </a:lnTo>
                      <a:lnTo>
                        <a:pt x="715" y="2524"/>
                      </a:lnTo>
                      <a:lnTo>
                        <a:pt x="715" y="2527"/>
                      </a:lnTo>
                      <a:lnTo>
                        <a:pt x="715" y="2530"/>
                      </a:lnTo>
                      <a:lnTo>
                        <a:pt x="718" y="2530"/>
                      </a:lnTo>
                      <a:lnTo>
                        <a:pt x="720" y="2527"/>
                      </a:lnTo>
                      <a:lnTo>
                        <a:pt x="720" y="2532"/>
                      </a:lnTo>
                      <a:lnTo>
                        <a:pt x="718" y="2532"/>
                      </a:lnTo>
                      <a:lnTo>
                        <a:pt x="715" y="2532"/>
                      </a:lnTo>
                      <a:lnTo>
                        <a:pt x="712" y="2532"/>
                      </a:lnTo>
                      <a:lnTo>
                        <a:pt x="707" y="2540"/>
                      </a:lnTo>
                      <a:lnTo>
                        <a:pt x="707" y="2538"/>
                      </a:lnTo>
                      <a:lnTo>
                        <a:pt x="707" y="2540"/>
                      </a:lnTo>
                      <a:lnTo>
                        <a:pt x="702" y="2540"/>
                      </a:lnTo>
                      <a:lnTo>
                        <a:pt x="699" y="2544"/>
                      </a:lnTo>
                      <a:lnTo>
                        <a:pt x="694" y="2544"/>
                      </a:lnTo>
                      <a:lnTo>
                        <a:pt x="694" y="2547"/>
                      </a:lnTo>
                      <a:lnTo>
                        <a:pt x="691" y="2547"/>
                      </a:lnTo>
                      <a:lnTo>
                        <a:pt x="691" y="2549"/>
                      </a:lnTo>
                      <a:lnTo>
                        <a:pt x="682" y="2552"/>
                      </a:lnTo>
                      <a:lnTo>
                        <a:pt x="679" y="2552"/>
                      </a:lnTo>
                      <a:lnTo>
                        <a:pt x="679" y="2555"/>
                      </a:lnTo>
                      <a:lnTo>
                        <a:pt x="676" y="2555"/>
                      </a:lnTo>
                      <a:lnTo>
                        <a:pt x="674" y="2557"/>
                      </a:lnTo>
                      <a:lnTo>
                        <a:pt x="671" y="2555"/>
                      </a:lnTo>
                      <a:lnTo>
                        <a:pt x="666" y="2560"/>
                      </a:lnTo>
                      <a:lnTo>
                        <a:pt x="668" y="2563"/>
                      </a:lnTo>
                      <a:lnTo>
                        <a:pt x="663" y="2563"/>
                      </a:lnTo>
                      <a:lnTo>
                        <a:pt x="663" y="2565"/>
                      </a:lnTo>
                      <a:lnTo>
                        <a:pt x="663" y="2568"/>
                      </a:lnTo>
                      <a:lnTo>
                        <a:pt x="658" y="2565"/>
                      </a:lnTo>
                      <a:lnTo>
                        <a:pt x="658" y="2568"/>
                      </a:lnTo>
                      <a:lnTo>
                        <a:pt x="641" y="2573"/>
                      </a:lnTo>
                      <a:lnTo>
                        <a:pt x="641" y="2580"/>
                      </a:lnTo>
                      <a:lnTo>
                        <a:pt x="638" y="2582"/>
                      </a:lnTo>
                      <a:lnTo>
                        <a:pt x="638" y="2580"/>
                      </a:lnTo>
                      <a:lnTo>
                        <a:pt x="635" y="2582"/>
                      </a:lnTo>
                      <a:lnTo>
                        <a:pt x="630" y="2593"/>
                      </a:lnTo>
                      <a:lnTo>
                        <a:pt x="625" y="2601"/>
                      </a:lnTo>
                      <a:lnTo>
                        <a:pt x="622" y="2604"/>
                      </a:lnTo>
                      <a:lnTo>
                        <a:pt x="618" y="2604"/>
                      </a:lnTo>
                      <a:lnTo>
                        <a:pt x="594" y="2601"/>
                      </a:lnTo>
                      <a:lnTo>
                        <a:pt x="589" y="2599"/>
                      </a:lnTo>
                      <a:lnTo>
                        <a:pt x="591" y="2596"/>
                      </a:lnTo>
                      <a:lnTo>
                        <a:pt x="586" y="2599"/>
                      </a:lnTo>
                      <a:lnTo>
                        <a:pt x="586" y="2601"/>
                      </a:lnTo>
                      <a:lnTo>
                        <a:pt x="582" y="2601"/>
                      </a:lnTo>
                      <a:lnTo>
                        <a:pt x="580" y="2601"/>
                      </a:lnTo>
                      <a:lnTo>
                        <a:pt x="580" y="2604"/>
                      </a:lnTo>
                      <a:lnTo>
                        <a:pt x="572" y="2601"/>
                      </a:lnTo>
                      <a:lnTo>
                        <a:pt x="569" y="2607"/>
                      </a:lnTo>
                      <a:lnTo>
                        <a:pt x="563" y="2609"/>
                      </a:lnTo>
                      <a:lnTo>
                        <a:pt x="563" y="2616"/>
                      </a:lnTo>
                      <a:lnTo>
                        <a:pt x="558" y="2621"/>
                      </a:lnTo>
                      <a:lnTo>
                        <a:pt x="555" y="2618"/>
                      </a:lnTo>
                      <a:lnTo>
                        <a:pt x="553" y="2621"/>
                      </a:lnTo>
                      <a:lnTo>
                        <a:pt x="549" y="2626"/>
                      </a:lnTo>
                      <a:lnTo>
                        <a:pt x="546" y="2624"/>
                      </a:lnTo>
                      <a:lnTo>
                        <a:pt x="544" y="2629"/>
                      </a:lnTo>
                      <a:lnTo>
                        <a:pt x="538" y="2632"/>
                      </a:lnTo>
                      <a:lnTo>
                        <a:pt x="538" y="2634"/>
                      </a:lnTo>
                      <a:lnTo>
                        <a:pt x="541" y="2637"/>
                      </a:lnTo>
                      <a:lnTo>
                        <a:pt x="536" y="2637"/>
                      </a:lnTo>
                      <a:lnTo>
                        <a:pt x="533" y="2637"/>
                      </a:lnTo>
                      <a:lnTo>
                        <a:pt x="533" y="2640"/>
                      </a:lnTo>
                      <a:lnTo>
                        <a:pt x="530" y="2640"/>
                      </a:lnTo>
                      <a:lnTo>
                        <a:pt x="528" y="2637"/>
                      </a:lnTo>
                      <a:lnTo>
                        <a:pt x="530" y="2643"/>
                      </a:lnTo>
                      <a:lnTo>
                        <a:pt x="528" y="2649"/>
                      </a:lnTo>
                      <a:lnTo>
                        <a:pt x="525" y="2645"/>
                      </a:lnTo>
                      <a:lnTo>
                        <a:pt x="522" y="2652"/>
                      </a:lnTo>
                      <a:lnTo>
                        <a:pt x="513" y="2652"/>
                      </a:lnTo>
                      <a:lnTo>
                        <a:pt x="513" y="2654"/>
                      </a:lnTo>
                      <a:lnTo>
                        <a:pt x="513" y="2657"/>
                      </a:lnTo>
                      <a:lnTo>
                        <a:pt x="511" y="2657"/>
                      </a:lnTo>
                      <a:lnTo>
                        <a:pt x="508" y="2654"/>
                      </a:lnTo>
                      <a:lnTo>
                        <a:pt x="508" y="2657"/>
                      </a:lnTo>
                      <a:lnTo>
                        <a:pt x="505" y="2660"/>
                      </a:lnTo>
                      <a:lnTo>
                        <a:pt x="505" y="2662"/>
                      </a:lnTo>
                      <a:lnTo>
                        <a:pt x="505" y="2665"/>
                      </a:lnTo>
                      <a:lnTo>
                        <a:pt x="503" y="2665"/>
                      </a:lnTo>
                      <a:lnTo>
                        <a:pt x="495" y="2673"/>
                      </a:lnTo>
                      <a:lnTo>
                        <a:pt x="486" y="2678"/>
                      </a:lnTo>
                      <a:lnTo>
                        <a:pt x="484" y="2678"/>
                      </a:lnTo>
                      <a:lnTo>
                        <a:pt x="484" y="2676"/>
                      </a:lnTo>
                      <a:lnTo>
                        <a:pt x="480" y="2676"/>
                      </a:lnTo>
                      <a:lnTo>
                        <a:pt x="477" y="2682"/>
                      </a:lnTo>
                      <a:lnTo>
                        <a:pt x="472" y="2685"/>
                      </a:lnTo>
                      <a:lnTo>
                        <a:pt x="475" y="2685"/>
                      </a:lnTo>
                      <a:lnTo>
                        <a:pt x="472" y="2687"/>
                      </a:lnTo>
                      <a:lnTo>
                        <a:pt x="472" y="2690"/>
                      </a:lnTo>
                      <a:lnTo>
                        <a:pt x="469" y="2690"/>
                      </a:lnTo>
                      <a:lnTo>
                        <a:pt x="469" y="2687"/>
                      </a:lnTo>
                      <a:lnTo>
                        <a:pt x="467" y="2687"/>
                      </a:lnTo>
                      <a:lnTo>
                        <a:pt x="459" y="2693"/>
                      </a:lnTo>
                      <a:lnTo>
                        <a:pt x="453" y="2687"/>
                      </a:lnTo>
                      <a:lnTo>
                        <a:pt x="447" y="2690"/>
                      </a:lnTo>
                      <a:lnTo>
                        <a:pt x="444" y="2690"/>
                      </a:lnTo>
                      <a:lnTo>
                        <a:pt x="439" y="2685"/>
                      </a:lnTo>
                      <a:lnTo>
                        <a:pt x="436" y="2685"/>
                      </a:lnTo>
                      <a:lnTo>
                        <a:pt x="434" y="2685"/>
                      </a:lnTo>
                      <a:lnTo>
                        <a:pt x="431" y="2687"/>
                      </a:lnTo>
                      <a:lnTo>
                        <a:pt x="426" y="2687"/>
                      </a:lnTo>
                      <a:lnTo>
                        <a:pt x="426" y="2690"/>
                      </a:lnTo>
                      <a:lnTo>
                        <a:pt x="417" y="2698"/>
                      </a:lnTo>
                      <a:lnTo>
                        <a:pt x="417" y="2701"/>
                      </a:lnTo>
                      <a:lnTo>
                        <a:pt x="415" y="2698"/>
                      </a:lnTo>
                      <a:lnTo>
                        <a:pt x="415" y="2703"/>
                      </a:lnTo>
                      <a:lnTo>
                        <a:pt x="411" y="2703"/>
                      </a:lnTo>
                      <a:lnTo>
                        <a:pt x="411" y="2706"/>
                      </a:lnTo>
                      <a:lnTo>
                        <a:pt x="408" y="2706"/>
                      </a:lnTo>
                      <a:lnTo>
                        <a:pt x="406" y="2714"/>
                      </a:lnTo>
                      <a:lnTo>
                        <a:pt x="403" y="2718"/>
                      </a:lnTo>
                      <a:lnTo>
                        <a:pt x="398" y="2721"/>
                      </a:lnTo>
                      <a:lnTo>
                        <a:pt x="398" y="2718"/>
                      </a:lnTo>
                      <a:lnTo>
                        <a:pt x="395" y="2714"/>
                      </a:lnTo>
                      <a:lnTo>
                        <a:pt x="392" y="2723"/>
                      </a:lnTo>
                      <a:lnTo>
                        <a:pt x="392" y="2721"/>
                      </a:lnTo>
                      <a:lnTo>
                        <a:pt x="390" y="2721"/>
                      </a:lnTo>
                      <a:lnTo>
                        <a:pt x="387" y="2726"/>
                      </a:lnTo>
                      <a:lnTo>
                        <a:pt x="390" y="2729"/>
                      </a:lnTo>
                      <a:lnTo>
                        <a:pt x="387" y="2734"/>
                      </a:lnTo>
                      <a:lnTo>
                        <a:pt x="382" y="2742"/>
                      </a:lnTo>
                      <a:lnTo>
                        <a:pt x="382" y="2745"/>
                      </a:lnTo>
                      <a:lnTo>
                        <a:pt x="378" y="2745"/>
                      </a:lnTo>
                      <a:lnTo>
                        <a:pt x="375" y="2745"/>
                      </a:lnTo>
                      <a:lnTo>
                        <a:pt x="375" y="2747"/>
                      </a:lnTo>
                      <a:lnTo>
                        <a:pt x="373" y="2747"/>
                      </a:lnTo>
                      <a:lnTo>
                        <a:pt x="367" y="2747"/>
                      </a:lnTo>
                      <a:lnTo>
                        <a:pt x="367" y="2751"/>
                      </a:lnTo>
                      <a:lnTo>
                        <a:pt x="365" y="2747"/>
                      </a:lnTo>
                      <a:lnTo>
                        <a:pt x="365" y="2751"/>
                      </a:lnTo>
                      <a:lnTo>
                        <a:pt x="365" y="2754"/>
                      </a:lnTo>
                      <a:lnTo>
                        <a:pt x="362" y="2754"/>
                      </a:lnTo>
                      <a:lnTo>
                        <a:pt x="362" y="2756"/>
                      </a:lnTo>
                      <a:lnTo>
                        <a:pt x="359" y="2756"/>
                      </a:lnTo>
                      <a:lnTo>
                        <a:pt x="359" y="2759"/>
                      </a:lnTo>
                      <a:lnTo>
                        <a:pt x="359" y="2756"/>
                      </a:lnTo>
                      <a:lnTo>
                        <a:pt x="357" y="2759"/>
                      </a:lnTo>
                      <a:lnTo>
                        <a:pt x="351" y="2759"/>
                      </a:lnTo>
                      <a:lnTo>
                        <a:pt x="348" y="2759"/>
                      </a:lnTo>
                      <a:lnTo>
                        <a:pt x="342" y="2759"/>
                      </a:lnTo>
                      <a:lnTo>
                        <a:pt x="337" y="2756"/>
                      </a:lnTo>
                      <a:lnTo>
                        <a:pt x="331" y="2759"/>
                      </a:lnTo>
                      <a:lnTo>
                        <a:pt x="326" y="2756"/>
                      </a:lnTo>
                      <a:lnTo>
                        <a:pt x="323" y="2759"/>
                      </a:lnTo>
                      <a:lnTo>
                        <a:pt x="321" y="2759"/>
                      </a:lnTo>
                      <a:lnTo>
                        <a:pt x="321" y="2762"/>
                      </a:lnTo>
                      <a:lnTo>
                        <a:pt x="318" y="2762"/>
                      </a:lnTo>
                      <a:lnTo>
                        <a:pt x="318" y="2767"/>
                      </a:lnTo>
                      <a:lnTo>
                        <a:pt x="315" y="2767"/>
                      </a:lnTo>
                      <a:lnTo>
                        <a:pt x="313" y="2770"/>
                      </a:lnTo>
                      <a:lnTo>
                        <a:pt x="306" y="2770"/>
                      </a:lnTo>
                      <a:lnTo>
                        <a:pt x="306" y="2772"/>
                      </a:lnTo>
                      <a:lnTo>
                        <a:pt x="304" y="2772"/>
                      </a:lnTo>
                      <a:lnTo>
                        <a:pt x="301" y="2775"/>
                      </a:lnTo>
                      <a:lnTo>
                        <a:pt x="282" y="2764"/>
                      </a:lnTo>
                      <a:lnTo>
                        <a:pt x="268" y="2767"/>
                      </a:lnTo>
                      <a:lnTo>
                        <a:pt x="262" y="2772"/>
                      </a:lnTo>
                      <a:lnTo>
                        <a:pt x="262" y="2780"/>
                      </a:lnTo>
                      <a:lnTo>
                        <a:pt x="257" y="2780"/>
                      </a:lnTo>
                      <a:lnTo>
                        <a:pt x="260" y="2783"/>
                      </a:lnTo>
                      <a:lnTo>
                        <a:pt x="257" y="2792"/>
                      </a:lnTo>
                      <a:lnTo>
                        <a:pt x="252" y="2792"/>
                      </a:lnTo>
                      <a:lnTo>
                        <a:pt x="249" y="2792"/>
                      </a:lnTo>
                      <a:lnTo>
                        <a:pt x="246" y="2792"/>
                      </a:lnTo>
                      <a:lnTo>
                        <a:pt x="237" y="2792"/>
                      </a:lnTo>
                      <a:lnTo>
                        <a:pt x="237" y="2795"/>
                      </a:lnTo>
                      <a:lnTo>
                        <a:pt x="237" y="2798"/>
                      </a:lnTo>
                      <a:lnTo>
                        <a:pt x="235" y="2800"/>
                      </a:lnTo>
                      <a:lnTo>
                        <a:pt x="235" y="2806"/>
                      </a:lnTo>
                      <a:lnTo>
                        <a:pt x="232" y="2808"/>
                      </a:lnTo>
                      <a:lnTo>
                        <a:pt x="229" y="2811"/>
                      </a:lnTo>
                      <a:lnTo>
                        <a:pt x="227" y="2814"/>
                      </a:lnTo>
                      <a:lnTo>
                        <a:pt x="229" y="2816"/>
                      </a:lnTo>
                      <a:lnTo>
                        <a:pt x="219" y="2819"/>
                      </a:lnTo>
                      <a:lnTo>
                        <a:pt x="216" y="2814"/>
                      </a:lnTo>
                      <a:lnTo>
                        <a:pt x="216" y="2811"/>
                      </a:lnTo>
                      <a:lnTo>
                        <a:pt x="213" y="2814"/>
                      </a:lnTo>
                      <a:lnTo>
                        <a:pt x="211" y="2808"/>
                      </a:lnTo>
                      <a:lnTo>
                        <a:pt x="211" y="2800"/>
                      </a:lnTo>
                      <a:lnTo>
                        <a:pt x="201" y="2795"/>
                      </a:lnTo>
                      <a:lnTo>
                        <a:pt x="201" y="2790"/>
                      </a:lnTo>
                      <a:lnTo>
                        <a:pt x="211" y="2790"/>
                      </a:lnTo>
                      <a:lnTo>
                        <a:pt x="213" y="2787"/>
                      </a:lnTo>
                      <a:lnTo>
                        <a:pt x="219" y="2787"/>
                      </a:lnTo>
                      <a:lnTo>
                        <a:pt x="219" y="2783"/>
                      </a:lnTo>
                      <a:lnTo>
                        <a:pt x="224" y="2783"/>
                      </a:lnTo>
                      <a:lnTo>
                        <a:pt x="229" y="2780"/>
                      </a:lnTo>
                      <a:lnTo>
                        <a:pt x="229" y="2778"/>
                      </a:lnTo>
                      <a:lnTo>
                        <a:pt x="232" y="2775"/>
                      </a:lnTo>
                      <a:lnTo>
                        <a:pt x="232" y="2770"/>
                      </a:lnTo>
                      <a:lnTo>
                        <a:pt x="229" y="2767"/>
                      </a:lnTo>
                      <a:lnTo>
                        <a:pt x="229" y="2764"/>
                      </a:lnTo>
                      <a:lnTo>
                        <a:pt x="232" y="2759"/>
                      </a:lnTo>
                      <a:lnTo>
                        <a:pt x="237" y="2756"/>
                      </a:lnTo>
                      <a:lnTo>
                        <a:pt x="237" y="2751"/>
                      </a:lnTo>
                      <a:lnTo>
                        <a:pt x="244" y="2747"/>
                      </a:lnTo>
                      <a:lnTo>
                        <a:pt x="244" y="2742"/>
                      </a:lnTo>
                      <a:lnTo>
                        <a:pt x="246" y="2739"/>
                      </a:lnTo>
                      <a:lnTo>
                        <a:pt x="260" y="2726"/>
                      </a:lnTo>
                      <a:lnTo>
                        <a:pt x="260" y="2711"/>
                      </a:lnTo>
                      <a:lnTo>
                        <a:pt x="260" y="2709"/>
                      </a:lnTo>
                      <a:lnTo>
                        <a:pt x="262" y="2706"/>
                      </a:lnTo>
                      <a:lnTo>
                        <a:pt x="262" y="2695"/>
                      </a:lnTo>
                      <a:lnTo>
                        <a:pt x="262" y="2687"/>
                      </a:lnTo>
                      <a:lnTo>
                        <a:pt x="254" y="2685"/>
                      </a:lnTo>
                      <a:lnTo>
                        <a:pt x="252" y="2678"/>
                      </a:lnTo>
                      <a:lnTo>
                        <a:pt x="246" y="2678"/>
                      </a:lnTo>
                      <a:lnTo>
                        <a:pt x="249" y="2668"/>
                      </a:lnTo>
                      <a:lnTo>
                        <a:pt x="240" y="2660"/>
                      </a:lnTo>
                      <a:lnTo>
                        <a:pt x="235" y="2660"/>
                      </a:lnTo>
                      <a:lnTo>
                        <a:pt x="235" y="2657"/>
                      </a:lnTo>
                      <a:lnTo>
                        <a:pt x="237" y="2649"/>
                      </a:lnTo>
                      <a:lnTo>
                        <a:pt x="232" y="2640"/>
                      </a:lnTo>
                      <a:lnTo>
                        <a:pt x="229" y="2640"/>
                      </a:lnTo>
                      <a:lnTo>
                        <a:pt x="229" y="2637"/>
                      </a:lnTo>
                      <a:lnTo>
                        <a:pt x="235" y="2634"/>
                      </a:lnTo>
                      <a:lnTo>
                        <a:pt x="240" y="2632"/>
                      </a:lnTo>
                      <a:lnTo>
                        <a:pt x="240" y="2629"/>
                      </a:lnTo>
                      <a:lnTo>
                        <a:pt x="244" y="2626"/>
                      </a:lnTo>
                      <a:lnTo>
                        <a:pt x="246" y="2624"/>
                      </a:lnTo>
                      <a:lnTo>
                        <a:pt x="246" y="2616"/>
                      </a:lnTo>
                      <a:lnTo>
                        <a:pt x="246" y="2613"/>
                      </a:lnTo>
                      <a:lnTo>
                        <a:pt x="246" y="2609"/>
                      </a:lnTo>
                      <a:lnTo>
                        <a:pt x="246" y="2601"/>
                      </a:lnTo>
                      <a:lnTo>
                        <a:pt x="246" y="2596"/>
                      </a:lnTo>
                      <a:lnTo>
                        <a:pt x="249" y="2596"/>
                      </a:lnTo>
                      <a:lnTo>
                        <a:pt x="249" y="2588"/>
                      </a:lnTo>
                      <a:lnTo>
                        <a:pt x="249" y="2585"/>
                      </a:lnTo>
                      <a:lnTo>
                        <a:pt x="246" y="2585"/>
                      </a:lnTo>
                      <a:lnTo>
                        <a:pt x="240" y="2580"/>
                      </a:lnTo>
                      <a:lnTo>
                        <a:pt x="237" y="2577"/>
                      </a:lnTo>
                      <a:lnTo>
                        <a:pt x="240" y="2573"/>
                      </a:lnTo>
                      <a:lnTo>
                        <a:pt x="240" y="2571"/>
                      </a:lnTo>
                      <a:lnTo>
                        <a:pt x="240" y="2568"/>
                      </a:lnTo>
                      <a:lnTo>
                        <a:pt x="246" y="2568"/>
                      </a:lnTo>
                      <a:lnTo>
                        <a:pt x="246" y="2565"/>
                      </a:lnTo>
                      <a:lnTo>
                        <a:pt x="246" y="2568"/>
                      </a:lnTo>
                      <a:lnTo>
                        <a:pt x="249" y="2568"/>
                      </a:lnTo>
                      <a:lnTo>
                        <a:pt x="254" y="2565"/>
                      </a:lnTo>
                      <a:lnTo>
                        <a:pt x="254" y="2560"/>
                      </a:lnTo>
                      <a:lnTo>
                        <a:pt x="252" y="2557"/>
                      </a:lnTo>
                      <a:lnTo>
                        <a:pt x="257" y="2552"/>
                      </a:lnTo>
                      <a:lnTo>
                        <a:pt x="257" y="2549"/>
                      </a:lnTo>
                      <a:lnTo>
                        <a:pt x="249" y="2540"/>
                      </a:lnTo>
                      <a:lnTo>
                        <a:pt x="254" y="2538"/>
                      </a:lnTo>
                      <a:lnTo>
                        <a:pt x="257" y="2530"/>
                      </a:lnTo>
                      <a:lnTo>
                        <a:pt x="254" y="2527"/>
                      </a:lnTo>
                      <a:lnTo>
                        <a:pt x="252" y="2527"/>
                      </a:lnTo>
                      <a:lnTo>
                        <a:pt x="254" y="2527"/>
                      </a:lnTo>
                      <a:lnTo>
                        <a:pt x="254" y="2524"/>
                      </a:lnTo>
                      <a:lnTo>
                        <a:pt x="252" y="2522"/>
                      </a:lnTo>
                      <a:lnTo>
                        <a:pt x="254" y="2522"/>
                      </a:lnTo>
                      <a:lnTo>
                        <a:pt x="252" y="2516"/>
                      </a:lnTo>
                      <a:lnTo>
                        <a:pt x="257" y="2519"/>
                      </a:lnTo>
                      <a:lnTo>
                        <a:pt x="260" y="2516"/>
                      </a:lnTo>
                      <a:lnTo>
                        <a:pt x="257" y="2513"/>
                      </a:lnTo>
                      <a:lnTo>
                        <a:pt x="252" y="2508"/>
                      </a:lnTo>
                      <a:lnTo>
                        <a:pt x="249" y="2504"/>
                      </a:lnTo>
                      <a:lnTo>
                        <a:pt x="252" y="2502"/>
                      </a:lnTo>
                      <a:lnTo>
                        <a:pt x="249" y="2502"/>
                      </a:lnTo>
                      <a:lnTo>
                        <a:pt x="252" y="2499"/>
                      </a:lnTo>
                      <a:lnTo>
                        <a:pt x="252" y="2496"/>
                      </a:lnTo>
                      <a:lnTo>
                        <a:pt x="252" y="2494"/>
                      </a:lnTo>
                      <a:lnTo>
                        <a:pt x="246" y="2488"/>
                      </a:lnTo>
                      <a:lnTo>
                        <a:pt x="244" y="2486"/>
                      </a:lnTo>
                      <a:lnTo>
                        <a:pt x="246" y="2480"/>
                      </a:lnTo>
                      <a:lnTo>
                        <a:pt x="249" y="2478"/>
                      </a:lnTo>
                      <a:lnTo>
                        <a:pt x="249" y="2472"/>
                      </a:lnTo>
                      <a:lnTo>
                        <a:pt x="246" y="2469"/>
                      </a:lnTo>
                      <a:lnTo>
                        <a:pt x="246" y="2466"/>
                      </a:lnTo>
                      <a:lnTo>
                        <a:pt x="244" y="2466"/>
                      </a:lnTo>
                      <a:lnTo>
                        <a:pt x="244" y="2463"/>
                      </a:lnTo>
                      <a:lnTo>
                        <a:pt x="246" y="2461"/>
                      </a:lnTo>
                      <a:lnTo>
                        <a:pt x="252" y="2469"/>
                      </a:lnTo>
                      <a:lnTo>
                        <a:pt x="260" y="2472"/>
                      </a:lnTo>
                      <a:lnTo>
                        <a:pt x="262" y="2469"/>
                      </a:lnTo>
                      <a:lnTo>
                        <a:pt x="265" y="2469"/>
                      </a:lnTo>
                      <a:lnTo>
                        <a:pt x="270" y="2463"/>
                      </a:lnTo>
                      <a:lnTo>
                        <a:pt x="277" y="2463"/>
                      </a:lnTo>
                      <a:lnTo>
                        <a:pt x="280" y="2461"/>
                      </a:lnTo>
                      <a:lnTo>
                        <a:pt x="280" y="2453"/>
                      </a:lnTo>
                      <a:lnTo>
                        <a:pt x="282" y="2450"/>
                      </a:lnTo>
                      <a:lnTo>
                        <a:pt x="285" y="2447"/>
                      </a:lnTo>
                      <a:lnTo>
                        <a:pt x="285" y="2445"/>
                      </a:lnTo>
                      <a:lnTo>
                        <a:pt x="288" y="2439"/>
                      </a:lnTo>
                      <a:lnTo>
                        <a:pt x="285" y="2435"/>
                      </a:lnTo>
                      <a:lnTo>
                        <a:pt x="280" y="2435"/>
                      </a:lnTo>
                      <a:lnTo>
                        <a:pt x="273" y="2433"/>
                      </a:lnTo>
                      <a:lnTo>
                        <a:pt x="270" y="2427"/>
                      </a:lnTo>
                      <a:lnTo>
                        <a:pt x="268" y="2425"/>
                      </a:lnTo>
                      <a:lnTo>
                        <a:pt x="265" y="2409"/>
                      </a:lnTo>
                      <a:lnTo>
                        <a:pt x="260" y="2406"/>
                      </a:lnTo>
                      <a:lnTo>
                        <a:pt x="252" y="2406"/>
                      </a:lnTo>
                      <a:lnTo>
                        <a:pt x="254" y="2400"/>
                      </a:lnTo>
                      <a:lnTo>
                        <a:pt x="252" y="2397"/>
                      </a:lnTo>
                      <a:lnTo>
                        <a:pt x="246" y="2397"/>
                      </a:lnTo>
                      <a:lnTo>
                        <a:pt x="244" y="2400"/>
                      </a:lnTo>
                      <a:lnTo>
                        <a:pt x="240" y="2400"/>
                      </a:lnTo>
                      <a:lnTo>
                        <a:pt x="240" y="2397"/>
                      </a:lnTo>
                      <a:lnTo>
                        <a:pt x="237" y="2392"/>
                      </a:lnTo>
                      <a:lnTo>
                        <a:pt x="232" y="2392"/>
                      </a:lnTo>
                      <a:lnTo>
                        <a:pt x="224" y="2386"/>
                      </a:lnTo>
                      <a:lnTo>
                        <a:pt x="229" y="2376"/>
                      </a:lnTo>
                      <a:lnTo>
                        <a:pt x="224" y="2370"/>
                      </a:lnTo>
                      <a:lnTo>
                        <a:pt x="219" y="2373"/>
                      </a:lnTo>
                      <a:lnTo>
                        <a:pt x="213" y="2376"/>
                      </a:lnTo>
                      <a:lnTo>
                        <a:pt x="211" y="2376"/>
                      </a:lnTo>
                      <a:lnTo>
                        <a:pt x="211" y="2370"/>
                      </a:lnTo>
                      <a:lnTo>
                        <a:pt x="201" y="2370"/>
                      </a:lnTo>
                      <a:lnTo>
                        <a:pt x="204" y="2361"/>
                      </a:lnTo>
                      <a:lnTo>
                        <a:pt x="201" y="2356"/>
                      </a:lnTo>
                      <a:lnTo>
                        <a:pt x="196" y="2353"/>
                      </a:lnTo>
                      <a:lnTo>
                        <a:pt x="188" y="2356"/>
                      </a:lnTo>
                      <a:lnTo>
                        <a:pt x="175" y="2353"/>
                      </a:lnTo>
                      <a:lnTo>
                        <a:pt x="168" y="2350"/>
                      </a:lnTo>
                      <a:lnTo>
                        <a:pt x="168" y="2342"/>
                      </a:lnTo>
                      <a:lnTo>
                        <a:pt x="168" y="2340"/>
                      </a:lnTo>
                      <a:lnTo>
                        <a:pt x="163" y="2340"/>
                      </a:lnTo>
                      <a:lnTo>
                        <a:pt x="155" y="2334"/>
                      </a:lnTo>
                      <a:lnTo>
                        <a:pt x="147" y="2334"/>
                      </a:lnTo>
                      <a:lnTo>
                        <a:pt x="142" y="2331"/>
                      </a:lnTo>
                      <a:lnTo>
                        <a:pt x="147" y="2325"/>
                      </a:lnTo>
                      <a:lnTo>
                        <a:pt x="150" y="2328"/>
                      </a:lnTo>
                      <a:lnTo>
                        <a:pt x="152" y="2328"/>
                      </a:lnTo>
                      <a:lnTo>
                        <a:pt x="158" y="2320"/>
                      </a:lnTo>
                      <a:lnTo>
                        <a:pt x="155" y="2315"/>
                      </a:lnTo>
                      <a:lnTo>
                        <a:pt x="152" y="2315"/>
                      </a:lnTo>
                      <a:lnTo>
                        <a:pt x="150" y="2315"/>
                      </a:lnTo>
                      <a:lnTo>
                        <a:pt x="158" y="2309"/>
                      </a:lnTo>
                      <a:lnTo>
                        <a:pt x="163" y="2298"/>
                      </a:lnTo>
                      <a:lnTo>
                        <a:pt x="166" y="2295"/>
                      </a:lnTo>
                      <a:lnTo>
                        <a:pt x="160" y="2289"/>
                      </a:lnTo>
                      <a:lnTo>
                        <a:pt x="163" y="2281"/>
                      </a:lnTo>
                      <a:lnTo>
                        <a:pt x="160" y="2279"/>
                      </a:lnTo>
                      <a:lnTo>
                        <a:pt x="155" y="2276"/>
                      </a:lnTo>
                      <a:lnTo>
                        <a:pt x="142" y="2268"/>
                      </a:lnTo>
                      <a:lnTo>
                        <a:pt x="144" y="2259"/>
                      </a:lnTo>
                      <a:lnTo>
                        <a:pt x="144" y="2248"/>
                      </a:lnTo>
                      <a:lnTo>
                        <a:pt x="155" y="2230"/>
                      </a:lnTo>
                      <a:lnTo>
                        <a:pt x="155" y="2226"/>
                      </a:lnTo>
                      <a:lnTo>
                        <a:pt x="155" y="2223"/>
                      </a:lnTo>
                      <a:lnTo>
                        <a:pt x="150" y="2218"/>
                      </a:lnTo>
                      <a:lnTo>
                        <a:pt x="142" y="2218"/>
                      </a:lnTo>
                      <a:lnTo>
                        <a:pt x="142" y="2215"/>
                      </a:lnTo>
                      <a:lnTo>
                        <a:pt x="144" y="2210"/>
                      </a:lnTo>
                      <a:lnTo>
                        <a:pt x="135" y="2204"/>
                      </a:lnTo>
                      <a:lnTo>
                        <a:pt x="139" y="2202"/>
                      </a:lnTo>
                      <a:lnTo>
                        <a:pt x="158" y="2196"/>
                      </a:lnTo>
                      <a:lnTo>
                        <a:pt x="160" y="2194"/>
                      </a:lnTo>
                      <a:lnTo>
                        <a:pt x="155" y="2182"/>
                      </a:lnTo>
                      <a:lnTo>
                        <a:pt x="147" y="2185"/>
                      </a:lnTo>
                      <a:lnTo>
                        <a:pt x="142" y="2182"/>
                      </a:lnTo>
                      <a:lnTo>
                        <a:pt x="142" y="2179"/>
                      </a:lnTo>
                      <a:lnTo>
                        <a:pt x="152" y="2171"/>
                      </a:lnTo>
                      <a:lnTo>
                        <a:pt x="155" y="2171"/>
                      </a:lnTo>
                      <a:lnTo>
                        <a:pt x="155" y="2169"/>
                      </a:lnTo>
                      <a:lnTo>
                        <a:pt x="152" y="2166"/>
                      </a:lnTo>
                      <a:lnTo>
                        <a:pt x="147" y="2163"/>
                      </a:lnTo>
                      <a:lnTo>
                        <a:pt x="144" y="2161"/>
                      </a:lnTo>
                      <a:lnTo>
                        <a:pt x="147" y="2158"/>
                      </a:lnTo>
                      <a:lnTo>
                        <a:pt x="152" y="2146"/>
                      </a:lnTo>
                      <a:lnTo>
                        <a:pt x="158" y="2141"/>
                      </a:lnTo>
                      <a:lnTo>
                        <a:pt x="160" y="2141"/>
                      </a:lnTo>
                      <a:lnTo>
                        <a:pt x="163" y="2135"/>
                      </a:lnTo>
                      <a:lnTo>
                        <a:pt x="175" y="2130"/>
                      </a:lnTo>
                      <a:lnTo>
                        <a:pt x="185" y="2118"/>
                      </a:lnTo>
                      <a:lnTo>
                        <a:pt x="183" y="2116"/>
                      </a:lnTo>
                      <a:lnTo>
                        <a:pt x="175" y="2108"/>
                      </a:lnTo>
                      <a:lnTo>
                        <a:pt x="163" y="2110"/>
                      </a:lnTo>
                      <a:lnTo>
                        <a:pt x="160" y="2108"/>
                      </a:lnTo>
                      <a:lnTo>
                        <a:pt x="158" y="2110"/>
                      </a:lnTo>
                      <a:lnTo>
                        <a:pt x="155" y="2108"/>
                      </a:lnTo>
                      <a:lnTo>
                        <a:pt x="152" y="2102"/>
                      </a:lnTo>
                      <a:lnTo>
                        <a:pt x="155" y="2097"/>
                      </a:lnTo>
                      <a:lnTo>
                        <a:pt x="152" y="2091"/>
                      </a:lnTo>
                      <a:lnTo>
                        <a:pt x="158" y="2085"/>
                      </a:lnTo>
                      <a:lnTo>
                        <a:pt x="160" y="2080"/>
                      </a:lnTo>
                      <a:lnTo>
                        <a:pt x="160" y="2074"/>
                      </a:lnTo>
                      <a:lnTo>
                        <a:pt x="158" y="2074"/>
                      </a:lnTo>
                      <a:lnTo>
                        <a:pt x="158" y="2072"/>
                      </a:lnTo>
                      <a:lnTo>
                        <a:pt x="166" y="2069"/>
                      </a:lnTo>
                      <a:lnTo>
                        <a:pt x="166" y="2066"/>
                      </a:lnTo>
                      <a:lnTo>
                        <a:pt x="160" y="2058"/>
                      </a:lnTo>
                      <a:lnTo>
                        <a:pt x="158" y="2053"/>
                      </a:lnTo>
                      <a:lnTo>
                        <a:pt x="152" y="2056"/>
                      </a:lnTo>
                      <a:lnTo>
                        <a:pt x="152" y="2053"/>
                      </a:lnTo>
                      <a:lnTo>
                        <a:pt x="152" y="2049"/>
                      </a:lnTo>
                      <a:lnTo>
                        <a:pt x="160" y="2044"/>
                      </a:lnTo>
                      <a:lnTo>
                        <a:pt x="163" y="2039"/>
                      </a:lnTo>
                      <a:lnTo>
                        <a:pt x="171" y="2036"/>
                      </a:lnTo>
                      <a:lnTo>
                        <a:pt x="180" y="2033"/>
                      </a:lnTo>
                      <a:lnTo>
                        <a:pt x="188" y="2031"/>
                      </a:lnTo>
                      <a:lnTo>
                        <a:pt x="196" y="2028"/>
                      </a:lnTo>
                      <a:lnTo>
                        <a:pt x="199" y="2025"/>
                      </a:lnTo>
                      <a:lnTo>
                        <a:pt x="204" y="2022"/>
                      </a:lnTo>
                      <a:lnTo>
                        <a:pt x="211" y="2011"/>
                      </a:lnTo>
                      <a:lnTo>
                        <a:pt x="216" y="2008"/>
                      </a:lnTo>
                      <a:lnTo>
                        <a:pt x="229" y="2000"/>
                      </a:lnTo>
                      <a:lnTo>
                        <a:pt x="232" y="1989"/>
                      </a:lnTo>
                      <a:lnTo>
                        <a:pt x="232" y="1987"/>
                      </a:lnTo>
                      <a:lnTo>
                        <a:pt x="229" y="1984"/>
                      </a:lnTo>
                      <a:lnTo>
                        <a:pt x="224" y="1980"/>
                      </a:lnTo>
                      <a:lnTo>
                        <a:pt x="211" y="1987"/>
                      </a:lnTo>
                      <a:lnTo>
                        <a:pt x="204" y="1989"/>
                      </a:lnTo>
                      <a:lnTo>
                        <a:pt x="199" y="1989"/>
                      </a:lnTo>
                      <a:lnTo>
                        <a:pt x="196" y="1992"/>
                      </a:lnTo>
                      <a:lnTo>
                        <a:pt x="180" y="2003"/>
                      </a:lnTo>
                      <a:lnTo>
                        <a:pt x="166" y="2005"/>
                      </a:lnTo>
                      <a:lnTo>
                        <a:pt x="160" y="2003"/>
                      </a:lnTo>
                      <a:lnTo>
                        <a:pt x="152" y="2011"/>
                      </a:lnTo>
                      <a:lnTo>
                        <a:pt x="142" y="2016"/>
                      </a:lnTo>
                      <a:lnTo>
                        <a:pt x="139" y="2016"/>
                      </a:lnTo>
                      <a:lnTo>
                        <a:pt x="135" y="2016"/>
                      </a:lnTo>
                      <a:lnTo>
                        <a:pt x="133" y="2008"/>
                      </a:lnTo>
                      <a:lnTo>
                        <a:pt x="133" y="2003"/>
                      </a:lnTo>
                      <a:lnTo>
                        <a:pt x="130" y="2003"/>
                      </a:lnTo>
                      <a:lnTo>
                        <a:pt x="122" y="1997"/>
                      </a:lnTo>
                      <a:lnTo>
                        <a:pt x="127" y="1989"/>
                      </a:lnTo>
                      <a:lnTo>
                        <a:pt x="127" y="1984"/>
                      </a:lnTo>
                      <a:lnTo>
                        <a:pt x="127" y="1978"/>
                      </a:lnTo>
                      <a:lnTo>
                        <a:pt x="116" y="1978"/>
                      </a:lnTo>
                      <a:lnTo>
                        <a:pt x="116" y="1975"/>
                      </a:lnTo>
                      <a:lnTo>
                        <a:pt x="119" y="1972"/>
                      </a:lnTo>
                      <a:lnTo>
                        <a:pt x="122" y="1964"/>
                      </a:lnTo>
                      <a:lnTo>
                        <a:pt x="122" y="1959"/>
                      </a:lnTo>
                      <a:lnTo>
                        <a:pt x="127" y="1956"/>
                      </a:lnTo>
                      <a:lnTo>
                        <a:pt x="127" y="1953"/>
                      </a:lnTo>
                      <a:lnTo>
                        <a:pt x="127" y="1947"/>
                      </a:lnTo>
                      <a:lnTo>
                        <a:pt x="124" y="1947"/>
                      </a:lnTo>
                      <a:lnTo>
                        <a:pt x="122" y="1944"/>
                      </a:lnTo>
                      <a:lnTo>
                        <a:pt x="127" y="1942"/>
                      </a:lnTo>
                      <a:lnTo>
                        <a:pt x="124" y="1936"/>
                      </a:lnTo>
                      <a:lnTo>
                        <a:pt x="130" y="1934"/>
                      </a:lnTo>
                      <a:lnTo>
                        <a:pt x="130" y="1926"/>
                      </a:lnTo>
                      <a:lnTo>
                        <a:pt x="127" y="1923"/>
                      </a:lnTo>
                      <a:lnTo>
                        <a:pt x="124" y="1923"/>
                      </a:lnTo>
                      <a:lnTo>
                        <a:pt x="122" y="1918"/>
                      </a:lnTo>
                      <a:lnTo>
                        <a:pt x="119" y="1911"/>
                      </a:lnTo>
                      <a:lnTo>
                        <a:pt x="127" y="1903"/>
                      </a:lnTo>
                      <a:lnTo>
                        <a:pt x="130" y="1898"/>
                      </a:lnTo>
                      <a:lnTo>
                        <a:pt x="133" y="1893"/>
                      </a:lnTo>
                      <a:lnTo>
                        <a:pt x="135" y="1890"/>
                      </a:lnTo>
                      <a:lnTo>
                        <a:pt x="135" y="1887"/>
                      </a:lnTo>
                      <a:lnTo>
                        <a:pt x="135" y="1884"/>
                      </a:lnTo>
                      <a:lnTo>
                        <a:pt x="139" y="1882"/>
                      </a:lnTo>
                      <a:lnTo>
                        <a:pt x="139" y="1875"/>
                      </a:lnTo>
                      <a:lnTo>
                        <a:pt x="147" y="1873"/>
                      </a:lnTo>
                      <a:lnTo>
                        <a:pt x="150" y="1870"/>
                      </a:lnTo>
                      <a:lnTo>
                        <a:pt x="152" y="1870"/>
                      </a:lnTo>
                      <a:lnTo>
                        <a:pt x="155" y="1870"/>
                      </a:lnTo>
                      <a:lnTo>
                        <a:pt x="160" y="1873"/>
                      </a:lnTo>
                      <a:lnTo>
                        <a:pt x="163" y="1873"/>
                      </a:lnTo>
                      <a:lnTo>
                        <a:pt x="166" y="1870"/>
                      </a:lnTo>
                      <a:lnTo>
                        <a:pt x="168" y="1870"/>
                      </a:lnTo>
                      <a:lnTo>
                        <a:pt x="171" y="1867"/>
                      </a:lnTo>
                      <a:lnTo>
                        <a:pt x="180" y="1865"/>
                      </a:lnTo>
                      <a:lnTo>
                        <a:pt x="183" y="1862"/>
                      </a:lnTo>
                      <a:lnTo>
                        <a:pt x="188" y="1862"/>
                      </a:lnTo>
                      <a:lnTo>
                        <a:pt x="193" y="1857"/>
                      </a:lnTo>
                      <a:lnTo>
                        <a:pt x="199" y="1854"/>
                      </a:lnTo>
                      <a:lnTo>
                        <a:pt x="204" y="1842"/>
                      </a:lnTo>
                      <a:lnTo>
                        <a:pt x="204" y="1837"/>
                      </a:lnTo>
                      <a:lnTo>
                        <a:pt x="199" y="1834"/>
                      </a:lnTo>
                      <a:lnTo>
                        <a:pt x="193" y="1832"/>
                      </a:lnTo>
                      <a:lnTo>
                        <a:pt x="175" y="1840"/>
                      </a:lnTo>
                      <a:lnTo>
                        <a:pt x="168" y="1840"/>
                      </a:lnTo>
                      <a:lnTo>
                        <a:pt x="160" y="1846"/>
                      </a:lnTo>
                      <a:lnTo>
                        <a:pt x="142" y="1842"/>
                      </a:lnTo>
                      <a:lnTo>
                        <a:pt x="139" y="1842"/>
                      </a:lnTo>
                      <a:lnTo>
                        <a:pt x="135" y="1849"/>
                      </a:lnTo>
                      <a:lnTo>
                        <a:pt x="127" y="1851"/>
                      </a:lnTo>
                      <a:lnTo>
                        <a:pt x="130" y="1837"/>
                      </a:lnTo>
                      <a:lnTo>
                        <a:pt x="130" y="1832"/>
                      </a:lnTo>
                      <a:lnTo>
                        <a:pt x="133" y="1826"/>
                      </a:lnTo>
                      <a:lnTo>
                        <a:pt x="135" y="1821"/>
                      </a:lnTo>
                      <a:lnTo>
                        <a:pt x="130" y="1813"/>
                      </a:lnTo>
                      <a:lnTo>
                        <a:pt x="139" y="1806"/>
                      </a:lnTo>
                      <a:lnTo>
                        <a:pt x="144" y="1801"/>
                      </a:lnTo>
                      <a:lnTo>
                        <a:pt x="142" y="1796"/>
                      </a:lnTo>
                      <a:lnTo>
                        <a:pt x="139" y="1793"/>
                      </a:lnTo>
                      <a:lnTo>
                        <a:pt x="135" y="1790"/>
                      </a:lnTo>
                      <a:lnTo>
                        <a:pt x="135" y="1785"/>
                      </a:lnTo>
                      <a:lnTo>
                        <a:pt x="135" y="1780"/>
                      </a:lnTo>
                      <a:lnTo>
                        <a:pt x="139" y="1777"/>
                      </a:lnTo>
                      <a:lnTo>
                        <a:pt x="139" y="1771"/>
                      </a:lnTo>
                      <a:lnTo>
                        <a:pt x="135" y="1765"/>
                      </a:lnTo>
                      <a:lnTo>
                        <a:pt x="142" y="1763"/>
                      </a:lnTo>
                      <a:lnTo>
                        <a:pt x="142" y="1752"/>
                      </a:lnTo>
                      <a:lnTo>
                        <a:pt x="139" y="1749"/>
                      </a:lnTo>
                      <a:lnTo>
                        <a:pt x="133" y="1747"/>
                      </a:lnTo>
                      <a:lnTo>
                        <a:pt x="133" y="1744"/>
                      </a:lnTo>
                      <a:lnTo>
                        <a:pt x="130" y="1744"/>
                      </a:lnTo>
                      <a:lnTo>
                        <a:pt x="135" y="1735"/>
                      </a:lnTo>
                      <a:lnTo>
                        <a:pt x="142" y="1732"/>
                      </a:lnTo>
                      <a:lnTo>
                        <a:pt x="147" y="1727"/>
                      </a:lnTo>
                      <a:lnTo>
                        <a:pt x="144" y="1721"/>
                      </a:lnTo>
                      <a:lnTo>
                        <a:pt x="142" y="1721"/>
                      </a:lnTo>
                      <a:lnTo>
                        <a:pt x="139" y="1721"/>
                      </a:lnTo>
                      <a:lnTo>
                        <a:pt x="139" y="1719"/>
                      </a:lnTo>
                      <a:lnTo>
                        <a:pt x="133" y="1716"/>
                      </a:lnTo>
                      <a:lnTo>
                        <a:pt x="139" y="1702"/>
                      </a:lnTo>
                      <a:lnTo>
                        <a:pt x="135" y="1696"/>
                      </a:lnTo>
                      <a:lnTo>
                        <a:pt x="139" y="1694"/>
                      </a:lnTo>
                      <a:lnTo>
                        <a:pt x="142" y="1691"/>
                      </a:lnTo>
                      <a:lnTo>
                        <a:pt x="144" y="1683"/>
                      </a:lnTo>
                      <a:lnTo>
                        <a:pt x="147" y="1680"/>
                      </a:lnTo>
                      <a:lnTo>
                        <a:pt x="150" y="1680"/>
                      </a:lnTo>
                      <a:lnTo>
                        <a:pt x="158" y="1677"/>
                      </a:lnTo>
                      <a:lnTo>
                        <a:pt x="168" y="1675"/>
                      </a:lnTo>
                      <a:lnTo>
                        <a:pt x="185" y="1675"/>
                      </a:lnTo>
                      <a:lnTo>
                        <a:pt x="188" y="1666"/>
                      </a:lnTo>
                      <a:lnTo>
                        <a:pt x="185" y="1660"/>
                      </a:lnTo>
                      <a:lnTo>
                        <a:pt x="188" y="1655"/>
                      </a:lnTo>
                      <a:lnTo>
                        <a:pt x="185" y="1650"/>
                      </a:lnTo>
                      <a:lnTo>
                        <a:pt x="177" y="1652"/>
                      </a:lnTo>
                      <a:lnTo>
                        <a:pt x="158" y="1660"/>
                      </a:lnTo>
                      <a:lnTo>
                        <a:pt x="147" y="1658"/>
                      </a:lnTo>
                      <a:lnTo>
                        <a:pt x="147" y="1644"/>
                      </a:lnTo>
                      <a:lnTo>
                        <a:pt x="150" y="1639"/>
                      </a:lnTo>
                      <a:lnTo>
                        <a:pt x="150" y="1636"/>
                      </a:lnTo>
                      <a:lnTo>
                        <a:pt x="147" y="1630"/>
                      </a:lnTo>
                      <a:lnTo>
                        <a:pt x="142" y="1625"/>
                      </a:lnTo>
                      <a:lnTo>
                        <a:pt x="139" y="1625"/>
                      </a:lnTo>
                      <a:lnTo>
                        <a:pt x="135" y="1625"/>
                      </a:lnTo>
                      <a:lnTo>
                        <a:pt x="133" y="1625"/>
                      </a:lnTo>
                      <a:lnTo>
                        <a:pt x="130" y="1627"/>
                      </a:lnTo>
                      <a:lnTo>
                        <a:pt x="127" y="1625"/>
                      </a:lnTo>
                      <a:lnTo>
                        <a:pt x="127" y="1622"/>
                      </a:lnTo>
                      <a:lnTo>
                        <a:pt x="130" y="1619"/>
                      </a:lnTo>
                      <a:lnTo>
                        <a:pt x="130" y="1614"/>
                      </a:lnTo>
                      <a:lnTo>
                        <a:pt x="133" y="1611"/>
                      </a:lnTo>
                      <a:lnTo>
                        <a:pt x="130" y="1606"/>
                      </a:lnTo>
                      <a:lnTo>
                        <a:pt x="122" y="1600"/>
                      </a:lnTo>
                      <a:lnTo>
                        <a:pt x="119" y="1600"/>
                      </a:lnTo>
                      <a:lnTo>
                        <a:pt x="114" y="1597"/>
                      </a:lnTo>
                      <a:lnTo>
                        <a:pt x="111" y="1591"/>
                      </a:lnTo>
                      <a:lnTo>
                        <a:pt x="108" y="1594"/>
                      </a:lnTo>
                      <a:lnTo>
                        <a:pt x="106" y="1591"/>
                      </a:lnTo>
                      <a:lnTo>
                        <a:pt x="108" y="1589"/>
                      </a:lnTo>
                      <a:lnTo>
                        <a:pt x="108" y="1586"/>
                      </a:lnTo>
                      <a:lnTo>
                        <a:pt x="108" y="1583"/>
                      </a:lnTo>
                      <a:lnTo>
                        <a:pt x="119" y="1581"/>
                      </a:lnTo>
                      <a:lnTo>
                        <a:pt x="119" y="1578"/>
                      </a:lnTo>
                      <a:lnTo>
                        <a:pt x="116" y="1578"/>
                      </a:lnTo>
                      <a:lnTo>
                        <a:pt x="108" y="1575"/>
                      </a:lnTo>
                      <a:lnTo>
                        <a:pt x="106" y="1575"/>
                      </a:lnTo>
                      <a:lnTo>
                        <a:pt x="97" y="1573"/>
                      </a:lnTo>
                      <a:lnTo>
                        <a:pt x="99" y="1567"/>
                      </a:lnTo>
                      <a:lnTo>
                        <a:pt x="102" y="1565"/>
                      </a:lnTo>
                      <a:lnTo>
                        <a:pt x="97" y="1556"/>
                      </a:lnTo>
                      <a:lnTo>
                        <a:pt x="94" y="1556"/>
                      </a:lnTo>
                      <a:lnTo>
                        <a:pt x="99" y="1553"/>
                      </a:lnTo>
                      <a:lnTo>
                        <a:pt x="102" y="1545"/>
                      </a:lnTo>
                      <a:lnTo>
                        <a:pt x="99" y="1542"/>
                      </a:lnTo>
                      <a:lnTo>
                        <a:pt x="99" y="1537"/>
                      </a:lnTo>
                      <a:lnTo>
                        <a:pt x="91" y="1534"/>
                      </a:lnTo>
                      <a:lnTo>
                        <a:pt x="94" y="1531"/>
                      </a:lnTo>
                      <a:lnTo>
                        <a:pt x="94" y="1528"/>
                      </a:lnTo>
                      <a:lnTo>
                        <a:pt x="94" y="1525"/>
                      </a:lnTo>
                      <a:lnTo>
                        <a:pt x="91" y="1522"/>
                      </a:lnTo>
                      <a:lnTo>
                        <a:pt x="97" y="1520"/>
                      </a:lnTo>
                      <a:lnTo>
                        <a:pt x="97" y="1517"/>
                      </a:lnTo>
                      <a:lnTo>
                        <a:pt x="99" y="1509"/>
                      </a:lnTo>
                      <a:lnTo>
                        <a:pt x="99" y="1504"/>
                      </a:lnTo>
                      <a:lnTo>
                        <a:pt x="102" y="1498"/>
                      </a:lnTo>
                      <a:lnTo>
                        <a:pt x="99" y="1492"/>
                      </a:lnTo>
                      <a:lnTo>
                        <a:pt x="94" y="1489"/>
                      </a:lnTo>
                      <a:lnTo>
                        <a:pt x="94" y="1487"/>
                      </a:lnTo>
                      <a:lnTo>
                        <a:pt x="91" y="1481"/>
                      </a:lnTo>
                      <a:lnTo>
                        <a:pt x="97" y="1479"/>
                      </a:lnTo>
                      <a:lnTo>
                        <a:pt x="94" y="1476"/>
                      </a:lnTo>
                      <a:lnTo>
                        <a:pt x="94" y="1473"/>
                      </a:lnTo>
                      <a:lnTo>
                        <a:pt x="89" y="1468"/>
                      </a:lnTo>
                      <a:lnTo>
                        <a:pt x="89" y="1462"/>
                      </a:lnTo>
                      <a:lnTo>
                        <a:pt x="94" y="1460"/>
                      </a:lnTo>
                      <a:lnTo>
                        <a:pt x="97" y="1460"/>
                      </a:lnTo>
                      <a:lnTo>
                        <a:pt x="97" y="1453"/>
                      </a:lnTo>
                      <a:lnTo>
                        <a:pt x="106" y="1445"/>
                      </a:lnTo>
                      <a:lnTo>
                        <a:pt x="111" y="1443"/>
                      </a:lnTo>
                      <a:lnTo>
                        <a:pt x="114" y="1440"/>
                      </a:lnTo>
                      <a:lnTo>
                        <a:pt x="116" y="1435"/>
                      </a:lnTo>
                      <a:lnTo>
                        <a:pt x="127" y="1432"/>
                      </a:lnTo>
                      <a:lnTo>
                        <a:pt x="133" y="1432"/>
                      </a:lnTo>
                      <a:lnTo>
                        <a:pt x="150" y="1429"/>
                      </a:lnTo>
                      <a:lnTo>
                        <a:pt x="163" y="1423"/>
                      </a:lnTo>
                      <a:lnTo>
                        <a:pt x="171" y="1423"/>
                      </a:lnTo>
                      <a:lnTo>
                        <a:pt x="180" y="1415"/>
                      </a:lnTo>
                      <a:lnTo>
                        <a:pt x="180" y="1410"/>
                      </a:lnTo>
                      <a:lnTo>
                        <a:pt x="177" y="1404"/>
                      </a:lnTo>
                      <a:lnTo>
                        <a:pt x="175" y="1404"/>
                      </a:lnTo>
                      <a:lnTo>
                        <a:pt x="168" y="1404"/>
                      </a:lnTo>
                      <a:lnTo>
                        <a:pt x="163" y="1410"/>
                      </a:lnTo>
                      <a:lnTo>
                        <a:pt x="152" y="1412"/>
                      </a:lnTo>
                      <a:lnTo>
                        <a:pt x="147" y="1410"/>
                      </a:lnTo>
                      <a:lnTo>
                        <a:pt x="142" y="1407"/>
                      </a:lnTo>
                      <a:lnTo>
                        <a:pt x="133" y="1404"/>
                      </a:lnTo>
                      <a:lnTo>
                        <a:pt x="122" y="1410"/>
                      </a:lnTo>
                      <a:lnTo>
                        <a:pt x="116" y="1410"/>
                      </a:lnTo>
                      <a:lnTo>
                        <a:pt x="111" y="1404"/>
                      </a:lnTo>
                      <a:lnTo>
                        <a:pt x="108" y="1402"/>
                      </a:lnTo>
                      <a:lnTo>
                        <a:pt x="102" y="1404"/>
                      </a:lnTo>
                      <a:lnTo>
                        <a:pt x="97" y="1396"/>
                      </a:lnTo>
                      <a:lnTo>
                        <a:pt x="99" y="1391"/>
                      </a:lnTo>
                      <a:lnTo>
                        <a:pt x="97" y="1384"/>
                      </a:lnTo>
                      <a:lnTo>
                        <a:pt x="99" y="1382"/>
                      </a:lnTo>
                      <a:lnTo>
                        <a:pt x="106" y="1384"/>
                      </a:lnTo>
                      <a:lnTo>
                        <a:pt x="108" y="1382"/>
                      </a:lnTo>
                      <a:lnTo>
                        <a:pt x="108" y="1379"/>
                      </a:lnTo>
                      <a:lnTo>
                        <a:pt x="108" y="1376"/>
                      </a:lnTo>
                      <a:lnTo>
                        <a:pt x="114" y="1374"/>
                      </a:lnTo>
                      <a:lnTo>
                        <a:pt x="116" y="1368"/>
                      </a:lnTo>
                      <a:lnTo>
                        <a:pt x="114" y="1366"/>
                      </a:lnTo>
                      <a:lnTo>
                        <a:pt x="114" y="1363"/>
                      </a:lnTo>
                      <a:lnTo>
                        <a:pt x="119" y="1360"/>
                      </a:lnTo>
                      <a:lnTo>
                        <a:pt x="119" y="1358"/>
                      </a:lnTo>
                      <a:lnTo>
                        <a:pt x="114" y="1355"/>
                      </a:lnTo>
                      <a:lnTo>
                        <a:pt x="108" y="1349"/>
                      </a:lnTo>
                      <a:lnTo>
                        <a:pt x="99" y="1351"/>
                      </a:lnTo>
                      <a:lnTo>
                        <a:pt x="97" y="1349"/>
                      </a:lnTo>
                      <a:lnTo>
                        <a:pt x="102" y="1346"/>
                      </a:lnTo>
                      <a:lnTo>
                        <a:pt x="116" y="1341"/>
                      </a:lnTo>
                      <a:lnTo>
                        <a:pt x="124" y="1327"/>
                      </a:lnTo>
                      <a:lnTo>
                        <a:pt x="130" y="1324"/>
                      </a:lnTo>
                      <a:lnTo>
                        <a:pt x="130" y="1318"/>
                      </a:lnTo>
                      <a:lnTo>
                        <a:pt x="127" y="1310"/>
                      </a:lnTo>
                      <a:lnTo>
                        <a:pt x="124" y="1307"/>
                      </a:lnTo>
                      <a:lnTo>
                        <a:pt x="122" y="1302"/>
                      </a:lnTo>
                      <a:lnTo>
                        <a:pt x="122" y="1297"/>
                      </a:lnTo>
                      <a:lnTo>
                        <a:pt x="127" y="1294"/>
                      </a:lnTo>
                      <a:lnTo>
                        <a:pt x="133" y="1297"/>
                      </a:lnTo>
                      <a:lnTo>
                        <a:pt x="139" y="1294"/>
                      </a:lnTo>
                      <a:lnTo>
                        <a:pt x="142" y="1294"/>
                      </a:lnTo>
                      <a:lnTo>
                        <a:pt x="144" y="1294"/>
                      </a:lnTo>
                      <a:lnTo>
                        <a:pt x="147" y="1294"/>
                      </a:lnTo>
                      <a:lnTo>
                        <a:pt x="160" y="1302"/>
                      </a:lnTo>
                      <a:lnTo>
                        <a:pt x="175" y="1307"/>
                      </a:lnTo>
                      <a:lnTo>
                        <a:pt x="180" y="1305"/>
                      </a:lnTo>
                      <a:lnTo>
                        <a:pt x="188" y="1307"/>
                      </a:lnTo>
                      <a:lnTo>
                        <a:pt x="196" y="1305"/>
                      </a:lnTo>
                      <a:lnTo>
                        <a:pt x="216" y="1302"/>
                      </a:lnTo>
                      <a:lnTo>
                        <a:pt x="216" y="1299"/>
                      </a:lnTo>
                      <a:lnTo>
                        <a:pt x="216" y="1294"/>
                      </a:lnTo>
                      <a:lnTo>
                        <a:pt x="213" y="1291"/>
                      </a:lnTo>
                      <a:lnTo>
                        <a:pt x="211" y="1291"/>
                      </a:lnTo>
                      <a:lnTo>
                        <a:pt x="201" y="1289"/>
                      </a:lnTo>
                      <a:lnTo>
                        <a:pt x="199" y="1286"/>
                      </a:lnTo>
                      <a:lnTo>
                        <a:pt x="193" y="1289"/>
                      </a:lnTo>
                      <a:lnTo>
                        <a:pt x="185" y="1289"/>
                      </a:lnTo>
                      <a:lnTo>
                        <a:pt x="183" y="1282"/>
                      </a:lnTo>
                      <a:lnTo>
                        <a:pt x="177" y="1286"/>
                      </a:lnTo>
                      <a:lnTo>
                        <a:pt x="175" y="1289"/>
                      </a:lnTo>
                      <a:lnTo>
                        <a:pt x="168" y="1286"/>
                      </a:lnTo>
                      <a:lnTo>
                        <a:pt x="163" y="1282"/>
                      </a:lnTo>
                      <a:lnTo>
                        <a:pt x="160" y="1277"/>
                      </a:lnTo>
                      <a:lnTo>
                        <a:pt x="160" y="1274"/>
                      </a:lnTo>
                      <a:lnTo>
                        <a:pt x="155" y="1269"/>
                      </a:lnTo>
                      <a:lnTo>
                        <a:pt x="150" y="1269"/>
                      </a:lnTo>
                      <a:lnTo>
                        <a:pt x="144" y="1266"/>
                      </a:lnTo>
                      <a:lnTo>
                        <a:pt x="142" y="1266"/>
                      </a:lnTo>
                      <a:lnTo>
                        <a:pt x="133" y="1264"/>
                      </a:lnTo>
                      <a:lnTo>
                        <a:pt x="122" y="1258"/>
                      </a:lnTo>
                      <a:lnTo>
                        <a:pt x="108" y="1261"/>
                      </a:lnTo>
                      <a:lnTo>
                        <a:pt x="102" y="1258"/>
                      </a:lnTo>
                      <a:lnTo>
                        <a:pt x="94" y="1258"/>
                      </a:lnTo>
                      <a:lnTo>
                        <a:pt x="91" y="1258"/>
                      </a:lnTo>
                      <a:lnTo>
                        <a:pt x="86" y="1261"/>
                      </a:lnTo>
                      <a:lnTo>
                        <a:pt x="83" y="1261"/>
                      </a:lnTo>
                      <a:lnTo>
                        <a:pt x="81" y="1258"/>
                      </a:lnTo>
                      <a:lnTo>
                        <a:pt x="78" y="1253"/>
                      </a:lnTo>
                      <a:lnTo>
                        <a:pt x="69" y="1249"/>
                      </a:lnTo>
                      <a:lnTo>
                        <a:pt x="63" y="1249"/>
                      </a:lnTo>
                      <a:lnTo>
                        <a:pt x="58" y="1249"/>
                      </a:lnTo>
                      <a:lnTo>
                        <a:pt x="55" y="1249"/>
                      </a:lnTo>
                      <a:lnTo>
                        <a:pt x="53" y="1244"/>
                      </a:lnTo>
                      <a:lnTo>
                        <a:pt x="45" y="1241"/>
                      </a:lnTo>
                      <a:lnTo>
                        <a:pt x="42" y="1238"/>
                      </a:lnTo>
                      <a:lnTo>
                        <a:pt x="39" y="1236"/>
                      </a:lnTo>
                      <a:lnTo>
                        <a:pt x="37" y="1228"/>
                      </a:lnTo>
                      <a:lnTo>
                        <a:pt x="37" y="1213"/>
                      </a:lnTo>
                      <a:lnTo>
                        <a:pt x="37" y="1211"/>
                      </a:lnTo>
                      <a:lnTo>
                        <a:pt x="28" y="1205"/>
                      </a:lnTo>
                      <a:lnTo>
                        <a:pt x="28" y="1203"/>
                      </a:lnTo>
                      <a:lnTo>
                        <a:pt x="28" y="1192"/>
                      </a:lnTo>
                      <a:lnTo>
                        <a:pt x="22" y="1189"/>
                      </a:lnTo>
                      <a:lnTo>
                        <a:pt x="20" y="1189"/>
                      </a:lnTo>
                      <a:lnTo>
                        <a:pt x="12" y="1186"/>
                      </a:lnTo>
                      <a:lnTo>
                        <a:pt x="6" y="1177"/>
                      </a:lnTo>
                      <a:lnTo>
                        <a:pt x="3" y="1167"/>
                      </a:lnTo>
                      <a:lnTo>
                        <a:pt x="3" y="1161"/>
                      </a:lnTo>
                      <a:lnTo>
                        <a:pt x="3" y="1161"/>
                      </a:lnTo>
                      <a:close/>
                    </a:path>
                  </a:pathLst>
                </a:custGeom>
                <a:grpFill/>
                <a:ln w="12700" cap="flat" cmpd="sng" algn="ctr">
                  <a:solidFill>
                    <a:schemeClr val="bg1">
                      <a:lumMod val="85000"/>
                    </a:schemeClr>
                  </a:solidFill>
                  <a:prstDash val="solid"/>
                  <a:round/>
                  <a:headEnd type="none" w="med" len="med"/>
                  <a:tailEnd type="none" w="med" len="med"/>
                </a:ln>
              </p:spPr>
            </p:sp>
            <p:sp>
              <p:nvSpPr>
                <p:cNvPr id="45" name="ee4p_BR_6"/>
                <p:cNvSpPr>
                  <a:spLocks/>
                </p:cNvSpPr>
                <p:nvPr>
                  <p:custDataLst>
                    <p:tags r:id="rId7"/>
                  </p:custDataLst>
                </p:nvPr>
              </p:nvSpPr>
              <p:spPr bwMode="auto">
                <a:xfrm>
                  <a:off x="5932071" y="2491582"/>
                  <a:ext cx="442117" cy="592611"/>
                </a:xfrm>
                <a:custGeom>
                  <a:avLst/>
                  <a:gdLst/>
                  <a:ahLst/>
                  <a:cxnLst>
                    <a:cxn ang="0">
                      <a:pos x="66" y="113"/>
                    </a:cxn>
                    <a:cxn ang="0">
                      <a:pos x="66" y="41"/>
                    </a:cxn>
                    <a:cxn ang="0">
                      <a:pos x="220" y="30"/>
                    </a:cxn>
                    <a:cxn ang="0">
                      <a:pos x="348" y="18"/>
                    </a:cxn>
                    <a:cxn ang="0">
                      <a:pos x="516" y="21"/>
                    </a:cxn>
                    <a:cxn ang="0">
                      <a:pos x="577" y="24"/>
                    </a:cxn>
                    <a:cxn ang="0">
                      <a:pos x="684" y="82"/>
                    </a:cxn>
                    <a:cxn ang="0">
                      <a:pos x="805" y="151"/>
                    </a:cxn>
                    <a:cxn ang="0">
                      <a:pos x="919" y="225"/>
                    </a:cxn>
                    <a:cxn ang="0">
                      <a:pos x="1004" y="276"/>
                    </a:cxn>
                    <a:cxn ang="0">
                      <a:pos x="1104" y="355"/>
                    </a:cxn>
                    <a:cxn ang="0">
                      <a:pos x="1198" y="389"/>
                    </a:cxn>
                    <a:cxn ang="0">
                      <a:pos x="1278" y="483"/>
                    </a:cxn>
                    <a:cxn ang="0">
                      <a:pos x="1408" y="631"/>
                    </a:cxn>
                    <a:cxn ang="0">
                      <a:pos x="1518" y="731"/>
                    </a:cxn>
                    <a:cxn ang="0">
                      <a:pos x="1653" y="797"/>
                    </a:cxn>
                    <a:cxn ang="0">
                      <a:pos x="1507" y="954"/>
                    </a:cxn>
                    <a:cxn ang="0">
                      <a:pos x="1457" y="1067"/>
                    </a:cxn>
                    <a:cxn ang="0">
                      <a:pos x="1393" y="1161"/>
                    </a:cxn>
                    <a:cxn ang="0">
                      <a:pos x="1361" y="1255"/>
                    </a:cxn>
                    <a:cxn ang="0">
                      <a:pos x="1288" y="1365"/>
                    </a:cxn>
                    <a:cxn ang="0">
                      <a:pos x="1231" y="1371"/>
                    </a:cxn>
                    <a:cxn ang="0">
                      <a:pos x="1178" y="1442"/>
                    </a:cxn>
                    <a:cxn ang="0">
                      <a:pos x="1157" y="1503"/>
                    </a:cxn>
                    <a:cxn ang="0">
                      <a:pos x="1165" y="1534"/>
                    </a:cxn>
                    <a:cxn ang="0">
                      <a:pos x="1124" y="1616"/>
                    </a:cxn>
                    <a:cxn ang="0">
                      <a:pos x="1140" y="1674"/>
                    </a:cxn>
                    <a:cxn ang="0">
                      <a:pos x="1101" y="1718"/>
                    </a:cxn>
                    <a:cxn ang="0">
                      <a:pos x="1079" y="1762"/>
                    </a:cxn>
                    <a:cxn ang="0">
                      <a:pos x="1115" y="1820"/>
                    </a:cxn>
                    <a:cxn ang="0">
                      <a:pos x="1165" y="1864"/>
                    </a:cxn>
                    <a:cxn ang="0">
                      <a:pos x="1154" y="1939"/>
                    </a:cxn>
                    <a:cxn ang="0">
                      <a:pos x="1126" y="1997"/>
                    </a:cxn>
                    <a:cxn ang="0">
                      <a:pos x="1081" y="2041"/>
                    </a:cxn>
                    <a:cxn ang="0">
                      <a:pos x="1032" y="2069"/>
                    </a:cxn>
                    <a:cxn ang="0">
                      <a:pos x="999" y="2115"/>
                    </a:cxn>
                    <a:cxn ang="0">
                      <a:pos x="943" y="2094"/>
                    </a:cxn>
                    <a:cxn ang="0">
                      <a:pos x="874" y="2044"/>
                    </a:cxn>
                    <a:cxn ang="0">
                      <a:pos x="839" y="1977"/>
                    </a:cxn>
                    <a:cxn ang="0">
                      <a:pos x="736" y="1906"/>
                    </a:cxn>
                    <a:cxn ang="0">
                      <a:pos x="593" y="1928"/>
                    </a:cxn>
                    <a:cxn ang="0">
                      <a:pos x="367" y="1897"/>
                    </a:cxn>
                    <a:cxn ang="0">
                      <a:pos x="400" y="1770"/>
                    </a:cxn>
                    <a:cxn ang="0">
                      <a:pos x="427" y="1682"/>
                    </a:cxn>
                    <a:cxn ang="0">
                      <a:pos x="320" y="1639"/>
                    </a:cxn>
                    <a:cxn ang="0">
                      <a:pos x="251" y="1506"/>
                    </a:cxn>
                    <a:cxn ang="0">
                      <a:pos x="229" y="1390"/>
                    </a:cxn>
                    <a:cxn ang="0">
                      <a:pos x="207" y="1249"/>
                    </a:cxn>
                    <a:cxn ang="0">
                      <a:pos x="199" y="1138"/>
                    </a:cxn>
                    <a:cxn ang="0">
                      <a:pos x="199" y="1072"/>
                    </a:cxn>
                    <a:cxn ang="0">
                      <a:pos x="190" y="998"/>
                    </a:cxn>
                    <a:cxn ang="0">
                      <a:pos x="118" y="949"/>
                    </a:cxn>
                    <a:cxn ang="0">
                      <a:pos x="69" y="871"/>
                    </a:cxn>
                    <a:cxn ang="0">
                      <a:pos x="89" y="775"/>
                    </a:cxn>
                    <a:cxn ang="0">
                      <a:pos x="99" y="692"/>
                    </a:cxn>
                    <a:cxn ang="0">
                      <a:pos x="121" y="540"/>
                    </a:cxn>
                    <a:cxn ang="0">
                      <a:pos x="66" y="521"/>
                    </a:cxn>
                    <a:cxn ang="0">
                      <a:pos x="61" y="443"/>
                    </a:cxn>
                    <a:cxn ang="0">
                      <a:pos x="38" y="378"/>
                    </a:cxn>
                    <a:cxn ang="0">
                      <a:pos x="38" y="297"/>
                    </a:cxn>
                  </a:cxnLst>
                  <a:rect l="0" t="0" r="r" b="b"/>
                  <a:pathLst>
                    <a:path w="1694" h="2124">
                      <a:moveTo>
                        <a:pt x="3" y="236"/>
                      </a:moveTo>
                      <a:lnTo>
                        <a:pt x="3" y="231"/>
                      </a:lnTo>
                      <a:lnTo>
                        <a:pt x="8" y="225"/>
                      </a:lnTo>
                      <a:lnTo>
                        <a:pt x="8" y="223"/>
                      </a:lnTo>
                      <a:lnTo>
                        <a:pt x="13" y="209"/>
                      </a:lnTo>
                      <a:lnTo>
                        <a:pt x="38" y="164"/>
                      </a:lnTo>
                      <a:lnTo>
                        <a:pt x="38" y="156"/>
                      </a:lnTo>
                      <a:lnTo>
                        <a:pt x="41" y="151"/>
                      </a:lnTo>
                      <a:lnTo>
                        <a:pt x="49" y="143"/>
                      </a:lnTo>
                      <a:lnTo>
                        <a:pt x="55" y="138"/>
                      </a:lnTo>
                      <a:lnTo>
                        <a:pt x="55" y="131"/>
                      </a:lnTo>
                      <a:lnTo>
                        <a:pt x="61" y="131"/>
                      </a:lnTo>
                      <a:lnTo>
                        <a:pt x="61" y="129"/>
                      </a:lnTo>
                      <a:lnTo>
                        <a:pt x="66" y="126"/>
                      </a:lnTo>
                      <a:lnTo>
                        <a:pt x="66" y="118"/>
                      </a:lnTo>
                      <a:lnTo>
                        <a:pt x="63" y="118"/>
                      </a:lnTo>
                      <a:lnTo>
                        <a:pt x="66" y="113"/>
                      </a:lnTo>
                      <a:lnTo>
                        <a:pt x="66" y="110"/>
                      </a:lnTo>
                      <a:lnTo>
                        <a:pt x="69" y="105"/>
                      </a:lnTo>
                      <a:lnTo>
                        <a:pt x="66" y="102"/>
                      </a:lnTo>
                      <a:lnTo>
                        <a:pt x="69" y="102"/>
                      </a:lnTo>
                      <a:lnTo>
                        <a:pt x="66" y="95"/>
                      </a:lnTo>
                      <a:lnTo>
                        <a:pt x="66" y="90"/>
                      </a:lnTo>
                      <a:lnTo>
                        <a:pt x="61" y="82"/>
                      </a:lnTo>
                      <a:lnTo>
                        <a:pt x="61" y="77"/>
                      </a:lnTo>
                      <a:lnTo>
                        <a:pt x="55" y="77"/>
                      </a:lnTo>
                      <a:lnTo>
                        <a:pt x="49" y="77"/>
                      </a:lnTo>
                      <a:lnTo>
                        <a:pt x="41" y="71"/>
                      </a:lnTo>
                      <a:lnTo>
                        <a:pt x="41" y="69"/>
                      </a:lnTo>
                      <a:lnTo>
                        <a:pt x="38" y="69"/>
                      </a:lnTo>
                      <a:lnTo>
                        <a:pt x="38" y="57"/>
                      </a:lnTo>
                      <a:lnTo>
                        <a:pt x="58" y="46"/>
                      </a:lnTo>
                      <a:lnTo>
                        <a:pt x="61" y="44"/>
                      </a:lnTo>
                      <a:lnTo>
                        <a:pt x="66" y="41"/>
                      </a:lnTo>
                      <a:lnTo>
                        <a:pt x="77" y="44"/>
                      </a:lnTo>
                      <a:lnTo>
                        <a:pt x="94" y="44"/>
                      </a:lnTo>
                      <a:lnTo>
                        <a:pt x="99" y="41"/>
                      </a:lnTo>
                      <a:lnTo>
                        <a:pt x="121" y="44"/>
                      </a:lnTo>
                      <a:lnTo>
                        <a:pt x="130" y="46"/>
                      </a:lnTo>
                      <a:lnTo>
                        <a:pt x="133" y="44"/>
                      </a:lnTo>
                      <a:lnTo>
                        <a:pt x="135" y="46"/>
                      </a:lnTo>
                      <a:lnTo>
                        <a:pt x="146" y="46"/>
                      </a:lnTo>
                      <a:lnTo>
                        <a:pt x="168" y="44"/>
                      </a:lnTo>
                      <a:lnTo>
                        <a:pt x="174" y="41"/>
                      </a:lnTo>
                      <a:lnTo>
                        <a:pt x="184" y="38"/>
                      </a:lnTo>
                      <a:lnTo>
                        <a:pt x="190" y="36"/>
                      </a:lnTo>
                      <a:lnTo>
                        <a:pt x="207" y="36"/>
                      </a:lnTo>
                      <a:lnTo>
                        <a:pt x="210" y="30"/>
                      </a:lnTo>
                      <a:lnTo>
                        <a:pt x="212" y="33"/>
                      </a:lnTo>
                      <a:lnTo>
                        <a:pt x="220" y="33"/>
                      </a:lnTo>
                      <a:lnTo>
                        <a:pt x="220" y="30"/>
                      </a:lnTo>
                      <a:lnTo>
                        <a:pt x="223" y="33"/>
                      </a:lnTo>
                      <a:lnTo>
                        <a:pt x="227" y="30"/>
                      </a:lnTo>
                      <a:lnTo>
                        <a:pt x="229" y="33"/>
                      </a:lnTo>
                      <a:lnTo>
                        <a:pt x="232" y="33"/>
                      </a:lnTo>
                      <a:lnTo>
                        <a:pt x="235" y="41"/>
                      </a:lnTo>
                      <a:lnTo>
                        <a:pt x="240" y="38"/>
                      </a:lnTo>
                      <a:lnTo>
                        <a:pt x="245" y="38"/>
                      </a:lnTo>
                      <a:lnTo>
                        <a:pt x="253" y="36"/>
                      </a:lnTo>
                      <a:lnTo>
                        <a:pt x="262" y="27"/>
                      </a:lnTo>
                      <a:lnTo>
                        <a:pt x="268" y="27"/>
                      </a:lnTo>
                      <a:lnTo>
                        <a:pt x="279" y="27"/>
                      </a:lnTo>
                      <a:lnTo>
                        <a:pt x="298" y="27"/>
                      </a:lnTo>
                      <a:lnTo>
                        <a:pt x="304" y="24"/>
                      </a:lnTo>
                      <a:lnTo>
                        <a:pt x="314" y="27"/>
                      </a:lnTo>
                      <a:lnTo>
                        <a:pt x="337" y="24"/>
                      </a:lnTo>
                      <a:lnTo>
                        <a:pt x="345" y="21"/>
                      </a:lnTo>
                      <a:lnTo>
                        <a:pt x="348" y="18"/>
                      </a:lnTo>
                      <a:lnTo>
                        <a:pt x="361" y="13"/>
                      </a:lnTo>
                      <a:lnTo>
                        <a:pt x="367" y="8"/>
                      </a:lnTo>
                      <a:lnTo>
                        <a:pt x="367" y="2"/>
                      </a:lnTo>
                      <a:lnTo>
                        <a:pt x="375" y="0"/>
                      </a:lnTo>
                      <a:lnTo>
                        <a:pt x="391" y="8"/>
                      </a:lnTo>
                      <a:lnTo>
                        <a:pt x="400" y="10"/>
                      </a:lnTo>
                      <a:lnTo>
                        <a:pt x="414" y="10"/>
                      </a:lnTo>
                      <a:lnTo>
                        <a:pt x="425" y="10"/>
                      </a:lnTo>
                      <a:lnTo>
                        <a:pt x="444" y="8"/>
                      </a:lnTo>
                      <a:lnTo>
                        <a:pt x="460" y="10"/>
                      </a:lnTo>
                      <a:lnTo>
                        <a:pt x="472" y="10"/>
                      </a:lnTo>
                      <a:lnTo>
                        <a:pt x="472" y="8"/>
                      </a:lnTo>
                      <a:lnTo>
                        <a:pt x="488" y="10"/>
                      </a:lnTo>
                      <a:lnTo>
                        <a:pt x="503" y="13"/>
                      </a:lnTo>
                      <a:lnTo>
                        <a:pt x="499" y="10"/>
                      </a:lnTo>
                      <a:lnTo>
                        <a:pt x="513" y="18"/>
                      </a:lnTo>
                      <a:lnTo>
                        <a:pt x="516" y="21"/>
                      </a:lnTo>
                      <a:lnTo>
                        <a:pt x="524" y="18"/>
                      </a:lnTo>
                      <a:lnTo>
                        <a:pt x="524" y="16"/>
                      </a:lnTo>
                      <a:lnTo>
                        <a:pt x="538" y="16"/>
                      </a:lnTo>
                      <a:lnTo>
                        <a:pt x="547" y="18"/>
                      </a:lnTo>
                      <a:lnTo>
                        <a:pt x="547" y="21"/>
                      </a:lnTo>
                      <a:lnTo>
                        <a:pt x="549" y="21"/>
                      </a:lnTo>
                      <a:lnTo>
                        <a:pt x="552" y="21"/>
                      </a:lnTo>
                      <a:lnTo>
                        <a:pt x="555" y="21"/>
                      </a:lnTo>
                      <a:lnTo>
                        <a:pt x="560" y="21"/>
                      </a:lnTo>
                      <a:lnTo>
                        <a:pt x="568" y="24"/>
                      </a:lnTo>
                      <a:lnTo>
                        <a:pt x="572" y="21"/>
                      </a:lnTo>
                      <a:lnTo>
                        <a:pt x="565" y="21"/>
                      </a:lnTo>
                      <a:lnTo>
                        <a:pt x="568" y="18"/>
                      </a:lnTo>
                      <a:lnTo>
                        <a:pt x="582" y="27"/>
                      </a:lnTo>
                      <a:lnTo>
                        <a:pt x="588" y="27"/>
                      </a:lnTo>
                      <a:lnTo>
                        <a:pt x="582" y="24"/>
                      </a:lnTo>
                      <a:lnTo>
                        <a:pt x="577" y="24"/>
                      </a:lnTo>
                      <a:lnTo>
                        <a:pt x="582" y="24"/>
                      </a:lnTo>
                      <a:lnTo>
                        <a:pt x="596" y="30"/>
                      </a:lnTo>
                      <a:lnTo>
                        <a:pt x="590" y="27"/>
                      </a:lnTo>
                      <a:lnTo>
                        <a:pt x="601" y="30"/>
                      </a:lnTo>
                      <a:lnTo>
                        <a:pt x="605" y="36"/>
                      </a:lnTo>
                      <a:lnTo>
                        <a:pt x="613" y="38"/>
                      </a:lnTo>
                      <a:lnTo>
                        <a:pt x="616" y="38"/>
                      </a:lnTo>
                      <a:lnTo>
                        <a:pt x="618" y="41"/>
                      </a:lnTo>
                      <a:lnTo>
                        <a:pt x="621" y="41"/>
                      </a:lnTo>
                      <a:lnTo>
                        <a:pt x="624" y="41"/>
                      </a:lnTo>
                      <a:lnTo>
                        <a:pt x="634" y="49"/>
                      </a:lnTo>
                      <a:lnTo>
                        <a:pt x="646" y="57"/>
                      </a:lnTo>
                      <a:lnTo>
                        <a:pt x="651" y="60"/>
                      </a:lnTo>
                      <a:lnTo>
                        <a:pt x="662" y="69"/>
                      </a:lnTo>
                      <a:lnTo>
                        <a:pt x="670" y="71"/>
                      </a:lnTo>
                      <a:lnTo>
                        <a:pt x="682" y="82"/>
                      </a:lnTo>
                      <a:lnTo>
                        <a:pt x="684" y="82"/>
                      </a:lnTo>
                      <a:lnTo>
                        <a:pt x="693" y="87"/>
                      </a:lnTo>
                      <a:lnTo>
                        <a:pt x="703" y="87"/>
                      </a:lnTo>
                      <a:lnTo>
                        <a:pt x="710" y="90"/>
                      </a:lnTo>
                      <a:lnTo>
                        <a:pt x="715" y="95"/>
                      </a:lnTo>
                      <a:lnTo>
                        <a:pt x="718" y="99"/>
                      </a:lnTo>
                      <a:lnTo>
                        <a:pt x="720" y="99"/>
                      </a:lnTo>
                      <a:lnTo>
                        <a:pt x="726" y="95"/>
                      </a:lnTo>
                      <a:lnTo>
                        <a:pt x="731" y="99"/>
                      </a:lnTo>
                      <a:lnTo>
                        <a:pt x="736" y="107"/>
                      </a:lnTo>
                      <a:lnTo>
                        <a:pt x="743" y="115"/>
                      </a:lnTo>
                      <a:lnTo>
                        <a:pt x="745" y="118"/>
                      </a:lnTo>
                      <a:lnTo>
                        <a:pt x="751" y="118"/>
                      </a:lnTo>
                      <a:lnTo>
                        <a:pt x="759" y="123"/>
                      </a:lnTo>
                      <a:lnTo>
                        <a:pt x="772" y="131"/>
                      </a:lnTo>
                      <a:lnTo>
                        <a:pt x="787" y="138"/>
                      </a:lnTo>
                      <a:lnTo>
                        <a:pt x="795" y="148"/>
                      </a:lnTo>
                      <a:lnTo>
                        <a:pt x="805" y="151"/>
                      </a:lnTo>
                      <a:lnTo>
                        <a:pt x="814" y="154"/>
                      </a:lnTo>
                      <a:lnTo>
                        <a:pt x="822" y="162"/>
                      </a:lnTo>
                      <a:lnTo>
                        <a:pt x="828" y="164"/>
                      </a:lnTo>
                      <a:lnTo>
                        <a:pt x="836" y="162"/>
                      </a:lnTo>
                      <a:lnTo>
                        <a:pt x="845" y="164"/>
                      </a:lnTo>
                      <a:lnTo>
                        <a:pt x="853" y="174"/>
                      </a:lnTo>
                      <a:lnTo>
                        <a:pt x="856" y="176"/>
                      </a:lnTo>
                      <a:lnTo>
                        <a:pt x="858" y="176"/>
                      </a:lnTo>
                      <a:lnTo>
                        <a:pt x="864" y="179"/>
                      </a:lnTo>
                      <a:lnTo>
                        <a:pt x="869" y="182"/>
                      </a:lnTo>
                      <a:lnTo>
                        <a:pt x="877" y="182"/>
                      </a:lnTo>
                      <a:lnTo>
                        <a:pt x="881" y="182"/>
                      </a:lnTo>
                      <a:lnTo>
                        <a:pt x="886" y="187"/>
                      </a:lnTo>
                      <a:lnTo>
                        <a:pt x="891" y="192"/>
                      </a:lnTo>
                      <a:lnTo>
                        <a:pt x="908" y="212"/>
                      </a:lnTo>
                      <a:lnTo>
                        <a:pt x="917" y="225"/>
                      </a:lnTo>
                      <a:lnTo>
                        <a:pt x="919" y="225"/>
                      </a:lnTo>
                      <a:lnTo>
                        <a:pt x="919" y="228"/>
                      </a:lnTo>
                      <a:lnTo>
                        <a:pt x="927" y="233"/>
                      </a:lnTo>
                      <a:lnTo>
                        <a:pt x="933" y="233"/>
                      </a:lnTo>
                      <a:lnTo>
                        <a:pt x="935" y="233"/>
                      </a:lnTo>
                      <a:lnTo>
                        <a:pt x="938" y="233"/>
                      </a:lnTo>
                      <a:lnTo>
                        <a:pt x="941" y="242"/>
                      </a:lnTo>
                      <a:lnTo>
                        <a:pt x="950" y="253"/>
                      </a:lnTo>
                      <a:lnTo>
                        <a:pt x="958" y="259"/>
                      </a:lnTo>
                      <a:lnTo>
                        <a:pt x="958" y="256"/>
                      </a:lnTo>
                      <a:lnTo>
                        <a:pt x="963" y="261"/>
                      </a:lnTo>
                      <a:lnTo>
                        <a:pt x="968" y="261"/>
                      </a:lnTo>
                      <a:lnTo>
                        <a:pt x="974" y="259"/>
                      </a:lnTo>
                      <a:lnTo>
                        <a:pt x="977" y="259"/>
                      </a:lnTo>
                      <a:lnTo>
                        <a:pt x="979" y="256"/>
                      </a:lnTo>
                      <a:lnTo>
                        <a:pt x="986" y="256"/>
                      </a:lnTo>
                      <a:lnTo>
                        <a:pt x="999" y="264"/>
                      </a:lnTo>
                      <a:lnTo>
                        <a:pt x="1004" y="276"/>
                      </a:lnTo>
                      <a:lnTo>
                        <a:pt x="1010" y="278"/>
                      </a:lnTo>
                      <a:lnTo>
                        <a:pt x="1010" y="284"/>
                      </a:lnTo>
                      <a:lnTo>
                        <a:pt x="1012" y="284"/>
                      </a:lnTo>
                      <a:lnTo>
                        <a:pt x="1015" y="294"/>
                      </a:lnTo>
                      <a:lnTo>
                        <a:pt x="1021" y="300"/>
                      </a:lnTo>
                      <a:lnTo>
                        <a:pt x="1030" y="300"/>
                      </a:lnTo>
                      <a:lnTo>
                        <a:pt x="1038" y="309"/>
                      </a:lnTo>
                      <a:lnTo>
                        <a:pt x="1043" y="314"/>
                      </a:lnTo>
                      <a:lnTo>
                        <a:pt x="1052" y="317"/>
                      </a:lnTo>
                      <a:lnTo>
                        <a:pt x="1057" y="317"/>
                      </a:lnTo>
                      <a:lnTo>
                        <a:pt x="1060" y="317"/>
                      </a:lnTo>
                      <a:lnTo>
                        <a:pt x="1063" y="320"/>
                      </a:lnTo>
                      <a:lnTo>
                        <a:pt x="1076" y="336"/>
                      </a:lnTo>
                      <a:lnTo>
                        <a:pt x="1079" y="341"/>
                      </a:lnTo>
                      <a:lnTo>
                        <a:pt x="1088" y="350"/>
                      </a:lnTo>
                      <a:lnTo>
                        <a:pt x="1093" y="350"/>
                      </a:lnTo>
                      <a:lnTo>
                        <a:pt x="1104" y="355"/>
                      </a:lnTo>
                      <a:lnTo>
                        <a:pt x="1121" y="371"/>
                      </a:lnTo>
                      <a:lnTo>
                        <a:pt x="1124" y="374"/>
                      </a:lnTo>
                      <a:lnTo>
                        <a:pt x="1132" y="378"/>
                      </a:lnTo>
                      <a:lnTo>
                        <a:pt x="1142" y="378"/>
                      </a:lnTo>
                      <a:lnTo>
                        <a:pt x="1148" y="380"/>
                      </a:lnTo>
                      <a:lnTo>
                        <a:pt x="1154" y="380"/>
                      </a:lnTo>
                      <a:lnTo>
                        <a:pt x="1159" y="383"/>
                      </a:lnTo>
                      <a:lnTo>
                        <a:pt x="1165" y="386"/>
                      </a:lnTo>
                      <a:lnTo>
                        <a:pt x="1167" y="389"/>
                      </a:lnTo>
                      <a:lnTo>
                        <a:pt x="1170" y="389"/>
                      </a:lnTo>
                      <a:lnTo>
                        <a:pt x="1176" y="391"/>
                      </a:lnTo>
                      <a:lnTo>
                        <a:pt x="1178" y="391"/>
                      </a:lnTo>
                      <a:lnTo>
                        <a:pt x="1184" y="391"/>
                      </a:lnTo>
                      <a:lnTo>
                        <a:pt x="1186" y="394"/>
                      </a:lnTo>
                      <a:lnTo>
                        <a:pt x="1193" y="391"/>
                      </a:lnTo>
                      <a:lnTo>
                        <a:pt x="1198" y="391"/>
                      </a:lnTo>
                      <a:lnTo>
                        <a:pt x="1198" y="389"/>
                      </a:lnTo>
                      <a:lnTo>
                        <a:pt x="1198" y="386"/>
                      </a:lnTo>
                      <a:lnTo>
                        <a:pt x="1195" y="383"/>
                      </a:lnTo>
                      <a:lnTo>
                        <a:pt x="1201" y="389"/>
                      </a:lnTo>
                      <a:lnTo>
                        <a:pt x="1214" y="414"/>
                      </a:lnTo>
                      <a:lnTo>
                        <a:pt x="1214" y="416"/>
                      </a:lnTo>
                      <a:lnTo>
                        <a:pt x="1228" y="435"/>
                      </a:lnTo>
                      <a:lnTo>
                        <a:pt x="1242" y="458"/>
                      </a:lnTo>
                      <a:lnTo>
                        <a:pt x="1250" y="468"/>
                      </a:lnTo>
                      <a:lnTo>
                        <a:pt x="1262" y="476"/>
                      </a:lnTo>
                      <a:lnTo>
                        <a:pt x="1267" y="483"/>
                      </a:lnTo>
                      <a:lnTo>
                        <a:pt x="1270" y="485"/>
                      </a:lnTo>
                      <a:lnTo>
                        <a:pt x="1264" y="483"/>
                      </a:lnTo>
                      <a:lnTo>
                        <a:pt x="1267" y="485"/>
                      </a:lnTo>
                      <a:lnTo>
                        <a:pt x="1270" y="485"/>
                      </a:lnTo>
                      <a:lnTo>
                        <a:pt x="1270" y="483"/>
                      </a:lnTo>
                      <a:lnTo>
                        <a:pt x="1272" y="483"/>
                      </a:lnTo>
                      <a:lnTo>
                        <a:pt x="1278" y="483"/>
                      </a:lnTo>
                      <a:lnTo>
                        <a:pt x="1280" y="485"/>
                      </a:lnTo>
                      <a:lnTo>
                        <a:pt x="1286" y="493"/>
                      </a:lnTo>
                      <a:lnTo>
                        <a:pt x="1297" y="507"/>
                      </a:lnTo>
                      <a:lnTo>
                        <a:pt x="1300" y="509"/>
                      </a:lnTo>
                      <a:lnTo>
                        <a:pt x="1308" y="521"/>
                      </a:lnTo>
                      <a:lnTo>
                        <a:pt x="1311" y="524"/>
                      </a:lnTo>
                      <a:lnTo>
                        <a:pt x="1316" y="532"/>
                      </a:lnTo>
                      <a:lnTo>
                        <a:pt x="1328" y="548"/>
                      </a:lnTo>
                      <a:lnTo>
                        <a:pt x="1331" y="551"/>
                      </a:lnTo>
                      <a:lnTo>
                        <a:pt x="1341" y="570"/>
                      </a:lnTo>
                      <a:lnTo>
                        <a:pt x="1352" y="576"/>
                      </a:lnTo>
                      <a:lnTo>
                        <a:pt x="1372" y="598"/>
                      </a:lnTo>
                      <a:lnTo>
                        <a:pt x="1374" y="601"/>
                      </a:lnTo>
                      <a:lnTo>
                        <a:pt x="1385" y="612"/>
                      </a:lnTo>
                      <a:lnTo>
                        <a:pt x="1393" y="617"/>
                      </a:lnTo>
                      <a:lnTo>
                        <a:pt x="1397" y="620"/>
                      </a:lnTo>
                      <a:lnTo>
                        <a:pt x="1408" y="631"/>
                      </a:lnTo>
                      <a:lnTo>
                        <a:pt x="1424" y="647"/>
                      </a:lnTo>
                      <a:lnTo>
                        <a:pt x="1435" y="655"/>
                      </a:lnTo>
                      <a:lnTo>
                        <a:pt x="1451" y="667"/>
                      </a:lnTo>
                      <a:lnTo>
                        <a:pt x="1457" y="667"/>
                      </a:lnTo>
                      <a:lnTo>
                        <a:pt x="1469" y="675"/>
                      </a:lnTo>
                      <a:lnTo>
                        <a:pt x="1474" y="675"/>
                      </a:lnTo>
                      <a:lnTo>
                        <a:pt x="1477" y="675"/>
                      </a:lnTo>
                      <a:lnTo>
                        <a:pt x="1482" y="678"/>
                      </a:lnTo>
                      <a:lnTo>
                        <a:pt x="1485" y="675"/>
                      </a:lnTo>
                      <a:lnTo>
                        <a:pt x="1487" y="686"/>
                      </a:lnTo>
                      <a:lnTo>
                        <a:pt x="1485" y="686"/>
                      </a:lnTo>
                      <a:lnTo>
                        <a:pt x="1490" y="695"/>
                      </a:lnTo>
                      <a:lnTo>
                        <a:pt x="1495" y="706"/>
                      </a:lnTo>
                      <a:lnTo>
                        <a:pt x="1502" y="716"/>
                      </a:lnTo>
                      <a:lnTo>
                        <a:pt x="1510" y="724"/>
                      </a:lnTo>
                      <a:lnTo>
                        <a:pt x="1515" y="728"/>
                      </a:lnTo>
                      <a:lnTo>
                        <a:pt x="1518" y="731"/>
                      </a:lnTo>
                      <a:lnTo>
                        <a:pt x="1526" y="742"/>
                      </a:lnTo>
                      <a:lnTo>
                        <a:pt x="1532" y="747"/>
                      </a:lnTo>
                      <a:lnTo>
                        <a:pt x="1538" y="752"/>
                      </a:lnTo>
                      <a:lnTo>
                        <a:pt x="1556" y="769"/>
                      </a:lnTo>
                      <a:lnTo>
                        <a:pt x="1568" y="775"/>
                      </a:lnTo>
                      <a:lnTo>
                        <a:pt x="1579" y="777"/>
                      </a:lnTo>
                      <a:lnTo>
                        <a:pt x="1584" y="775"/>
                      </a:lnTo>
                      <a:lnTo>
                        <a:pt x="1595" y="769"/>
                      </a:lnTo>
                      <a:lnTo>
                        <a:pt x="1598" y="772"/>
                      </a:lnTo>
                      <a:lnTo>
                        <a:pt x="1604" y="777"/>
                      </a:lnTo>
                      <a:lnTo>
                        <a:pt x="1604" y="780"/>
                      </a:lnTo>
                      <a:lnTo>
                        <a:pt x="1609" y="780"/>
                      </a:lnTo>
                      <a:lnTo>
                        <a:pt x="1631" y="791"/>
                      </a:lnTo>
                      <a:lnTo>
                        <a:pt x="1645" y="793"/>
                      </a:lnTo>
                      <a:lnTo>
                        <a:pt x="1650" y="797"/>
                      </a:lnTo>
                      <a:lnTo>
                        <a:pt x="1653" y="800"/>
                      </a:lnTo>
                      <a:lnTo>
                        <a:pt x="1653" y="797"/>
                      </a:lnTo>
                      <a:lnTo>
                        <a:pt x="1653" y="800"/>
                      </a:lnTo>
                      <a:lnTo>
                        <a:pt x="1659" y="800"/>
                      </a:lnTo>
                      <a:lnTo>
                        <a:pt x="1664" y="803"/>
                      </a:lnTo>
                      <a:lnTo>
                        <a:pt x="1676" y="811"/>
                      </a:lnTo>
                      <a:lnTo>
                        <a:pt x="1681" y="819"/>
                      </a:lnTo>
                      <a:lnTo>
                        <a:pt x="1684" y="824"/>
                      </a:lnTo>
                      <a:lnTo>
                        <a:pt x="1689" y="844"/>
                      </a:lnTo>
                      <a:lnTo>
                        <a:pt x="1694" y="857"/>
                      </a:lnTo>
                      <a:lnTo>
                        <a:pt x="1692" y="860"/>
                      </a:lnTo>
                      <a:lnTo>
                        <a:pt x="1653" y="869"/>
                      </a:lnTo>
                      <a:lnTo>
                        <a:pt x="1615" y="877"/>
                      </a:lnTo>
                      <a:lnTo>
                        <a:pt x="1607" y="880"/>
                      </a:lnTo>
                      <a:lnTo>
                        <a:pt x="1538" y="896"/>
                      </a:lnTo>
                      <a:lnTo>
                        <a:pt x="1532" y="913"/>
                      </a:lnTo>
                      <a:lnTo>
                        <a:pt x="1529" y="926"/>
                      </a:lnTo>
                      <a:lnTo>
                        <a:pt x="1521" y="949"/>
                      </a:lnTo>
                      <a:lnTo>
                        <a:pt x="1507" y="954"/>
                      </a:lnTo>
                      <a:lnTo>
                        <a:pt x="1504" y="957"/>
                      </a:lnTo>
                      <a:lnTo>
                        <a:pt x="1502" y="959"/>
                      </a:lnTo>
                      <a:lnTo>
                        <a:pt x="1499" y="970"/>
                      </a:lnTo>
                      <a:lnTo>
                        <a:pt x="1485" y="984"/>
                      </a:lnTo>
                      <a:lnTo>
                        <a:pt x="1482" y="1007"/>
                      </a:lnTo>
                      <a:lnTo>
                        <a:pt x="1477" y="1015"/>
                      </a:lnTo>
                      <a:lnTo>
                        <a:pt x="1477" y="1020"/>
                      </a:lnTo>
                      <a:lnTo>
                        <a:pt x="1479" y="1023"/>
                      </a:lnTo>
                      <a:lnTo>
                        <a:pt x="1479" y="1028"/>
                      </a:lnTo>
                      <a:lnTo>
                        <a:pt x="1477" y="1036"/>
                      </a:lnTo>
                      <a:lnTo>
                        <a:pt x="1477" y="1043"/>
                      </a:lnTo>
                      <a:lnTo>
                        <a:pt x="1479" y="1048"/>
                      </a:lnTo>
                      <a:lnTo>
                        <a:pt x="1479" y="1051"/>
                      </a:lnTo>
                      <a:lnTo>
                        <a:pt x="1477" y="1051"/>
                      </a:lnTo>
                      <a:lnTo>
                        <a:pt x="1474" y="1053"/>
                      </a:lnTo>
                      <a:lnTo>
                        <a:pt x="1469" y="1059"/>
                      </a:lnTo>
                      <a:lnTo>
                        <a:pt x="1457" y="1067"/>
                      </a:lnTo>
                      <a:lnTo>
                        <a:pt x="1451" y="1069"/>
                      </a:lnTo>
                      <a:lnTo>
                        <a:pt x="1449" y="1079"/>
                      </a:lnTo>
                      <a:lnTo>
                        <a:pt x="1449" y="1081"/>
                      </a:lnTo>
                      <a:lnTo>
                        <a:pt x="1446" y="1084"/>
                      </a:lnTo>
                      <a:lnTo>
                        <a:pt x="1449" y="1092"/>
                      </a:lnTo>
                      <a:lnTo>
                        <a:pt x="1446" y="1097"/>
                      </a:lnTo>
                      <a:lnTo>
                        <a:pt x="1438" y="1108"/>
                      </a:lnTo>
                      <a:lnTo>
                        <a:pt x="1438" y="1112"/>
                      </a:lnTo>
                      <a:lnTo>
                        <a:pt x="1438" y="1114"/>
                      </a:lnTo>
                      <a:lnTo>
                        <a:pt x="1435" y="1128"/>
                      </a:lnTo>
                      <a:lnTo>
                        <a:pt x="1433" y="1130"/>
                      </a:lnTo>
                      <a:lnTo>
                        <a:pt x="1430" y="1136"/>
                      </a:lnTo>
                      <a:lnTo>
                        <a:pt x="1424" y="1138"/>
                      </a:lnTo>
                      <a:lnTo>
                        <a:pt x="1418" y="1138"/>
                      </a:lnTo>
                      <a:lnTo>
                        <a:pt x="1413" y="1150"/>
                      </a:lnTo>
                      <a:lnTo>
                        <a:pt x="1408" y="1153"/>
                      </a:lnTo>
                      <a:lnTo>
                        <a:pt x="1393" y="1161"/>
                      </a:lnTo>
                      <a:lnTo>
                        <a:pt x="1393" y="1164"/>
                      </a:lnTo>
                      <a:lnTo>
                        <a:pt x="1391" y="1166"/>
                      </a:lnTo>
                      <a:lnTo>
                        <a:pt x="1391" y="1172"/>
                      </a:lnTo>
                      <a:lnTo>
                        <a:pt x="1385" y="1177"/>
                      </a:lnTo>
                      <a:lnTo>
                        <a:pt x="1377" y="1194"/>
                      </a:lnTo>
                      <a:lnTo>
                        <a:pt x="1369" y="1197"/>
                      </a:lnTo>
                      <a:lnTo>
                        <a:pt x="1361" y="1205"/>
                      </a:lnTo>
                      <a:lnTo>
                        <a:pt x="1357" y="1207"/>
                      </a:lnTo>
                      <a:lnTo>
                        <a:pt x="1357" y="1219"/>
                      </a:lnTo>
                      <a:lnTo>
                        <a:pt x="1355" y="1227"/>
                      </a:lnTo>
                      <a:lnTo>
                        <a:pt x="1355" y="1233"/>
                      </a:lnTo>
                      <a:lnTo>
                        <a:pt x="1361" y="1230"/>
                      </a:lnTo>
                      <a:lnTo>
                        <a:pt x="1366" y="1230"/>
                      </a:lnTo>
                      <a:lnTo>
                        <a:pt x="1366" y="1233"/>
                      </a:lnTo>
                      <a:lnTo>
                        <a:pt x="1372" y="1233"/>
                      </a:lnTo>
                      <a:lnTo>
                        <a:pt x="1366" y="1243"/>
                      </a:lnTo>
                      <a:lnTo>
                        <a:pt x="1361" y="1255"/>
                      </a:lnTo>
                      <a:lnTo>
                        <a:pt x="1347" y="1268"/>
                      </a:lnTo>
                      <a:lnTo>
                        <a:pt x="1347" y="1271"/>
                      </a:lnTo>
                      <a:lnTo>
                        <a:pt x="1341" y="1276"/>
                      </a:lnTo>
                      <a:lnTo>
                        <a:pt x="1344" y="1282"/>
                      </a:lnTo>
                      <a:lnTo>
                        <a:pt x="1339" y="1299"/>
                      </a:lnTo>
                      <a:lnTo>
                        <a:pt x="1333" y="1304"/>
                      </a:lnTo>
                      <a:lnTo>
                        <a:pt x="1331" y="1310"/>
                      </a:lnTo>
                      <a:lnTo>
                        <a:pt x="1324" y="1315"/>
                      </a:lnTo>
                      <a:lnTo>
                        <a:pt x="1324" y="1321"/>
                      </a:lnTo>
                      <a:lnTo>
                        <a:pt x="1324" y="1324"/>
                      </a:lnTo>
                      <a:lnTo>
                        <a:pt x="1319" y="1327"/>
                      </a:lnTo>
                      <a:lnTo>
                        <a:pt x="1316" y="1327"/>
                      </a:lnTo>
                      <a:lnTo>
                        <a:pt x="1313" y="1329"/>
                      </a:lnTo>
                      <a:lnTo>
                        <a:pt x="1308" y="1332"/>
                      </a:lnTo>
                      <a:lnTo>
                        <a:pt x="1292" y="1345"/>
                      </a:lnTo>
                      <a:lnTo>
                        <a:pt x="1288" y="1351"/>
                      </a:lnTo>
                      <a:lnTo>
                        <a:pt x="1288" y="1365"/>
                      </a:lnTo>
                      <a:lnTo>
                        <a:pt x="1286" y="1368"/>
                      </a:lnTo>
                      <a:lnTo>
                        <a:pt x="1283" y="1368"/>
                      </a:lnTo>
                      <a:lnTo>
                        <a:pt x="1278" y="1373"/>
                      </a:lnTo>
                      <a:lnTo>
                        <a:pt x="1278" y="1376"/>
                      </a:lnTo>
                      <a:lnTo>
                        <a:pt x="1272" y="1376"/>
                      </a:lnTo>
                      <a:lnTo>
                        <a:pt x="1267" y="1381"/>
                      </a:lnTo>
                      <a:lnTo>
                        <a:pt x="1262" y="1379"/>
                      </a:lnTo>
                      <a:lnTo>
                        <a:pt x="1253" y="1379"/>
                      </a:lnTo>
                      <a:lnTo>
                        <a:pt x="1250" y="1373"/>
                      </a:lnTo>
                      <a:lnTo>
                        <a:pt x="1250" y="1379"/>
                      </a:lnTo>
                      <a:lnTo>
                        <a:pt x="1242" y="1384"/>
                      </a:lnTo>
                      <a:lnTo>
                        <a:pt x="1239" y="1381"/>
                      </a:lnTo>
                      <a:lnTo>
                        <a:pt x="1236" y="1376"/>
                      </a:lnTo>
                      <a:lnTo>
                        <a:pt x="1236" y="1373"/>
                      </a:lnTo>
                      <a:lnTo>
                        <a:pt x="1234" y="1373"/>
                      </a:lnTo>
                      <a:lnTo>
                        <a:pt x="1234" y="1368"/>
                      </a:lnTo>
                      <a:lnTo>
                        <a:pt x="1231" y="1371"/>
                      </a:lnTo>
                      <a:lnTo>
                        <a:pt x="1228" y="1368"/>
                      </a:lnTo>
                      <a:lnTo>
                        <a:pt x="1226" y="1371"/>
                      </a:lnTo>
                      <a:lnTo>
                        <a:pt x="1223" y="1371"/>
                      </a:lnTo>
                      <a:lnTo>
                        <a:pt x="1214" y="1379"/>
                      </a:lnTo>
                      <a:lnTo>
                        <a:pt x="1209" y="1381"/>
                      </a:lnTo>
                      <a:lnTo>
                        <a:pt x="1211" y="1387"/>
                      </a:lnTo>
                      <a:lnTo>
                        <a:pt x="1206" y="1393"/>
                      </a:lnTo>
                      <a:lnTo>
                        <a:pt x="1203" y="1393"/>
                      </a:lnTo>
                      <a:lnTo>
                        <a:pt x="1201" y="1401"/>
                      </a:lnTo>
                      <a:lnTo>
                        <a:pt x="1198" y="1406"/>
                      </a:lnTo>
                      <a:lnTo>
                        <a:pt x="1198" y="1409"/>
                      </a:lnTo>
                      <a:lnTo>
                        <a:pt x="1186" y="1420"/>
                      </a:lnTo>
                      <a:lnTo>
                        <a:pt x="1186" y="1426"/>
                      </a:lnTo>
                      <a:lnTo>
                        <a:pt x="1176" y="1429"/>
                      </a:lnTo>
                      <a:lnTo>
                        <a:pt x="1176" y="1437"/>
                      </a:lnTo>
                      <a:lnTo>
                        <a:pt x="1178" y="1440"/>
                      </a:lnTo>
                      <a:lnTo>
                        <a:pt x="1178" y="1442"/>
                      </a:lnTo>
                      <a:lnTo>
                        <a:pt x="1176" y="1445"/>
                      </a:lnTo>
                      <a:lnTo>
                        <a:pt x="1173" y="1450"/>
                      </a:lnTo>
                      <a:lnTo>
                        <a:pt x="1167" y="1448"/>
                      </a:lnTo>
                      <a:lnTo>
                        <a:pt x="1165" y="1456"/>
                      </a:lnTo>
                      <a:lnTo>
                        <a:pt x="1162" y="1458"/>
                      </a:lnTo>
                      <a:lnTo>
                        <a:pt x="1157" y="1462"/>
                      </a:lnTo>
                      <a:lnTo>
                        <a:pt x="1157" y="1465"/>
                      </a:lnTo>
                      <a:lnTo>
                        <a:pt x="1159" y="1465"/>
                      </a:lnTo>
                      <a:lnTo>
                        <a:pt x="1159" y="1470"/>
                      </a:lnTo>
                      <a:lnTo>
                        <a:pt x="1159" y="1473"/>
                      </a:lnTo>
                      <a:lnTo>
                        <a:pt x="1154" y="1478"/>
                      </a:lnTo>
                      <a:lnTo>
                        <a:pt x="1154" y="1483"/>
                      </a:lnTo>
                      <a:lnTo>
                        <a:pt x="1157" y="1492"/>
                      </a:lnTo>
                      <a:lnTo>
                        <a:pt x="1162" y="1495"/>
                      </a:lnTo>
                      <a:lnTo>
                        <a:pt x="1159" y="1498"/>
                      </a:lnTo>
                      <a:lnTo>
                        <a:pt x="1157" y="1498"/>
                      </a:lnTo>
                      <a:lnTo>
                        <a:pt x="1157" y="1503"/>
                      </a:lnTo>
                      <a:lnTo>
                        <a:pt x="1150" y="1503"/>
                      </a:lnTo>
                      <a:lnTo>
                        <a:pt x="1150" y="1506"/>
                      </a:lnTo>
                      <a:lnTo>
                        <a:pt x="1148" y="1509"/>
                      </a:lnTo>
                      <a:lnTo>
                        <a:pt x="1145" y="1509"/>
                      </a:lnTo>
                      <a:lnTo>
                        <a:pt x="1148" y="1511"/>
                      </a:lnTo>
                      <a:lnTo>
                        <a:pt x="1150" y="1511"/>
                      </a:lnTo>
                      <a:lnTo>
                        <a:pt x="1154" y="1511"/>
                      </a:lnTo>
                      <a:lnTo>
                        <a:pt x="1154" y="1514"/>
                      </a:lnTo>
                      <a:lnTo>
                        <a:pt x="1157" y="1514"/>
                      </a:lnTo>
                      <a:lnTo>
                        <a:pt x="1167" y="1514"/>
                      </a:lnTo>
                      <a:lnTo>
                        <a:pt x="1170" y="1514"/>
                      </a:lnTo>
                      <a:lnTo>
                        <a:pt x="1176" y="1511"/>
                      </a:lnTo>
                      <a:lnTo>
                        <a:pt x="1181" y="1517"/>
                      </a:lnTo>
                      <a:lnTo>
                        <a:pt x="1178" y="1517"/>
                      </a:lnTo>
                      <a:lnTo>
                        <a:pt x="1165" y="1527"/>
                      </a:lnTo>
                      <a:lnTo>
                        <a:pt x="1165" y="1531"/>
                      </a:lnTo>
                      <a:lnTo>
                        <a:pt x="1165" y="1534"/>
                      </a:lnTo>
                      <a:lnTo>
                        <a:pt x="1159" y="1536"/>
                      </a:lnTo>
                      <a:lnTo>
                        <a:pt x="1159" y="1544"/>
                      </a:lnTo>
                      <a:lnTo>
                        <a:pt x="1148" y="1555"/>
                      </a:lnTo>
                      <a:lnTo>
                        <a:pt x="1142" y="1561"/>
                      </a:lnTo>
                      <a:lnTo>
                        <a:pt x="1140" y="1567"/>
                      </a:lnTo>
                      <a:lnTo>
                        <a:pt x="1142" y="1570"/>
                      </a:lnTo>
                      <a:lnTo>
                        <a:pt x="1137" y="1578"/>
                      </a:lnTo>
                      <a:lnTo>
                        <a:pt x="1137" y="1580"/>
                      </a:lnTo>
                      <a:lnTo>
                        <a:pt x="1134" y="1583"/>
                      </a:lnTo>
                      <a:lnTo>
                        <a:pt x="1134" y="1586"/>
                      </a:lnTo>
                      <a:lnTo>
                        <a:pt x="1129" y="1588"/>
                      </a:lnTo>
                      <a:lnTo>
                        <a:pt x="1134" y="1594"/>
                      </a:lnTo>
                      <a:lnTo>
                        <a:pt x="1134" y="1600"/>
                      </a:lnTo>
                      <a:lnTo>
                        <a:pt x="1129" y="1605"/>
                      </a:lnTo>
                      <a:lnTo>
                        <a:pt x="1126" y="1608"/>
                      </a:lnTo>
                      <a:lnTo>
                        <a:pt x="1124" y="1611"/>
                      </a:lnTo>
                      <a:lnTo>
                        <a:pt x="1124" y="1616"/>
                      </a:lnTo>
                      <a:lnTo>
                        <a:pt x="1129" y="1619"/>
                      </a:lnTo>
                      <a:lnTo>
                        <a:pt x="1129" y="1624"/>
                      </a:lnTo>
                      <a:lnTo>
                        <a:pt x="1126" y="1627"/>
                      </a:lnTo>
                      <a:lnTo>
                        <a:pt x="1121" y="1630"/>
                      </a:lnTo>
                      <a:lnTo>
                        <a:pt x="1124" y="1630"/>
                      </a:lnTo>
                      <a:lnTo>
                        <a:pt x="1121" y="1630"/>
                      </a:lnTo>
                      <a:lnTo>
                        <a:pt x="1117" y="1639"/>
                      </a:lnTo>
                      <a:lnTo>
                        <a:pt x="1117" y="1641"/>
                      </a:lnTo>
                      <a:lnTo>
                        <a:pt x="1121" y="1649"/>
                      </a:lnTo>
                      <a:lnTo>
                        <a:pt x="1124" y="1652"/>
                      </a:lnTo>
                      <a:lnTo>
                        <a:pt x="1124" y="1657"/>
                      </a:lnTo>
                      <a:lnTo>
                        <a:pt x="1126" y="1660"/>
                      </a:lnTo>
                      <a:lnTo>
                        <a:pt x="1126" y="1663"/>
                      </a:lnTo>
                      <a:lnTo>
                        <a:pt x="1126" y="1665"/>
                      </a:lnTo>
                      <a:lnTo>
                        <a:pt x="1132" y="1665"/>
                      </a:lnTo>
                      <a:lnTo>
                        <a:pt x="1134" y="1672"/>
                      </a:lnTo>
                      <a:lnTo>
                        <a:pt x="1140" y="1674"/>
                      </a:lnTo>
                      <a:lnTo>
                        <a:pt x="1140" y="1680"/>
                      </a:lnTo>
                      <a:lnTo>
                        <a:pt x="1134" y="1677"/>
                      </a:lnTo>
                      <a:lnTo>
                        <a:pt x="1129" y="1677"/>
                      </a:lnTo>
                      <a:lnTo>
                        <a:pt x="1132" y="1680"/>
                      </a:lnTo>
                      <a:lnTo>
                        <a:pt x="1132" y="1682"/>
                      </a:lnTo>
                      <a:lnTo>
                        <a:pt x="1126" y="1685"/>
                      </a:lnTo>
                      <a:lnTo>
                        <a:pt x="1124" y="1688"/>
                      </a:lnTo>
                      <a:lnTo>
                        <a:pt x="1121" y="1690"/>
                      </a:lnTo>
                      <a:lnTo>
                        <a:pt x="1115" y="1696"/>
                      </a:lnTo>
                      <a:lnTo>
                        <a:pt x="1117" y="1698"/>
                      </a:lnTo>
                      <a:lnTo>
                        <a:pt x="1117" y="1701"/>
                      </a:lnTo>
                      <a:lnTo>
                        <a:pt x="1115" y="1705"/>
                      </a:lnTo>
                      <a:lnTo>
                        <a:pt x="1115" y="1708"/>
                      </a:lnTo>
                      <a:lnTo>
                        <a:pt x="1112" y="1710"/>
                      </a:lnTo>
                      <a:lnTo>
                        <a:pt x="1107" y="1713"/>
                      </a:lnTo>
                      <a:lnTo>
                        <a:pt x="1101" y="1713"/>
                      </a:lnTo>
                      <a:lnTo>
                        <a:pt x="1101" y="1718"/>
                      </a:lnTo>
                      <a:lnTo>
                        <a:pt x="1096" y="1718"/>
                      </a:lnTo>
                      <a:lnTo>
                        <a:pt x="1093" y="1718"/>
                      </a:lnTo>
                      <a:lnTo>
                        <a:pt x="1093" y="1721"/>
                      </a:lnTo>
                      <a:lnTo>
                        <a:pt x="1081" y="1724"/>
                      </a:lnTo>
                      <a:lnTo>
                        <a:pt x="1079" y="1726"/>
                      </a:lnTo>
                      <a:lnTo>
                        <a:pt x="1081" y="1729"/>
                      </a:lnTo>
                      <a:lnTo>
                        <a:pt x="1081" y="1734"/>
                      </a:lnTo>
                      <a:lnTo>
                        <a:pt x="1084" y="1741"/>
                      </a:lnTo>
                      <a:lnTo>
                        <a:pt x="1079" y="1743"/>
                      </a:lnTo>
                      <a:lnTo>
                        <a:pt x="1081" y="1749"/>
                      </a:lnTo>
                      <a:lnTo>
                        <a:pt x="1088" y="1749"/>
                      </a:lnTo>
                      <a:lnTo>
                        <a:pt x="1088" y="1751"/>
                      </a:lnTo>
                      <a:lnTo>
                        <a:pt x="1090" y="1754"/>
                      </a:lnTo>
                      <a:lnTo>
                        <a:pt x="1088" y="1754"/>
                      </a:lnTo>
                      <a:lnTo>
                        <a:pt x="1084" y="1759"/>
                      </a:lnTo>
                      <a:lnTo>
                        <a:pt x="1081" y="1759"/>
                      </a:lnTo>
                      <a:lnTo>
                        <a:pt x="1079" y="1762"/>
                      </a:lnTo>
                      <a:lnTo>
                        <a:pt x="1081" y="1765"/>
                      </a:lnTo>
                      <a:lnTo>
                        <a:pt x="1084" y="1765"/>
                      </a:lnTo>
                      <a:lnTo>
                        <a:pt x="1093" y="1770"/>
                      </a:lnTo>
                      <a:lnTo>
                        <a:pt x="1098" y="1774"/>
                      </a:lnTo>
                      <a:lnTo>
                        <a:pt x="1101" y="1774"/>
                      </a:lnTo>
                      <a:lnTo>
                        <a:pt x="1109" y="1777"/>
                      </a:lnTo>
                      <a:lnTo>
                        <a:pt x="1109" y="1782"/>
                      </a:lnTo>
                      <a:lnTo>
                        <a:pt x="1117" y="1785"/>
                      </a:lnTo>
                      <a:lnTo>
                        <a:pt x="1117" y="1787"/>
                      </a:lnTo>
                      <a:lnTo>
                        <a:pt x="1115" y="1793"/>
                      </a:lnTo>
                      <a:lnTo>
                        <a:pt x="1117" y="1795"/>
                      </a:lnTo>
                      <a:lnTo>
                        <a:pt x="1121" y="1798"/>
                      </a:lnTo>
                      <a:lnTo>
                        <a:pt x="1124" y="1801"/>
                      </a:lnTo>
                      <a:lnTo>
                        <a:pt x="1124" y="1803"/>
                      </a:lnTo>
                      <a:lnTo>
                        <a:pt x="1121" y="1812"/>
                      </a:lnTo>
                      <a:lnTo>
                        <a:pt x="1117" y="1818"/>
                      </a:lnTo>
                      <a:lnTo>
                        <a:pt x="1115" y="1820"/>
                      </a:lnTo>
                      <a:lnTo>
                        <a:pt x="1115" y="1831"/>
                      </a:lnTo>
                      <a:lnTo>
                        <a:pt x="1112" y="1834"/>
                      </a:lnTo>
                      <a:lnTo>
                        <a:pt x="1115" y="1837"/>
                      </a:lnTo>
                      <a:lnTo>
                        <a:pt x="1112" y="1839"/>
                      </a:lnTo>
                      <a:lnTo>
                        <a:pt x="1112" y="1846"/>
                      </a:lnTo>
                      <a:lnTo>
                        <a:pt x="1121" y="1842"/>
                      </a:lnTo>
                      <a:lnTo>
                        <a:pt x="1129" y="1842"/>
                      </a:lnTo>
                      <a:lnTo>
                        <a:pt x="1132" y="1846"/>
                      </a:lnTo>
                      <a:lnTo>
                        <a:pt x="1137" y="1846"/>
                      </a:lnTo>
                      <a:lnTo>
                        <a:pt x="1140" y="1848"/>
                      </a:lnTo>
                      <a:lnTo>
                        <a:pt x="1137" y="1854"/>
                      </a:lnTo>
                      <a:lnTo>
                        <a:pt x="1140" y="1856"/>
                      </a:lnTo>
                      <a:lnTo>
                        <a:pt x="1140" y="1862"/>
                      </a:lnTo>
                      <a:lnTo>
                        <a:pt x="1145" y="1864"/>
                      </a:lnTo>
                      <a:lnTo>
                        <a:pt x="1148" y="1867"/>
                      </a:lnTo>
                      <a:lnTo>
                        <a:pt x="1154" y="1870"/>
                      </a:lnTo>
                      <a:lnTo>
                        <a:pt x="1165" y="1864"/>
                      </a:lnTo>
                      <a:lnTo>
                        <a:pt x="1167" y="1867"/>
                      </a:lnTo>
                      <a:lnTo>
                        <a:pt x="1165" y="1870"/>
                      </a:lnTo>
                      <a:lnTo>
                        <a:pt x="1167" y="1875"/>
                      </a:lnTo>
                      <a:lnTo>
                        <a:pt x="1170" y="1875"/>
                      </a:lnTo>
                      <a:lnTo>
                        <a:pt x="1170" y="1881"/>
                      </a:lnTo>
                      <a:lnTo>
                        <a:pt x="1173" y="1889"/>
                      </a:lnTo>
                      <a:lnTo>
                        <a:pt x="1170" y="1895"/>
                      </a:lnTo>
                      <a:lnTo>
                        <a:pt x="1167" y="1897"/>
                      </a:lnTo>
                      <a:lnTo>
                        <a:pt x="1167" y="1903"/>
                      </a:lnTo>
                      <a:lnTo>
                        <a:pt x="1167" y="1906"/>
                      </a:lnTo>
                      <a:lnTo>
                        <a:pt x="1167" y="1908"/>
                      </a:lnTo>
                      <a:lnTo>
                        <a:pt x="1162" y="1915"/>
                      </a:lnTo>
                      <a:lnTo>
                        <a:pt x="1157" y="1923"/>
                      </a:lnTo>
                      <a:lnTo>
                        <a:pt x="1154" y="1931"/>
                      </a:lnTo>
                      <a:lnTo>
                        <a:pt x="1150" y="1933"/>
                      </a:lnTo>
                      <a:lnTo>
                        <a:pt x="1148" y="1939"/>
                      </a:lnTo>
                      <a:lnTo>
                        <a:pt x="1154" y="1939"/>
                      </a:lnTo>
                      <a:lnTo>
                        <a:pt x="1154" y="1947"/>
                      </a:lnTo>
                      <a:lnTo>
                        <a:pt x="1148" y="1947"/>
                      </a:lnTo>
                      <a:lnTo>
                        <a:pt x="1148" y="1950"/>
                      </a:lnTo>
                      <a:lnTo>
                        <a:pt x="1145" y="1953"/>
                      </a:lnTo>
                      <a:lnTo>
                        <a:pt x="1145" y="1956"/>
                      </a:lnTo>
                      <a:lnTo>
                        <a:pt x="1129" y="1958"/>
                      </a:lnTo>
                      <a:lnTo>
                        <a:pt x="1129" y="1961"/>
                      </a:lnTo>
                      <a:lnTo>
                        <a:pt x="1132" y="1964"/>
                      </a:lnTo>
                      <a:lnTo>
                        <a:pt x="1134" y="1969"/>
                      </a:lnTo>
                      <a:lnTo>
                        <a:pt x="1129" y="1975"/>
                      </a:lnTo>
                      <a:lnTo>
                        <a:pt x="1126" y="1980"/>
                      </a:lnTo>
                      <a:lnTo>
                        <a:pt x="1129" y="1984"/>
                      </a:lnTo>
                      <a:lnTo>
                        <a:pt x="1124" y="1984"/>
                      </a:lnTo>
                      <a:lnTo>
                        <a:pt x="1126" y="1986"/>
                      </a:lnTo>
                      <a:lnTo>
                        <a:pt x="1126" y="1992"/>
                      </a:lnTo>
                      <a:lnTo>
                        <a:pt x="1124" y="1994"/>
                      </a:lnTo>
                      <a:lnTo>
                        <a:pt x="1126" y="1997"/>
                      </a:lnTo>
                      <a:lnTo>
                        <a:pt x="1124" y="2000"/>
                      </a:lnTo>
                      <a:lnTo>
                        <a:pt x="1124" y="2002"/>
                      </a:lnTo>
                      <a:lnTo>
                        <a:pt x="1115" y="2005"/>
                      </a:lnTo>
                      <a:lnTo>
                        <a:pt x="1112" y="2008"/>
                      </a:lnTo>
                      <a:lnTo>
                        <a:pt x="1104" y="2008"/>
                      </a:lnTo>
                      <a:lnTo>
                        <a:pt x="1101" y="2010"/>
                      </a:lnTo>
                      <a:lnTo>
                        <a:pt x="1101" y="2019"/>
                      </a:lnTo>
                      <a:lnTo>
                        <a:pt x="1098" y="2022"/>
                      </a:lnTo>
                      <a:lnTo>
                        <a:pt x="1098" y="2025"/>
                      </a:lnTo>
                      <a:lnTo>
                        <a:pt x="1098" y="2027"/>
                      </a:lnTo>
                      <a:lnTo>
                        <a:pt x="1096" y="2027"/>
                      </a:lnTo>
                      <a:lnTo>
                        <a:pt x="1090" y="2030"/>
                      </a:lnTo>
                      <a:lnTo>
                        <a:pt x="1093" y="2033"/>
                      </a:lnTo>
                      <a:lnTo>
                        <a:pt x="1090" y="2035"/>
                      </a:lnTo>
                      <a:lnTo>
                        <a:pt x="1088" y="2041"/>
                      </a:lnTo>
                      <a:lnTo>
                        <a:pt x="1084" y="2041"/>
                      </a:lnTo>
                      <a:lnTo>
                        <a:pt x="1081" y="2041"/>
                      </a:lnTo>
                      <a:lnTo>
                        <a:pt x="1076" y="2044"/>
                      </a:lnTo>
                      <a:lnTo>
                        <a:pt x="1073" y="2041"/>
                      </a:lnTo>
                      <a:lnTo>
                        <a:pt x="1073" y="2044"/>
                      </a:lnTo>
                      <a:lnTo>
                        <a:pt x="1071" y="2046"/>
                      </a:lnTo>
                      <a:lnTo>
                        <a:pt x="1065" y="2046"/>
                      </a:lnTo>
                      <a:lnTo>
                        <a:pt x="1060" y="2046"/>
                      </a:lnTo>
                      <a:lnTo>
                        <a:pt x="1060" y="2044"/>
                      </a:lnTo>
                      <a:lnTo>
                        <a:pt x="1057" y="2044"/>
                      </a:lnTo>
                      <a:lnTo>
                        <a:pt x="1055" y="2049"/>
                      </a:lnTo>
                      <a:lnTo>
                        <a:pt x="1060" y="2053"/>
                      </a:lnTo>
                      <a:lnTo>
                        <a:pt x="1060" y="2058"/>
                      </a:lnTo>
                      <a:lnTo>
                        <a:pt x="1057" y="2066"/>
                      </a:lnTo>
                      <a:lnTo>
                        <a:pt x="1052" y="2066"/>
                      </a:lnTo>
                      <a:lnTo>
                        <a:pt x="1046" y="2066"/>
                      </a:lnTo>
                      <a:lnTo>
                        <a:pt x="1043" y="2066"/>
                      </a:lnTo>
                      <a:lnTo>
                        <a:pt x="1038" y="2063"/>
                      </a:lnTo>
                      <a:lnTo>
                        <a:pt x="1032" y="2069"/>
                      </a:lnTo>
                      <a:lnTo>
                        <a:pt x="1032" y="2077"/>
                      </a:lnTo>
                      <a:lnTo>
                        <a:pt x="1027" y="2079"/>
                      </a:lnTo>
                      <a:lnTo>
                        <a:pt x="1024" y="2077"/>
                      </a:lnTo>
                      <a:lnTo>
                        <a:pt x="1019" y="2077"/>
                      </a:lnTo>
                      <a:lnTo>
                        <a:pt x="1019" y="2082"/>
                      </a:lnTo>
                      <a:lnTo>
                        <a:pt x="1015" y="2082"/>
                      </a:lnTo>
                      <a:lnTo>
                        <a:pt x="1012" y="2079"/>
                      </a:lnTo>
                      <a:lnTo>
                        <a:pt x="1010" y="2082"/>
                      </a:lnTo>
                      <a:lnTo>
                        <a:pt x="1007" y="2082"/>
                      </a:lnTo>
                      <a:lnTo>
                        <a:pt x="1007" y="2085"/>
                      </a:lnTo>
                      <a:lnTo>
                        <a:pt x="1007" y="2088"/>
                      </a:lnTo>
                      <a:lnTo>
                        <a:pt x="1004" y="2094"/>
                      </a:lnTo>
                      <a:lnTo>
                        <a:pt x="1007" y="2099"/>
                      </a:lnTo>
                      <a:lnTo>
                        <a:pt x="1004" y="2104"/>
                      </a:lnTo>
                      <a:lnTo>
                        <a:pt x="1002" y="2110"/>
                      </a:lnTo>
                      <a:lnTo>
                        <a:pt x="999" y="2112"/>
                      </a:lnTo>
                      <a:lnTo>
                        <a:pt x="999" y="2115"/>
                      </a:lnTo>
                      <a:lnTo>
                        <a:pt x="999" y="2118"/>
                      </a:lnTo>
                      <a:lnTo>
                        <a:pt x="996" y="2118"/>
                      </a:lnTo>
                      <a:lnTo>
                        <a:pt x="994" y="2118"/>
                      </a:lnTo>
                      <a:lnTo>
                        <a:pt x="991" y="2121"/>
                      </a:lnTo>
                      <a:lnTo>
                        <a:pt x="983" y="2118"/>
                      </a:lnTo>
                      <a:lnTo>
                        <a:pt x="983" y="2115"/>
                      </a:lnTo>
                      <a:lnTo>
                        <a:pt x="979" y="2107"/>
                      </a:lnTo>
                      <a:lnTo>
                        <a:pt x="977" y="2107"/>
                      </a:lnTo>
                      <a:lnTo>
                        <a:pt x="974" y="2110"/>
                      </a:lnTo>
                      <a:lnTo>
                        <a:pt x="963" y="2107"/>
                      </a:lnTo>
                      <a:lnTo>
                        <a:pt x="958" y="2115"/>
                      </a:lnTo>
                      <a:lnTo>
                        <a:pt x="946" y="2124"/>
                      </a:lnTo>
                      <a:lnTo>
                        <a:pt x="943" y="2121"/>
                      </a:lnTo>
                      <a:lnTo>
                        <a:pt x="950" y="2115"/>
                      </a:lnTo>
                      <a:lnTo>
                        <a:pt x="946" y="2110"/>
                      </a:lnTo>
                      <a:lnTo>
                        <a:pt x="946" y="2104"/>
                      </a:lnTo>
                      <a:lnTo>
                        <a:pt x="943" y="2094"/>
                      </a:lnTo>
                      <a:lnTo>
                        <a:pt x="941" y="2088"/>
                      </a:lnTo>
                      <a:lnTo>
                        <a:pt x="941" y="2082"/>
                      </a:lnTo>
                      <a:lnTo>
                        <a:pt x="933" y="2077"/>
                      </a:lnTo>
                      <a:lnTo>
                        <a:pt x="930" y="2069"/>
                      </a:lnTo>
                      <a:lnTo>
                        <a:pt x="925" y="2066"/>
                      </a:lnTo>
                      <a:lnTo>
                        <a:pt x="914" y="2066"/>
                      </a:lnTo>
                      <a:lnTo>
                        <a:pt x="908" y="2058"/>
                      </a:lnTo>
                      <a:lnTo>
                        <a:pt x="899" y="2055"/>
                      </a:lnTo>
                      <a:lnTo>
                        <a:pt x="894" y="2058"/>
                      </a:lnTo>
                      <a:lnTo>
                        <a:pt x="889" y="2058"/>
                      </a:lnTo>
                      <a:lnTo>
                        <a:pt x="886" y="2061"/>
                      </a:lnTo>
                      <a:lnTo>
                        <a:pt x="881" y="2061"/>
                      </a:lnTo>
                      <a:lnTo>
                        <a:pt x="883" y="2058"/>
                      </a:lnTo>
                      <a:lnTo>
                        <a:pt x="883" y="2055"/>
                      </a:lnTo>
                      <a:lnTo>
                        <a:pt x="883" y="2049"/>
                      </a:lnTo>
                      <a:lnTo>
                        <a:pt x="874" y="2046"/>
                      </a:lnTo>
                      <a:lnTo>
                        <a:pt x="874" y="2044"/>
                      </a:lnTo>
                      <a:lnTo>
                        <a:pt x="872" y="2041"/>
                      </a:lnTo>
                      <a:lnTo>
                        <a:pt x="869" y="2044"/>
                      </a:lnTo>
                      <a:lnTo>
                        <a:pt x="858" y="2044"/>
                      </a:lnTo>
                      <a:lnTo>
                        <a:pt x="858" y="2038"/>
                      </a:lnTo>
                      <a:lnTo>
                        <a:pt x="861" y="2035"/>
                      </a:lnTo>
                      <a:lnTo>
                        <a:pt x="861" y="2027"/>
                      </a:lnTo>
                      <a:lnTo>
                        <a:pt x="864" y="2025"/>
                      </a:lnTo>
                      <a:lnTo>
                        <a:pt x="869" y="2019"/>
                      </a:lnTo>
                      <a:lnTo>
                        <a:pt x="872" y="2019"/>
                      </a:lnTo>
                      <a:lnTo>
                        <a:pt x="869" y="2016"/>
                      </a:lnTo>
                      <a:lnTo>
                        <a:pt x="866" y="2016"/>
                      </a:lnTo>
                      <a:lnTo>
                        <a:pt x="864" y="2013"/>
                      </a:lnTo>
                      <a:lnTo>
                        <a:pt x="858" y="2005"/>
                      </a:lnTo>
                      <a:lnTo>
                        <a:pt x="856" y="1994"/>
                      </a:lnTo>
                      <a:lnTo>
                        <a:pt x="856" y="1992"/>
                      </a:lnTo>
                      <a:lnTo>
                        <a:pt x="850" y="1989"/>
                      </a:lnTo>
                      <a:lnTo>
                        <a:pt x="839" y="1977"/>
                      </a:lnTo>
                      <a:lnTo>
                        <a:pt x="833" y="1972"/>
                      </a:lnTo>
                      <a:lnTo>
                        <a:pt x="822" y="1964"/>
                      </a:lnTo>
                      <a:lnTo>
                        <a:pt x="820" y="1964"/>
                      </a:lnTo>
                      <a:lnTo>
                        <a:pt x="814" y="1961"/>
                      </a:lnTo>
                      <a:lnTo>
                        <a:pt x="803" y="1956"/>
                      </a:lnTo>
                      <a:lnTo>
                        <a:pt x="800" y="1956"/>
                      </a:lnTo>
                      <a:lnTo>
                        <a:pt x="789" y="1953"/>
                      </a:lnTo>
                      <a:lnTo>
                        <a:pt x="784" y="1947"/>
                      </a:lnTo>
                      <a:lnTo>
                        <a:pt x="781" y="1941"/>
                      </a:lnTo>
                      <a:lnTo>
                        <a:pt x="776" y="1936"/>
                      </a:lnTo>
                      <a:lnTo>
                        <a:pt x="772" y="1936"/>
                      </a:lnTo>
                      <a:lnTo>
                        <a:pt x="762" y="1928"/>
                      </a:lnTo>
                      <a:lnTo>
                        <a:pt x="753" y="1923"/>
                      </a:lnTo>
                      <a:lnTo>
                        <a:pt x="748" y="1917"/>
                      </a:lnTo>
                      <a:lnTo>
                        <a:pt x="743" y="1908"/>
                      </a:lnTo>
                      <a:lnTo>
                        <a:pt x="739" y="1908"/>
                      </a:lnTo>
                      <a:lnTo>
                        <a:pt x="736" y="1906"/>
                      </a:lnTo>
                      <a:lnTo>
                        <a:pt x="728" y="1906"/>
                      </a:lnTo>
                      <a:lnTo>
                        <a:pt x="720" y="1900"/>
                      </a:lnTo>
                      <a:lnTo>
                        <a:pt x="715" y="1895"/>
                      </a:lnTo>
                      <a:lnTo>
                        <a:pt x="712" y="1895"/>
                      </a:lnTo>
                      <a:lnTo>
                        <a:pt x="703" y="1897"/>
                      </a:lnTo>
                      <a:lnTo>
                        <a:pt x="695" y="1897"/>
                      </a:lnTo>
                      <a:lnTo>
                        <a:pt x="676" y="1900"/>
                      </a:lnTo>
                      <a:lnTo>
                        <a:pt x="662" y="1903"/>
                      </a:lnTo>
                      <a:lnTo>
                        <a:pt x="657" y="1903"/>
                      </a:lnTo>
                      <a:lnTo>
                        <a:pt x="651" y="1903"/>
                      </a:lnTo>
                      <a:lnTo>
                        <a:pt x="646" y="1903"/>
                      </a:lnTo>
                      <a:lnTo>
                        <a:pt x="637" y="1900"/>
                      </a:lnTo>
                      <a:lnTo>
                        <a:pt x="634" y="1903"/>
                      </a:lnTo>
                      <a:lnTo>
                        <a:pt x="621" y="1908"/>
                      </a:lnTo>
                      <a:lnTo>
                        <a:pt x="616" y="1906"/>
                      </a:lnTo>
                      <a:lnTo>
                        <a:pt x="613" y="1906"/>
                      </a:lnTo>
                      <a:lnTo>
                        <a:pt x="593" y="1928"/>
                      </a:lnTo>
                      <a:lnTo>
                        <a:pt x="585" y="1931"/>
                      </a:lnTo>
                      <a:lnTo>
                        <a:pt x="574" y="1928"/>
                      </a:lnTo>
                      <a:lnTo>
                        <a:pt x="568" y="1933"/>
                      </a:lnTo>
                      <a:lnTo>
                        <a:pt x="547" y="1933"/>
                      </a:lnTo>
                      <a:lnTo>
                        <a:pt x="516" y="1939"/>
                      </a:lnTo>
                      <a:lnTo>
                        <a:pt x="477" y="1947"/>
                      </a:lnTo>
                      <a:lnTo>
                        <a:pt x="467" y="1931"/>
                      </a:lnTo>
                      <a:lnTo>
                        <a:pt x="463" y="1928"/>
                      </a:lnTo>
                      <a:lnTo>
                        <a:pt x="458" y="1928"/>
                      </a:lnTo>
                      <a:lnTo>
                        <a:pt x="447" y="1923"/>
                      </a:lnTo>
                      <a:lnTo>
                        <a:pt x="425" y="1928"/>
                      </a:lnTo>
                      <a:lnTo>
                        <a:pt x="406" y="1928"/>
                      </a:lnTo>
                      <a:lnTo>
                        <a:pt x="373" y="1928"/>
                      </a:lnTo>
                      <a:lnTo>
                        <a:pt x="353" y="1931"/>
                      </a:lnTo>
                      <a:lnTo>
                        <a:pt x="358" y="1908"/>
                      </a:lnTo>
                      <a:lnTo>
                        <a:pt x="356" y="1903"/>
                      </a:lnTo>
                      <a:lnTo>
                        <a:pt x="367" y="1897"/>
                      </a:lnTo>
                      <a:lnTo>
                        <a:pt x="370" y="1892"/>
                      </a:lnTo>
                      <a:lnTo>
                        <a:pt x="367" y="1881"/>
                      </a:lnTo>
                      <a:lnTo>
                        <a:pt x="370" y="1859"/>
                      </a:lnTo>
                      <a:lnTo>
                        <a:pt x="373" y="1846"/>
                      </a:lnTo>
                      <a:lnTo>
                        <a:pt x="375" y="1842"/>
                      </a:lnTo>
                      <a:lnTo>
                        <a:pt x="375" y="1837"/>
                      </a:lnTo>
                      <a:lnTo>
                        <a:pt x="381" y="1820"/>
                      </a:lnTo>
                      <a:lnTo>
                        <a:pt x="378" y="1815"/>
                      </a:lnTo>
                      <a:lnTo>
                        <a:pt x="386" y="1803"/>
                      </a:lnTo>
                      <a:lnTo>
                        <a:pt x="386" y="1801"/>
                      </a:lnTo>
                      <a:lnTo>
                        <a:pt x="391" y="1798"/>
                      </a:lnTo>
                      <a:lnTo>
                        <a:pt x="398" y="1787"/>
                      </a:lnTo>
                      <a:lnTo>
                        <a:pt x="398" y="1785"/>
                      </a:lnTo>
                      <a:lnTo>
                        <a:pt x="403" y="1779"/>
                      </a:lnTo>
                      <a:lnTo>
                        <a:pt x="403" y="1777"/>
                      </a:lnTo>
                      <a:lnTo>
                        <a:pt x="400" y="1777"/>
                      </a:lnTo>
                      <a:lnTo>
                        <a:pt x="400" y="1770"/>
                      </a:lnTo>
                      <a:lnTo>
                        <a:pt x="403" y="1774"/>
                      </a:lnTo>
                      <a:lnTo>
                        <a:pt x="403" y="1770"/>
                      </a:lnTo>
                      <a:lnTo>
                        <a:pt x="411" y="1767"/>
                      </a:lnTo>
                      <a:lnTo>
                        <a:pt x="411" y="1765"/>
                      </a:lnTo>
                      <a:lnTo>
                        <a:pt x="403" y="1762"/>
                      </a:lnTo>
                      <a:lnTo>
                        <a:pt x="403" y="1743"/>
                      </a:lnTo>
                      <a:lnTo>
                        <a:pt x="406" y="1737"/>
                      </a:lnTo>
                      <a:lnTo>
                        <a:pt x="400" y="1724"/>
                      </a:lnTo>
                      <a:lnTo>
                        <a:pt x="403" y="1718"/>
                      </a:lnTo>
                      <a:lnTo>
                        <a:pt x="403" y="1708"/>
                      </a:lnTo>
                      <a:lnTo>
                        <a:pt x="408" y="1705"/>
                      </a:lnTo>
                      <a:lnTo>
                        <a:pt x="411" y="1705"/>
                      </a:lnTo>
                      <a:lnTo>
                        <a:pt x="414" y="1698"/>
                      </a:lnTo>
                      <a:lnTo>
                        <a:pt x="419" y="1693"/>
                      </a:lnTo>
                      <a:lnTo>
                        <a:pt x="422" y="1690"/>
                      </a:lnTo>
                      <a:lnTo>
                        <a:pt x="427" y="1685"/>
                      </a:lnTo>
                      <a:lnTo>
                        <a:pt x="427" y="1682"/>
                      </a:lnTo>
                      <a:lnTo>
                        <a:pt x="419" y="1680"/>
                      </a:lnTo>
                      <a:lnTo>
                        <a:pt x="414" y="1682"/>
                      </a:lnTo>
                      <a:lnTo>
                        <a:pt x="408" y="1688"/>
                      </a:lnTo>
                      <a:lnTo>
                        <a:pt x="403" y="1688"/>
                      </a:lnTo>
                      <a:lnTo>
                        <a:pt x="400" y="1685"/>
                      </a:lnTo>
                      <a:lnTo>
                        <a:pt x="398" y="1677"/>
                      </a:lnTo>
                      <a:lnTo>
                        <a:pt x="394" y="1674"/>
                      </a:lnTo>
                      <a:lnTo>
                        <a:pt x="391" y="1665"/>
                      </a:lnTo>
                      <a:lnTo>
                        <a:pt x="391" y="1663"/>
                      </a:lnTo>
                      <a:lnTo>
                        <a:pt x="386" y="1657"/>
                      </a:lnTo>
                      <a:lnTo>
                        <a:pt x="383" y="1655"/>
                      </a:lnTo>
                      <a:lnTo>
                        <a:pt x="378" y="1652"/>
                      </a:lnTo>
                      <a:lnTo>
                        <a:pt x="367" y="1652"/>
                      </a:lnTo>
                      <a:lnTo>
                        <a:pt x="348" y="1649"/>
                      </a:lnTo>
                      <a:lnTo>
                        <a:pt x="331" y="1647"/>
                      </a:lnTo>
                      <a:lnTo>
                        <a:pt x="328" y="1644"/>
                      </a:lnTo>
                      <a:lnTo>
                        <a:pt x="320" y="1639"/>
                      </a:lnTo>
                      <a:lnTo>
                        <a:pt x="312" y="1630"/>
                      </a:lnTo>
                      <a:lnTo>
                        <a:pt x="289" y="1630"/>
                      </a:lnTo>
                      <a:lnTo>
                        <a:pt x="281" y="1621"/>
                      </a:lnTo>
                      <a:lnTo>
                        <a:pt x="279" y="1619"/>
                      </a:lnTo>
                      <a:lnTo>
                        <a:pt x="284" y="1608"/>
                      </a:lnTo>
                      <a:lnTo>
                        <a:pt x="284" y="1605"/>
                      </a:lnTo>
                      <a:lnTo>
                        <a:pt x="279" y="1600"/>
                      </a:lnTo>
                      <a:lnTo>
                        <a:pt x="279" y="1596"/>
                      </a:lnTo>
                      <a:lnTo>
                        <a:pt x="273" y="1583"/>
                      </a:lnTo>
                      <a:lnTo>
                        <a:pt x="256" y="1567"/>
                      </a:lnTo>
                      <a:lnTo>
                        <a:pt x="256" y="1561"/>
                      </a:lnTo>
                      <a:lnTo>
                        <a:pt x="256" y="1555"/>
                      </a:lnTo>
                      <a:lnTo>
                        <a:pt x="253" y="1544"/>
                      </a:lnTo>
                      <a:lnTo>
                        <a:pt x="253" y="1539"/>
                      </a:lnTo>
                      <a:lnTo>
                        <a:pt x="253" y="1525"/>
                      </a:lnTo>
                      <a:lnTo>
                        <a:pt x="251" y="1511"/>
                      </a:lnTo>
                      <a:lnTo>
                        <a:pt x="251" y="1506"/>
                      </a:lnTo>
                      <a:lnTo>
                        <a:pt x="256" y="1503"/>
                      </a:lnTo>
                      <a:lnTo>
                        <a:pt x="259" y="1489"/>
                      </a:lnTo>
                      <a:lnTo>
                        <a:pt x="259" y="1486"/>
                      </a:lnTo>
                      <a:lnTo>
                        <a:pt x="259" y="1481"/>
                      </a:lnTo>
                      <a:lnTo>
                        <a:pt x="259" y="1475"/>
                      </a:lnTo>
                      <a:lnTo>
                        <a:pt x="256" y="1473"/>
                      </a:lnTo>
                      <a:lnTo>
                        <a:pt x="251" y="1470"/>
                      </a:lnTo>
                      <a:lnTo>
                        <a:pt x="248" y="1467"/>
                      </a:lnTo>
                      <a:lnTo>
                        <a:pt x="243" y="1453"/>
                      </a:lnTo>
                      <a:lnTo>
                        <a:pt x="232" y="1440"/>
                      </a:lnTo>
                      <a:lnTo>
                        <a:pt x="232" y="1432"/>
                      </a:lnTo>
                      <a:lnTo>
                        <a:pt x="232" y="1420"/>
                      </a:lnTo>
                      <a:lnTo>
                        <a:pt x="232" y="1417"/>
                      </a:lnTo>
                      <a:lnTo>
                        <a:pt x="232" y="1415"/>
                      </a:lnTo>
                      <a:lnTo>
                        <a:pt x="232" y="1409"/>
                      </a:lnTo>
                      <a:lnTo>
                        <a:pt x="235" y="1401"/>
                      </a:lnTo>
                      <a:lnTo>
                        <a:pt x="229" y="1390"/>
                      </a:lnTo>
                      <a:lnTo>
                        <a:pt x="223" y="1371"/>
                      </a:lnTo>
                      <a:lnTo>
                        <a:pt x="218" y="1365"/>
                      </a:lnTo>
                      <a:lnTo>
                        <a:pt x="210" y="1368"/>
                      </a:lnTo>
                      <a:lnTo>
                        <a:pt x="210" y="1365"/>
                      </a:lnTo>
                      <a:lnTo>
                        <a:pt x="210" y="1363"/>
                      </a:lnTo>
                      <a:lnTo>
                        <a:pt x="210" y="1355"/>
                      </a:lnTo>
                      <a:lnTo>
                        <a:pt x="215" y="1348"/>
                      </a:lnTo>
                      <a:lnTo>
                        <a:pt x="215" y="1345"/>
                      </a:lnTo>
                      <a:lnTo>
                        <a:pt x="218" y="1343"/>
                      </a:lnTo>
                      <a:lnTo>
                        <a:pt x="220" y="1335"/>
                      </a:lnTo>
                      <a:lnTo>
                        <a:pt x="220" y="1312"/>
                      </a:lnTo>
                      <a:lnTo>
                        <a:pt x="212" y="1304"/>
                      </a:lnTo>
                      <a:lnTo>
                        <a:pt x="215" y="1296"/>
                      </a:lnTo>
                      <a:lnTo>
                        <a:pt x="210" y="1282"/>
                      </a:lnTo>
                      <a:lnTo>
                        <a:pt x="207" y="1274"/>
                      </a:lnTo>
                      <a:lnTo>
                        <a:pt x="210" y="1260"/>
                      </a:lnTo>
                      <a:lnTo>
                        <a:pt x="207" y="1249"/>
                      </a:lnTo>
                      <a:lnTo>
                        <a:pt x="204" y="1238"/>
                      </a:lnTo>
                      <a:lnTo>
                        <a:pt x="207" y="1233"/>
                      </a:lnTo>
                      <a:lnTo>
                        <a:pt x="202" y="1225"/>
                      </a:lnTo>
                      <a:lnTo>
                        <a:pt x="199" y="1213"/>
                      </a:lnTo>
                      <a:lnTo>
                        <a:pt x="196" y="1207"/>
                      </a:lnTo>
                      <a:lnTo>
                        <a:pt x="199" y="1205"/>
                      </a:lnTo>
                      <a:lnTo>
                        <a:pt x="207" y="1202"/>
                      </a:lnTo>
                      <a:lnTo>
                        <a:pt x="210" y="1197"/>
                      </a:lnTo>
                      <a:lnTo>
                        <a:pt x="212" y="1186"/>
                      </a:lnTo>
                      <a:lnTo>
                        <a:pt x="210" y="1181"/>
                      </a:lnTo>
                      <a:lnTo>
                        <a:pt x="207" y="1174"/>
                      </a:lnTo>
                      <a:lnTo>
                        <a:pt x="207" y="1164"/>
                      </a:lnTo>
                      <a:lnTo>
                        <a:pt x="199" y="1158"/>
                      </a:lnTo>
                      <a:lnTo>
                        <a:pt x="199" y="1153"/>
                      </a:lnTo>
                      <a:lnTo>
                        <a:pt x="196" y="1148"/>
                      </a:lnTo>
                      <a:lnTo>
                        <a:pt x="199" y="1144"/>
                      </a:lnTo>
                      <a:lnTo>
                        <a:pt x="199" y="1138"/>
                      </a:lnTo>
                      <a:lnTo>
                        <a:pt x="199" y="1136"/>
                      </a:lnTo>
                      <a:lnTo>
                        <a:pt x="199" y="1133"/>
                      </a:lnTo>
                      <a:lnTo>
                        <a:pt x="199" y="1130"/>
                      </a:lnTo>
                      <a:lnTo>
                        <a:pt x="204" y="1125"/>
                      </a:lnTo>
                      <a:lnTo>
                        <a:pt x="204" y="1122"/>
                      </a:lnTo>
                      <a:lnTo>
                        <a:pt x="202" y="1117"/>
                      </a:lnTo>
                      <a:lnTo>
                        <a:pt x="199" y="1114"/>
                      </a:lnTo>
                      <a:lnTo>
                        <a:pt x="196" y="1112"/>
                      </a:lnTo>
                      <a:lnTo>
                        <a:pt x="193" y="1105"/>
                      </a:lnTo>
                      <a:lnTo>
                        <a:pt x="193" y="1103"/>
                      </a:lnTo>
                      <a:lnTo>
                        <a:pt x="196" y="1100"/>
                      </a:lnTo>
                      <a:lnTo>
                        <a:pt x="204" y="1100"/>
                      </a:lnTo>
                      <a:lnTo>
                        <a:pt x="207" y="1097"/>
                      </a:lnTo>
                      <a:lnTo>
                        <a:pt x="204" y="1092"/>
                      </a:lnTo>
                      <a:lnTo>
                        <a:pt x="199" y="1084"/>
                      </a:lnTo>
                      <a:lnTo>
                        <a:pt x="196" y="1081"/>
                      </a:lnTo>
                      <a:lnTo>
                        <a:pt x="199" y="1072"/>
                      </a:lnTo>
                      <a:lnTo>
                        <a:pt x="204" y="1069"/>
                      </a:lnTo>
                      <a:lnTo>
                        <a:pt x="207" y="1061"/>
                      </a:lnTo>
                      <a:lnTo>
                        <a:pt x="207" y="1056"/>
                      </a:lnTo>
                      <a:lnTo>
                        <a:pt x="202" y="1053"/>
                      </a:lnTo>
                      <a:lnTo>
                        <a:pt x="202" y="1051"/>
                      </a:lnTo>
                      <a:lnTo>
                        <a:pt x="202" y="1045"/>
                      </a:lnTo>
                      <a:lnTo>
                        <a:pt x="202" y="1043"/>
                      </a:lnTo>
                      <a:lnTo>
                        <a:pt x="207" y="1039"/>
                      </a:lnTo>
                      <a:lnTo>
                        <a:pt x="204" y="1034"/>
                      </a:lnTo>
                      <a:lnTo>
                        <a:pt x="202" y="1034"/>
                      </a:lnTo>
                      <a:lnTo>
                        <a:pt x="193" y="1028"/>
                      </a:lnTo>
                      <a:lnTo>
                        <a:pt x="202" y="1023"/>
                      </a:lnTo>
                      <a:lnTo>
                        <a:pt x="199" y="1012"/>
                      </a:lnTo>
                      <a:lnTo>
                        <a:pt x="202" y="1003"/>
                      </a:lnTo>
                      <a:lnTo>
                        <a:pt x="199" y="998"/>
                      </a:lnTo>
                      <a:lnTo>
                        <a:pt x="196" y="998"/>
                      </a:lnTo>
                      <a:lnTo>
                        <a:pt x="190" y="998"/>
                      </a:lnTo>
                      <a:lnTo>
                        <a:pt x="184" y="990"/>
                      </a:lnTo>
                      <a:lnTo>
                        <a:pt x="182" y="990"/>
                      </a:lnTo>
                      <a:lnTo>
                        <a:pt x="179" y="992"/>
                      </a:lnTo>
                      <a:lnTo>
                        <a:pt x="176" y="984"/>
                      </a:lnTo>
                      <a:lnTo>
                        <a:pt x="166" y="979"/>
                      </a:lnTo>
                      <a:lnTo>
                        <a:pt x="166" y="970"/>
                      </a:lnTo>
                      <a:lnTo>
                        <a:pt x="160" y="974"/>
                      </a:lnTo>
                      <a:lnTo>
                        <a:pt x="158" y="965"/>
                      </a:lnTo>
                      <a:lnTo>
                        <a:pt x="154" y="965"/>
                      </a:lnTo>
                      <a:lnTo>
                        <a:pt x="149" y="970"/>
                      </a:lnTo>
                      <a:lnTo>
                        <a:pt x="138" y="965"/>
                      </a:lnTo>
                      <a:lnTo>
                        <a:pt x="138" y="959"/>
                      </a:lnTo>
                      <a:lnTo>
                        <a:pt x="135" y="957"/>
                      </a:lnTo>
                      <a:lnTo>
                        <a:pt x="135" y="954"/>
                      </a:lnTo>
                      <a:lnTo>
                        <a:pt x="133" y="954"/>
                      </a:lnTo>
                      <a:lnTo>
                        <a:pt x="133" y="949"/>
                      </a:lnTo>
                      <a:lnTo>
                        <a:pt x="118" y="949"/>
                      </a:lnTo>
                      <a:lnTo>
                        <a:pt x="121" y="938"/>
                      </a:lnTo>
                      <a:lnTo>
                        <a:pt x="121" y="929"/>
                      </a:lnTo>
                      <a:lnTo>
                        <a:pt x="115" y="926"/>
                      </a:lnTo>
                      <a:lnTo>
                        <a:pt x="115" y="921"/>
                      </a:lnTo>
                      <a:lnTo>
                        <a:pt x="113" y="921"/>
                      </a:lnTo>
                      <a:lnTo>
                        <a:pt x="110" y="923"/>
                      </a:lnTo>
                      <a:lnTo>
                        <a:pt x="97" y="905"/>
                      </a:lnTo>
                      <a:lnTo>
                        <a:pt x="91" y="902"/>
                      </a:lnTo>
                      <a:lnTo>
                        <a:pt x="89" y="907"/>
                      </a:lnTo>
                      <a:lnTo>
                        <a:pt x="85" y="905"/>
                      </a:lnTo>
                      <a:lnTo>
                        <a:pt x="85" y="902"/>
                      </a:lnTo>
                      <a:lnTo>
                        <a:pt x="82" y="902"/>
                      </a:lnTo>
                      <a:lnTo>
                        <a:pt x="80" y="902"/>
                      </a:lnTo>
                      <a:lnTo>
                        <a:pt x="80" y="896"/>
                      </a:lnTo>
                      <a:lnTo>
                        <a:pt x="74" y="888"/>
                      </a:lnTo>
                      <a:lnTo>
                        <a:pt x="77" y="882"/>
                      </a:lnTo>
                      <a:lnTo>
                        <a:pt x="69" y="871"/>
                      </a:lnTo>
                      <a:lnTo>
                        <a:pt x="74" y="865"/>
                      </a:lnTo>
                      <a:lnTo>
                        <a:pt x="72" y="852"/>
                      </a:lnTo>
                      <a:lnTo>
                        <a:pt x="77" y="849"/>
                      </a:lnTo>
                      <a:lnTo>
                        <a:pt x="77" y="846"/>
                      </a:lnTo>
                      <a:lnTo>
                        <a:pt x="80" y="838"/>
                      </a:lnTo>
                      <a:lnTo>
                        <a:pt x="85" y="836"/>
                      </a:lnTo>
                      <a:lnTo>
                        <a:pt x="85" y="833"/>
                      </a:lnTo>
                      <a:lnTo>
                        <a:pt x="74" y="829"/>
                      </a:lnTo>
                      <a:lnTo>
                        <a:pt x="69" y="827"/>
                      </a:lnTo>
                      <a:lnTo>
                        <a:pt x="69" y="824"/>
                      </a:lnTo>
                      <a:lnTo>
                        <a:pt x="74" y="821"/>
                      </a:lnTo>
                      <a:lnTo>
                        <a:pt x="74" y="819"/>
                      </a:lnTo>
                      <a:lnTo>
                        <a:pt x="77" y="813"/>
                      </a:lnTo>
                      <a:lnTo>
                        <a:pt x="89" y="803"/>
                      </a:lnTo>
                      <a:lnTo>
                        <a:pt x="99" y="788"/>
                      </a:lnTo>
                      <a:lnTo>
                        <a:pt x="97" y="785"/>
                      </a:lnTo>
                      <a:lnTo>
                        <a:pt x="89" y="775"/>
                      </a:lnTo>
                      <a:lnTo>
                        <a:pt x="77" y="769"/>
                      </a:lnTo>
                      <a:lnTo>
                        <a:pt x="77" y="764"/>
                      </a:lnTo>
                      <a:lnTo>
                        <a:pt x="80" y="755"/>
                      </a:lnTo>
                      <a:lnTo>
                        <a:pt x="80" y="752"/>
                      </a:lnTo>
                      <a:lnTo>
                        <a:pt x="80" y="750"/>
                      </a:lnTo>
                      <a:lnTo>
                        <a:pt x="74" y="750"/>
                      </a:lnTo>
                      <a:lnTo>
                        <a:pt x="72" y="747"/>
                      </a:lnTo>
                      <a:lnTo>
                        <a:pt x="74" y="747"/>
                      </a:lnTo>
                      <a:lnTo>
                        <a:pt x="80" y="747"/>
                      </a:lnTo>
                      <a:lnTo>
                        <a:pt x="82" y="739"/>
                      </a:lnTo>
                      <a:lnTo>
                        <a:pt x="85" y="739"/>
                      </a:lnTo>
                      <a:lnTo>
                        <a:pt x="89" y="731"/>
                      </a:lnTo>
                      <a:lnTo>
                        <a:pt x="94" y="724"/>
                      </a:lnTo>
                      <a:lnTo>
                        <a:pt x="94" y="714"/>
                      </a:lnTo>
                      <a:lnTo>
                        <a:pt x="99" y="706"/>
                      </a:lnTo>
                      <a:lnTo>
                        <a:pt x="99" y="695"/>
                      </a:lnTo>
                      <a:lnTo>
                        <a:pt x="99" y="692"/>
                      </a:lnTo>
                      <a:lnTo>
                        <a:pt x="105" y="681"/>
                      </a:lnTo>
                      <a:lnTo>
                        <a:pt x="105" y="670"/>
                      </a:lnTo>
                      <a:lnTo>
                        <a:pt x="105" y="667"/>
                      </a:lnTo>
                      <a:lnTo>
                        <a:pt x="110" y="662"/>
                      </a:lnTo>
                      <a:lnTo>
                        <a:pt x="115" y="650"/>
                      </a:lnTo>
                      <a:lnTo>
                        <a:pt x="121" y="647"/>
                      </a:lnTo>
                      <a:lnTo>
                        <a:pt x="121" y="645"/>
                      </a:lnTo>
                      <a:lnTo>
                        <a:pt x="121" y="639"/>
                      </a:lnTo>
                      <a:lnTo>
                        <a:pt x="115" y="606"/>
                      </a:lnTo>
                      <a:lnTo>
                        <a:pt x="130" y="584"/>
                      </a:lnTo>
                      <a:lnTo>
                        <a:pt x="135" y="578"/>
                      </a:lnTo>
                      <a:lnTo>
                        <a:pt x="124" y="576"/>
                      </a:lnTo>
                      <a:lnTo>
                        <a:pt x="118" y="573"/>
                      </a:lnTo>
                      <a:lnTo>
                        <a:pt x="118" y="568"/>
                      </a:lnTo>
                      <a:lnTo>
                        <a:pt x="113" y="560"/>
                      </a:lnTo>
                      <a:lnTo>
                        <a:pt x="115" y="557"/>
                      </a:lnTo>
                      <a:lnTo>
                        <a:pt x="121" y="540"/>
                      </a:lnTo>
                      <a:lnTo>
                        <a:pt x="118" y="535"/>
                      </a:lnTo>
                      <a:lnTo>
                        <a:pt x="124" y="529"/>
                      </a:lnTo>
                      <a:lnTo>
                        <a:pt x="124" y="527"/>
                      </a:lnTo>
                      <a:lnTo>
                        <a:pt x="121" y="524"/>
                      </a:lnTo>
                      <a:lnTo>
                        <a:pt x="113" y="524"/>
                      </a:lnTo>
                      <a:lnTo>
                        <a:pt x="105" y="521"/>
                      </a:lnTo>
                      <a:lnTo>
                        <a:pt x="102" y="521"/>
                      </a:lnTo>
                      <a:lnTo>
                        <a:pt x="97" y="519"/>
                      </a:lnTo>
                      <a:lnTo>
                        <a:pt x="97" y="515"/>
                      </a:lnTo>
                      <a:lnTo>
                        <a:pt x="94" y="519"/>
                      </a:lnTo>
                      <a:lnTo>
                        <a:pt x="91" y="515"/>
                      </a:lnTo>
                      <a:lnTo>
                        <a:pt x="85" y="519"/>
                      </a:lnTo>
                      <a:lnTo>
                        <a:pt x="80" y="519"/>
                      </a:lnTo>
                      <a:lnTo>
                        <a:pt x="74" y="521"/>
                      </a:lnTo>
                      <a:lnTo>
                        <a:pt x="69" y="524"/>
                      </a:lnTo>
                      <a:lnTo>
                        <a:pt x="66" y="524"/>
                      </a:lnTo>
                      <a:lnTo>
                        <a:pt x="66" y="521"/>
                      </a:lnTo>
                      <a:lnTo>
                        <a:pt x="74" y="515"/>
                      </a:lnTo>
                      <a:lnTo>
                        <a:pt x="72" y="509"/>
                      </a:lnTo>
                      <a:lnTo>
                        <a:pt x="69" y="504"/>
                      </a:lnTo>
                      <a:lnTo>
                        <a:pt x="72" y="501"/>
                      </a:lnTo>
                      <a:lnTo>
                        <a:pt x="72" y="499"/>
                      </a:lnTo>
                      <a:lnTo>
                        <a:pt x="74" y="499"/>
                      </a:lnTo>
                      <a:lnTo>
                        <a:pt x="74" y="496"/>
                      </a:lnTo>
                      <a:lnTo>
                        <a:pt x="77" y="496"/>
                      </a:lnTo>
                      <a:lnTo>
                        <a:pt x="82" y="483"/>
                      </a:lnTo>
                      <a:lnTo>
                        <a:pt x="77" y="471"/>
                      </a:lnTo>
                      <a:lnTo>
                        <a:pt x="72" y="466"/>
                      </a:lnTo>
                      <a:lnTo>
                        <a:pt x="69" y="460"/>
                      </a:lnTo>
                      <a:lnTo>
                        <a:pt x="66" y="455"/>
                      </a:lnTo>
                      <a:lnTo>
                        <a:pt x="66" y="452"/>
                      </a:lnTo>
                      <a:lnTo>
                        <a:pt x="63" y="450"/>
                      </a:lnTo>
                      <a:lnTo>
                        <a:pt x="61" y="446"/>
                      </a:lnTo>
                      <a:lnTo>
                        <a:pt x="61" y="443"/>
                      </a:lnTo>
                      <a:lnTo>
                        <a:pt x="58" y="435"/>
                      </a:lnTo>
                      <a:lnTo>
                        <a:pt x="55" y="435"/>
                      </a:lnTo>
                      <a:lnTo>
                        <a:pt x="55" y="432"/>
                      </a:lnTo>
                      <a:lnTo>
                        <a:pt x="49" y="438"/>
                      </a:lnTo>
                      <a:lnTo>
                        <a:pt x="49" y="435"/>
                      </a:lnTo>
                      <a:lnTo>
                        <a:pt x="63" y="422"/>
                      </a:lnTo>
                      <a:lnTo>
                        <a:pt x="69" y="414"/>
                      </a:lnTo>
                      <a:lnTo>
                        <a:pt x="63" y="407"/>
                      </a:lnTo>
                      <a:lnTo>
                        <a:pt x="66" y="394"/>
                      </a:lnTo>
                      <a:lnTo>
                        <a:pt x="69" y="391"/>
                      </a:lnTo>
                      <a:lnTo>
                        <a:pt x="74" y="391"/>
                      </a:lnTo>
                      <a:lnTo>
                        <a:pt x="74" y="389"/>
                      </a:lnTo>
                      <a:lnTo>
                        <a:pt x="66" y="383"/>
                      </a:lnTo>
                      <a:lnTo>
                        <a:pt x="58" y="383"/>
                      </a:lnTo>
                      <a:lnTo>
                        <a:pt x="52" y="378"/>
                      </a:lnTo>
                      <a:lnTo>
                        <a:pt x="46" y="378"/>
                      </a:lnTo>
                      <a:lnTo>
                        <a:pt x="38" y="378"/>
                      </a:lnTo>
                      <a:lnTo>
                        <a:pt x="33" y="374"/>
                      </a:lnTo>
                      <a:lnTo>
                        <a:pt x="30" y="371"/>
                      </a:lnTo>
                      <a:lnTo>
                        <a:pt x="33" y="369"/>
                      </a:lnTo>
                      <a:lnTo>
                        <a:pt x="36" y="350"/>
                      </a:lnTo>
                      <a:lnTo>
                        <a:pt x="30" y="336"/>
                      </a:lnTo>
                      <a:lnTo>
                        <a:pt x="25" y="333"/>
                      </a:lnTo>
                      <a:lnTo>
                        <a:pt x="20" y="330"/>
                      </a:lnTo>
                      <a:lnTo>
                        <a:pt x="20" y="328"/>
                      </a:lnTo>
                      <a:lnTo>
                        <a:pt x="22" y="325"/>
                      </a:lnTo>
                      <a:lnTo>
                        <a:pt x="22" y="322"/>
                      </a:lnTo>
                      <a:lnTo>
                        <a:pt x="33" y="322"/>
                      </a:lnTo>
                      <a:lnTo>
                        <a:pt x="38" y="314"/>
                      </a:lnTo>
                      <a:lnTo>
                        <a:pt x="38" y="300"/>
                      </a:lnTo>
                      <a:lnTo>
                        <a:pt x="41" y="297"/>
                      </a:lnTo>
                      <a:lnTo>
                        <a:pt x="49" y="294"/>
                      </a:lnTo>
                      <a:lnTo>
                        <a:pt x="44" y="294"/>
                      </a:lnTo>
                      <a:lnTo>
                        <a:pt x="38" y="297"/>
                      </a:lnTo>
                      <a:lnTo>
                        <a:pt x="38" y="294"/>
                      </a:lnTo>
                      <a:lnTo>
                        <a:pt x="36" y="284"/>
                      </a:lnTo>
                      <a:lnTo>
                        <a:pt x="30" y="278"/>
                      </a:lnTo>
                      <a:lnTo>
                        <a:pt x="30" y="272"/>
                      </a:lnTo>
                      <a:lnTo>
                        <a:pt x="30" y="264"/>
                      </a:lnTo>
                      <a:lnTo>
                        <a:pt x="30" y="261"/>
                      </a:lnTo>
                      <a:lnTo>
                        <a:pt x="28" y="261"/>
                      </a:lnTo>
                      <a:lnTo>
                        <a:pt x="13" y="261"/>
                      </a:lnTo>
                      <a:lnTo>
                        <a:pt x="11" y="256"/>
                      </a:lnTo>
                      <a:lnTo>
                        <a:pt x="8" y="256"/>
                      </a:lnTo>
                      <a:lnTo>
                        <a:pt x="8" y="248"/>
                      </a:lnTo>
                      <a:lnTo>
                        <a:pt x="8" y="242"/>
                      </a:lnTo>
                      <a:lnTo>
                        <a:pt x="0" y="245"/>
                      </a:lnTo>
                      <a:lnTo>
                        <a:pt x="0" y="242"/>
                      </a:lnTo>
                      <a:lnTo>
                        <a:pt x="3" y="236"/>
                      </a:lnTo>
                      <a:close/>
                    </a:path>
                  </a:pathLst>
                </a:custGeom>
                <a:grpFill/>
                <a:ln w="12700" cap="flat" cmpd="sng" algn="ctr">
                  <a:solidFill>
                    <a:schemeClr val="bg1">
                      <a:lumMod val="85000"/>
                    </a:schemeClr>
                  </a:solidFill>
                  <a:prstDash val="solid"/>
                  <a:round/>
                  <a:headEnd type="none" w="med" len="med"/>
                  <a:tailEnd type="none" w="med" len="med"/>
                </a:ln>
              </p:spPr>
            </p:sp>
            <p:sp>
              <p:nvSpPr>
                <p:cNvPr id="46" name="ee4p_BR_7"/>
                <p:cNvSpPr>
                  <a:spLocks/>
                </p:cNvSpPr>
                <p:nvPr>
                  <p:custDataLst>
                    <p:tags r:id="rId8"/>
                  </p:custDataLst>
                </p:nvPr>
              </p:nvSpPr>
              <p:spPr bwMode="auto">
                <a:xfrm>
                  <a:off x="5212695" y="3985288"/>
                  <a:ext cx="104909" cy="64943"/>
                </a:xfrm>
                <a:custGeom>
                  <a:avLst/>
                  <a:gdLst/>
                  <a:ahLst/>
                  <a:cxnLst>
                    <a:cxn ang="0">
                      <a:pos x="5" y="128"/>
                    </a:cxn>
                    <a:cxn ang="0">
                      <a:pos x="27" y="108"/>
                    </a:cxn>
                    <a:cxn ang="0">
                      <a:pos x="30" y="92"/>
                    </a:cxn>
                    <a:cxn ang="0">
                      <a:pos x="16" y="86"/>
                    </a:cxn>
                    <a:cxn ang="0">
                      <a:pos x="21" y="59"/>
                    </a:cxn>
                    <a:cxn ang="0">
                      <a:pos x="33" y="6"/>
                    </a:cxn>
                    <a:cxn ang="0">
                      <a:pos x="102" y="0"/>
                    </a:cxn>
                    <a:cxn ang="0">
                      <a:pos x="292" y="0"/>
                    </a:cxn>
                    <a:cxn ang="0">
                      <a:pos x="353" y="20"/>
                    </a:cxn>
                    <a:cxn ang="0">
                      <a:pos x="366" y="28"/>
                    </a:cxn>
                    <a:cxn ang="0">
                      <a:pos x="380" y="34"/>
                    </a:cxn>
                    <a:cxn ang="0">
                      <a:pos x="394" y="39"/>
                    </a:cxn>
                    <a:cxn ang="0">
                      <a:pos x="388" y="61"/>
                    </a:cxn>
                    <a:cxn ang="0">
                      <a:pos x="386" y="75"/>
                    </a:cxn>
                    <a:cxn ang="0">
                      <a:pos x="394" y="81"/>
                    </a:cxn>
                    <a:cxn ang="0">
                      <a:pos x="391" y="97"/>
                    </a:cxn>
                    <a:cxn ang="0">
                      <a:pos x="391" y="103"/>
                    </a:cxn>
                    <a:cxn ang="0">
                      <a:pos x="391" y="108"/>
                    </a:cxn>
                    <a:cxn ang="0">
                      <a:pos x="388" y="117"/>
                    </a:cxn>
                    <a:cxn ang="0">
                      <a:pos x="380" y="128"/>
                    </a:cxn>
                    <a:cxn ang="0">
                      <a:pos x="378" y="136"/>
                    </a:cxn>
                    <a:cxn ang="0">
                      <a:pos x="372" y="141"/>
                    </a:cxn>
                    <a:cxn ang="0">
                      <a:pos x="372" y="150"/>
                    </a:cxn>
                    <a:cxn ang="0">
                      <a:pos x="372" y="155"/>
                    </a:cxn>
                    <a:cxn ang="0">
                      <a:pos x="369" y="161"/>
                    </a:cxn>
                    <a:cxn ang="0">
                      <a:pos x="369" y="171"/>
                    </a:cxn>
                    <a:cxn ang="0">
                      <a:pos x="372" y="177"/>
                    </a:cxn>
                    <a:cxn ang="0">
                      <a:pos x="375" y="183"/>
                    </a:cxn>
                    <a:cxn ang="0">
                      <a:pos x="372" y="189"/>
                    </a:cxn>
                    <a:cxn ang="0">
                      <a:pos x="369" y="194"/>
                    </a:cxn>
                    <a:cxn ang="0">
                      <a:pos x="369" y="205"/>
                    </a:cxn>
                    <a:cxn ang="0">
                      <a:pos x="372" y="210"/>
                    </a:cxn>
                    <a:cxn ang="0">
                      <a:pos x="380" y="213"/>
                    </a:cxn>
                    <a:cxn ang="0">
                      <a:pos x="383" y="219"/>
                    </a:cxn>
                    <a:cxn ang="0">
                      <a:pos x="391" y="222"/>
                    </a:cxn>
                    <a:cxn ang="0">
                      <a:pos x="394" y="227"/>
                    </a:cxn>
                    <a:cxn ang="0">
                      <a:pos x="270" y="230"/>
                    </a:cxn>
                    <a:cxn ang="0">
                      <a:pos x="140" y="232"/>
                    </a:cxn>
                    <a:cxn ang="0">
                      <a:pos x="79" y="232"/>
                    </a:cxn>
                    <a:cxn ang="0">
                      <a:pos x="5" y="222"/>
                    </a:cxn>
                    <a:cxn ang="0">
                      <a:pos x="10" y="199"/>
                    </a:cxn>
                    <a:cxn ang="0">
                      <a:pos x="13" y="186"/>
                    </a:cxn>
                    <a:cxn ang="0">
                      <a:pos x="5" y="183"/>
                    </a:cxn>
                    <a:cxn ang="0">
                      <a:pos x="5" y="177"/>
                    </a:cxn>
                    <a:cxn ang="0">
                      <a:pos x="2" y="166"/>
                    </a:cxn>
                    <a:cxn ang="0">
                      <a:pos x="2" y="158"/>
                    </a:cxn>
                  </a:cxnLst>
                  <a:rect l="0" t="0" r="r" b="b"/>
                  <a:pathLst>
                    <a:path w="397" h="232">
                      <a:moveTo>
                        <a:pt x="0" y="138"/>
                      </a:moveTo>
                      <a:lnTo>
                        <a:pt x="0" y="136"/>
                      </a:lnTo>
                      <a:lnTo>
                        <a:pt x="5" y="128"/>
                      </a:lnTo>
                      <a:lnTo>
                        <a:pt x="16" y="125"/>
                      </a:lnTo>
                      <a:lnTo>
                        <a:pt x="18" y="120"/>
                      </a:lnTo>
                      <a:lnTo>
                        <a:pt x="27" y="108"/>
                      </a:lnTo>
                      <a:lnTo>
                        <a:pt x="30" y="108"/>
                      </a:lnTo>
                      <a:lnTo>
                        <a:pt x="33" y="103"/>
                      </a:lnTo>
                      <a:lnTo>
                        <a:pt x="30" y="92"/>
                      </a:lnTo>
                      <a:lnTo>
                        <a:pt x="27" y="86"/>
                      </a:lnTo>
                      <a:lnTo>
                        <a:pt x="21" y="89"/>
                      </a:lnTo>
                      <a:lnTo>
                        <a:pt x="16" y="86"/>
                      </a:lnTo>
                      <a:lnTo>
                        <a:pt x="16" y="78"/>
                      </a:lnTo>
                      <a:lnTo>
                        <a:pt x="18" y="67"/>
                      </a:lnTo>
                      <a:lnTo>
                        <a:pt x="21" y="59"/>
                      </a:lnTo>
                      <a:lnTo>
                        <a:pt x="27" y="51"/>
                      </a:lnTo>
                      <a:lnTo>
                        <a:pt x="33" y="51"/>
                      </a:lnTo>
                      <a:lnTo>
                        <a:pt x="33" y="6"/>
                      </a:lnTo>
                      <a:lnTo>
                        <a:pt x="33" y="0"/>
                      </a:lnTo>
                      <a:lnTo>
                        <a:pt x="93" y="0"/>
                      </a:lnTo>
                      <a:lnTo>
                        <a:pt x="102" y="0"/>
                      </a:lnTo>
                      <a:lnTo>
                        <a:pt x="207" y="0"/>
                      </a:lnTo>
                      <a:lnTo>
                        <a:pt x="253" y="0"/>
                      </a:lnTo>
                      <a:lnTo>
                        <a:pt x="292" y="0"/>
                      </a:lnTo>
                      <a:lnTo>
                        <a:pt x="319" y="0"/>
                      </a:lnTo>
                      <a:lnTo>
                        <a:pt x="353" y="0"/>
                      </a:lnTo>
                      <a:lnTo>
                        <a:pt x="353" y="20"/>
                      </a:lnTo>
                      <a:lnTo>
                        <a:pt x="358" y="20"/>
                      </a:lnTo>
                      <a:lnTo>
                        <a:pt x="363" y="28"/>
                      </a:lnTo>
                      <a:lnTo>
                        <a:pt x="366" y="28"/>
                      </a:lnTo>
                      <a:lnTo>
                        <a:pt x="366" y="31"/>
                      </a:lnTo>
                      <a:lnTo>
                        <a:pt x="369" y="34"/>
                      </a:lnTo>
                      <a:lnTo>
                        <a:pt x="380" y="34"/>
                      </a:lnTo>
                      <a:lnTo>
                        <a:pt x="388" y="36"/>
                      </a:lnTo>
                      <a:lnTo>
                        <a:pt x="391" y="36"/>
                      </a:lnTo>
                      <a:lnTo>
                        <a:pt x="394" y="39"/>
                      </a:lnTo>
                      <a:lnTo>
                        <a:pt x="391" y="43"/>
                      </a:lnTo>
                      <a:lnTo>
                        <a:pt x="386" y="56"/>
                      </a:lnTo>
                      <a:lnTo>
                        <a:pt x="388" y="61"/>
                      </a:lnTo>
                      <a:lnTo>
                        <a:pt x="388" y="67"/>
                      </a:lnTo>
                      <a:lnTo>
                        <a:pt x="388" y="72"/>
                      </a:lnTo>
                      <a:lnTo>
                        <a:pt x="386" y="75"/>
                      </a:lnTo>
                      <a:lnTo>
                        <a:pt x="388" y="78"/>
                      </a:lnTo>
                      <a:lnTo>
                        <a:pt x="391" y="78"/>
                      </a:lnTo>
                      <a:lnTo>
                        <a:pt x="394" y="81"/>
                      </a:lnTo>
                      <a:lnTo>
                        <a:pt x="394" y="86"/>
                      </a:lnTo>
                      <a:lnTo>
                        <a:pt x="391" y="92"/>
                      </a:lnTo>
                      <a:lnTo>
                        <a:pt x="391" y="97"/>
                      </a:lnTo>
                      <a:lnTo>
                        <a:pt x="394" y="100"/>
                      </a:lnTo>
                      <a:lnTo>
                        <a:pt x="394" y="103"/>
                      </a:lnTo>
                      <a:lnTo>
                        <a:pt x="391" y="103"/>
                      </a:lnTo>
                      <a:lnTo>
                        <a:pt x="391" y="108"/>
                      </a:lnTo>
                      <a:lnTo>
                        <a:pt x="391" y="105"/>
                      </a:lnTo>
                      <a:lnTo>
                        <a:pt x="391" y="108"/>
                      </a:lnTo>
                      <a:lnTo>
                        <a:pt x="388" y="111"/>
                      </a:lnTo>
                      <a:lnTo>
                        <a:pt x="388" y="114"/>
                      </a:lnTo>
                      <a:lnTo>
                        <a:pt x="388" y="117"/>
                      </a:lnTo>
                      <a:lnTo>
                        <a:pt x="386" y="117"/>
                      </a:lnTo>
                      <a:lnTo>
                        <a:pt x="383" y="125"/>
                      </a:lnTo>
                      <a:lnTo>
                        <a:pt x="380" y="128"/>
                      </a:lnTo>
                      <a:lnTo>
                        <a:pt x="380" y="130"/>
                      </a:lnTo>
                      <a:lnTo>
                        <a:pt x="378" y="130"/>
                      </a:lnTo>
                      <a:lnTo>
                        <a:pt x="378" y="136"/>
                      </a:lnTo>
                      <a:lnTo>
                        <a:pt x="375" y="136"/>
                      </a:lnTo>
                      <a:lnTo>
                        <a:pt x="372" y="138"/>
                      </a:lnTo>
                      <a:lnTo>
                        <a:pt x="372" y="141"/>
                      </a:lnTo>
                      <a:lnTo>
                        <a:pt x="372" y="144"/>
                      </a:lnTo>
                      <a:lnTo>
                        <a:pt x="372" y="147"/>
                      </a:lnTo>
                      <a:lnTo>
                        <a:pt x="372" y="150"/>
                      </a:lnTo>
                      <a:lnTo>
                        <a:pt x="369" y="153"/>
                      </a:lnTo>
                      <a:lnTo>
                        <a:pt x="372" y="153"/>
                      </a:lnTo>
                      <a:lnTo>
                        <a:pt x="372" y="155"/>
                      </a:lnTo>
                      <a:lnTo>
                        <a:pt x="369" y="161"/>
                      </a:lnTo>
                      <a:lnTo>
                        <a:pt x="366" y="161"/>
                      </a:lnTo>
                      <a:lnTo>
                        <a:pt x="369" y="161"/>
                      </a:lnTo>
                      <a:lnTo>
                        <a:pt x="369" y="166"/>
                      </a:lnTo>
                      <a:lnTo>
                        <a:pt x="372" y="169"/>
                      </a:lnTo>
                      <a:lnTo>
                        <a:pt x="369" y="171"/>
                      </a:lnTo>
                      <a:lnTo>
                        <a:pt x="375" y="171"/>
                      </a:lnTo>
                      <a:lnTo>
                        <a:pt x="372" y="174"/>
                      </a:lnTo>
                      <a:lnTo>
                        <a:pt x="372" y="177"/>
                      </a:lnTo>
                      <a:lnTo>
                        <a:pt x="375" y="177"/>
                      </a:lnTo>
                      <a:lnTo>
                        <a:pt x="375" y="180"/>
                      </a:lnTo>
                      <a:lnTo>
                        <a:pt x="375" y="183"/>
                      </a:lnTo>
                      <a:lnTo>
                        <a:pt x="369" y="183"/>
                      </a:lnTo>
                      <a:lnTo>
                        <a:pt x="372" y="186"/>
                      </a:lnTo>
                      <a:lnTo>
                        <a:pt x="372" y="189"/>
                      </a:lnTo>
                      <a:lnTo>
                        <a:pt x="372" y="191"/>
                      </a:lnTo>
                      <a:lnTo>
                        <a:pt x="369" y="191"/>
                      </a:lnTo>
                      <a:lnTo>
                        <a:pt x="369" y="194"/>
                      </a:lnTo>
                      <a:lnTo>
                        <a:pt x="369" y="197"/>
                      </a:lnTo>
                      <a:lnTo>
                        <a:pt x="369" y="202"/>
                      </a:lnTo>
                      <a:lnTo>
                        <a:pt x="369" y="205"/>
                      </a:lnTo>
                      <a:lnTo>
                        <a:pt x="369" y="207"/>
                      </a:lnTo>
                      <a:lnTo>
                        <a:pt x="372" y="207"/>
                      </a:lnTo>
                      <a:lnTo>
                        <a:pt x="372" y="210"/>
                      </a:lnTo>
                      <a:lnTo>
                        <a:pt x="375" y="210"/>
                      </a:lnTo>
                      <a:lnTo>
                        <a:pt x="375" y="213"/>
                      </a:lnTo>
                      <a:lnTo>
                        <a:pt x="380" y="213"/>
                      </a:lnTo>
                      <a:lnTo>
                        <a:pt x="380" y="215"/>
                      </a:lnTo>
                      <a:lnTo>
                        <a:pt x="383" y="215"/>
                      </a:lnTo>
                      <a:lnTo>
                        <a:pt x="383" y="219"/>
                      </a:lnTo>
                      <a:lnTo>
                        <a:pt x="386" y="215"/>
                      </a:lnTo>
                      <a:lnTo>
                        <a:pt x="388" y="222"/>
                      </a:lnTo>
                      <a:lnTo>
                        <a:pt x="391" y="222"/>
                      </a:lnTo>
                      <a:lnTo>
                        <a:pt x="391" y="224"/>
                      </a:lnTo>
                      <a:lnTo>
                        <a:pt x="397" y="224"/>
                      </a:lnTo>
                      <a:lnTo>
                        <a:pt x="394" y="227"/>
                      </a:lnTo>
                      <a:lnTo>
                        <a:pt x="397" y="227"/>
                      </a:lnTo>
                      <a:lnTo>
                        <a:pt x="397" y="230"/>
                      </a:lnTo>
                      <a:lnTo>
                        <a:pt x="270" y="230"/>
                      </a:lnTo>
                      <a:lnTo>
                        <a:pt x="245" y="230"/>
                      </a:lnTo>
                      <a:lnTo>
                        <a:pt x="189" y="232"/>
                      </a:lnTo>
                      <a:lnTo>
                        <a:pt x="140" y="232"/>
                      </a:lnTo>
                      <a:lnTo>
                        <a:pt x="107" y="232"/>
                      </a:lnTo>
                      <a:lnTo>
                        <a:pt x="102" y="232"/>
                      </a:lnTo>
                      <a:lnTo>
                        <a:pt x="79" y="232"/>
                      </a:lnTo>
                      <a:lnTo>
                        <a:pt x="2" y="232"/>
                      </a:lnTo>
                      <a:lnTo>
                        <a:pt x="2" y="230"/>
                      </a:lnTo>
                      <a:lnTo>
                        <a:pt x="5" y="222"/>
                      </a:lnTo>
                      <a:lnTo>
                        <a:pt x="5" y="213"/>
                      </a:lnTo>
                      <a:lnTo>
                        <a:pt x="8" y="207"/>
                      </a:lnTo>
                      <a:lnTo>
                        <a:pt x="10" y="199"/>
                      </a:lnTo>
                      <a:lnTo>
                        <a:pt x="8" y="197"/>
                      </a:lnTo>
                      <a:lnTo>
                        <a:pt x="13" y="191"/>
                      </a:lnTo>
                      <a:lnTo>
                        <a:pt x="13" y="186"/>
                      </a:lnTo>
                      <a:lnTo>
                        <a:pt x="13" y="183"/>
                      </a:lnTo>
                      <a:lnTo>
                        <a:pt x="8" y="180"/>
                      </a:lnTo>
                      <a:lnTo>
                        <a:pt x="5" y="183"/>
                      </a:lnTo>
                      <a:lnTo>
                        <a:pt x="2" y="180"/>
                      </a:lnTo>
                      <a:lnTo>
                        <a:pt x="2" y="177"/>
                      </a:lnTo>
                      <a:lnTo>
                        <a:pt x="5" y="177"/>
                      </a:lnTo>
                      <a:lnTo>
                        <a:pt x="5" y="171"/>
                      </a:lnTo>
                      <a:lnTo>
                        <a:pt x="2" y="171"/>
                      </a:lnTo>
                      <a:lnTo>
                        <a:pt x="2" y="166"/>
                      </a:lnTo>
                      <a:lnTo>
                        <a:pt x="2" y="163"/>
                      </a:lnTo>
                      <a:lnTo>
                        <a:pt x="5" y="161"/>
                      </a:lnTo>
                      <a:lnTo>
                        <a:pt x="2" y="158"/>
                      </a:lnTo>
                      <a:lnTo>
                        <a:pt x="0" y="144"/>
                      </a:lnTo>
                      <a:lnTo>
                        <a:pt x="0" y="138"/>
                      </a:lnTo>
                      <a:close/>
                    </a:path>
                  </a:pathLst>
                </a:custGeom>
                <a:grpFill/>
                <a:ln w="12700" cap="flat" cmpd="sng" algn="ctr">
                  <a:solidFill>
                    <a:schemeClr val="bg1">
                      <a:lumMod val="85000"/>
                    </a:schemeClr>
                  </a:solidFill>
                  <a:prstDash val="solid"/>
                  <a:round/>
                  <a:headEnd type="none" w="med" len="med"/>
                  <a:tailEnd type="none" w="med" len="med"/>
                </a:ln>
              </p:spPr>
            </p:sp>
            <p:sp>
              <p:nvSpPr>
                <p:cNvPr id="47" name="ee4p_BR_8"/>
                <p:cNvSpPr>
                  <a:spLocks/>
                </p:cNvSpPr>
                <p:nvPr>
                  <p:custDataLst>
                    <p:tags r:id="rId9"/>
                  </p:custDataLst>
                </p:nvPr>
              </p:nvSpPr>
              <p:spPr bwMode="auto">
                <a:xfrm>
                  <a:off x="4695642" y="3619979"/>
                  <a:ext cx="771832" cy="828032"/>
                </a:xfrm>
                <a:custGeom>
                  <a:avLst/>
                  <a:gdLst/>
                  <a:ahLst/>
                  <a:cxnLst>
                    <a:cxn ang="0">
                      <a:pos x="19" y="2051"/>
                    </a:cxn>
                    <a:cxn ang="0">
                      <a:pos x="74" y="1943"/>
                    </a:cxn>
                    <a:cxn ang="0">
                      <a:pos x="130" y="1862"/>
                    </a:cxn>
                    <a:cxn ang="0">
                      <a:pos x="210" y="1767"/>
                    </a:cxn>
                    <a:cxn ang="0">
                      <a:pos x="229" y="1659"/>
                    </a:cxn>
                    <a:cxn ang="0">
                      <a:pos x="378" y="1529"/>
                    </a:cxn>
                    <a:cxn ang="0">
                      <a:pos x="616" y="1325"/>
                    </a:cxn>
                    <a:cxn ang="0">
                      <a:pos x="792" y="1087"/>
                    </a:cxn>
                    <a:cxn ang="0">
                      <a:pos x="933" y="778"/>
                    </a:cxn>
                    <a:cxn ang="0">
                      <a:pos x="1052" y="412"/>
                    </a:cxn>
                    <a:cxn ang="0">
                      <a:pos x="1126" y="152"/>
                    </a:cxn>
                    <a:cxn ang="0">
                      <a:pos x="1193" y="47"/>
                    </a:cxn>
                    <a:cxn ang="0">
                      <a:pos x="1231" y="80"/>
                    </a:cxn>
                    <a:cxn ang="0">
                      <a:pos x="1217" y="190"/>
                    </a:cxn>
                    <a:cxn ang="0">
                      <a:pos x="1590" y="328"/>
                    </a:cxn>
                    <a:cxn ang="0">
                      <a:pos x="1709" y="215"/>
                    </a:cxn>
                    <a:cxn ang="0">
                      <a:pos x="1847" y="254"/>
                    </a:cxn>
                    <a:cxn ang="0">
                      <a:pos x="1891" y="379"/>
                    </a:cxn>
                    <a:cxn ang="0">
                      <a:pos x="1960" y="371"/>
                    </a:cxn>
                    <a:cxn ang="0">
                      <a:pos x="2056" y="326"/>
                    </a:cxn>
                    <a:cxn ang="0">
                      <a:pos x="2114" y="356"/>
                    </a:cxn>
                    <a:cxn ang="0">
                      <a:pos x="2282" y="409"/>
                    </a:cxn>
                    <a:cxn ang="0">
                      <a:pos x="2343" y="331"/>
                    </a:cxn>
                    <a:cxn ang="0">
                      <a:pos x="2481" y="343"/>
                    </a:cxn>
                    <a:cxn ang="0">
                      <a:pos x="2603" y="279"/>
                    </a:cxn>
                    <a:cxn ang="0">
                      <a:pos x="2832" y="243"/>
                    </a:cxn>
                    <a:cxn ang="0">
                      <a:pos x="2826" y="331"/>
                    </a:cxn>
                    <a:cxn ang="0">
                      <a:pos x="2865" y="453"/>
                    </a:cxn>
                    <a:cxn ang="0">
                      <a:pos x="2859" y="663"/>
                    </a:cxn>
                    <a:cxn ang="0">
                      <a:pos x="2979" y="819"/>
                    </a:cxn>
                    <a:cxn ang="0">
                      <a:pos x="2953" y="944"/>
                    </a:cxn>
                    <a:cxn ang="0">
                      <a:pos x="2865" y="1066"/>
                    </a:cxn>
                    <a:cxn ang="0">
                      <a:pos x="2729" y="1021"/>
                    </a:cxn>
                    <a:cxn ang="0">
                      <a:pos x="2583" y="1148"/>
                    </a:cxn>
                    <a:cxn ang="0">
                      <a:pos x="2619" y="1460"/>
                    </a:cxn>
                    <a:cxn ang="0">
                      <a:pos x="2440" y="1521"/>
                    </a:cxn>
                    <a:cxn ang="0">
                      <a:pos x="2390" y="1463"/>
                    </a:cxn>
                    <a:cxn ang="0">
                      <a:pos x="2374" y="1302"/>
                    </a:cxn>
                    <a:cxn ang="0">
                      <a:pos x="2023" y="1534"/>
                    </a:cxn>
                    <a:cxn ang="0">
                      <a:pos x="2407" y="1617"/>
                    </a:cxn>
                    <a:cxn ang="0">
                      <a:pos x="2393" y="1760"/>
                    </a:cxn>
                    <a:cxn ang="0">
                      <a:pos x="2451" y="1833"/>
                    </a:cxn>
                    <a:cxn ang="0">
                      <a:pos x="2487" y="1931"/>
                    </a:cxn>
                    <a:cxn ang="0">
                      <a:pos x="2435" y="1970"/>
                    </a:cxn>
                    <a:cxn ang="0">
                      <a:pos x="2374" y="2045"/>
                    </a:cxn>
                    <a:cxn ang="0">
                      <a:pos x="2324" y="2117"/>
                    </a:cxn>
                    <a:cxn ang="0">
                      <a:pos x="2407" y="2252"/>
                    </a:cxn>
                    <a:cxn ang="0">
                      <a:pos x="2427" y="2373"/>
                    </a:cxn>
                    <a:cxn ang="0">
                      <a:pos x="2324" y="2445"/>
                    </a:cxn>
                    <a:cxn ang="0">
                      <a:pos x="2238" y="2522"/>
                    </a:cxn>
                    <a:cxn ang="0">
                      <a:pos x="2117" y="2525"/>
                    </a:cxn>
                    <a:cxn ang="0">
                      <a:pos x="1921" y="2498"/>
                    </a:cxn>
                    <a:cxn ang="0">
                      <a:pos x="1684" y="2519"/>
                    </a:cxn>
                    <a:cxn ang="0">
                      <a:pos x="1507" y="2575"/>
                    </a:cxn>
                    <a:cxn ang="0">
                      <a:pos x="1206" y="2638"/>
                    </a:cxn>
                    <a:cxn ang="0">
                      <a:pos x="969" y="2939"/>
                    </a:cxn>
                    <a:cxn ang="0">
                      <a:pos x="823" y="2878"/>
                    </a:cxn>
                    <a:cxn ang="0">
                      <a:pos x="667" y="2826"/>
                    </a:cxn>
                    <a:cxn ang="0">
                      <a:pos x="532" y="2759"/>
                    </a:cxn>
                    <a:cxn ang="0">
                      <a:pos x="436" y="2707"/>
                    </a:cxn>
                    <a:cxn ang="0">
                      <a:pos x="248" y="2638"/>
                    </a:cxn>
                    <a:cxn ang="0">
                      <a:pos x="110" y="2478"/>
                    </a:cxn>
                    <a:cxn ang="0">
                      <a:pos x="13" y="2235"/>
                    </a:cxn>
                  </a:cxnLst>
                  <a:rect l="0" t="0" r="r" b="b"/>
                  <a:pathLst>
                    <a:path w="2987" h="2977">
                      <a:moveTo>
                        <a:pt x="5" y="2141"/>
                      </a:moveTo>
                      <a:lnTo>
                        <a:pt x="5" y="2138"/>
                      </a:lnTo>
                      <a:lnTo>
                        <a:pt x="8" y="2133"/>
                      </a:lnTo>
                      <a:lnTo>
                        <a:pt x="8" y="2130"/>
                      </a:lnTo>
                      <a:lnTo>
                        <a:pt x="11" y="2125"/>
                      </a:lnTo>
                      <a:lnTo>
                        <a:pt x="11" y="2128"/>
                      </a:lnTo>
                      <a:lnTo>
                        <a:pt x="11" y="2125"/>
                      </a:lnTo>
                      <a:lnTo>
                        <a:pt x="11" y="2122"/>
                      </a:lnTo>
                      <a:lnTo>
                        <a:pt x="11" y="2117"/>
                      </a:lnTo>
                      <a:lnTo>
                        <a:pt x="8" y="2117"/>
                      </a:lnTo>
                      <a:lnTo>
                        <a:pt x="11" y="2114"/>
                      </a:lnTo>
                      <a:lnTo>
                        <a:pt x="8" y="2112"/>
                      </a:lnTo>
                      <a:lnTo>
                        <a:pt x="11" y="2108"/>
                      </a:lnTo>
                      <a:lnTo>
                        <a:pt x="13" y="2105"/>
                      </a:lnTo>
                      <a:lnTo>
                        <a:pt x="13" y="2102"/>
                      </a:lnTo>
                      <a:lnTo>
                        <a:pt x="16" y="2102"/>
                      </a:lnTo>
                      <a:lnTo>
                        <a:pt x="16" y="2100"/>
                      </a:lnTo>
                      <a:lnTo>
                        <a:pt x="19" y="2100"/>
                      </a:lnTo>
                      <a:lnTo>
                        <a:pt x="19" y="2097"/>
                      </a:lnTo>
                      <a:lnTo>
                        <a:pt x="16" y="2097"/>
                      </a:lnTo>
                      <a:lnTo>
                        <a:pt x="19" y="2094"/>
                      </a:lnTo>
                      <a:lnTo>
                        <a:pt x="19" y="2092"/>
                      </a:lnTo>
                      <a:lnTo>
                        <a:pt x="19" y="2094"/>
                      </a:lnTo>
                      <a:lnTo>
                        <a:pt x="22" y="2092"/>
                      </a:lnTo>
                      <a:lnTo>
                        <a:pt x="22" y="2086"/>
                      </a:lnTo>
                      <a:lnTo>
                        <a:pt x="19" y="2086"/>
                      </a:lnTo>
                      <a:lnTo>
                        <a:pt x="22" y="2086"/>
                      </a:lnTo>
                      <a:lnTo>
                        <a:pt x="25" y="2084"/>
                      </a:lnTo>
                      <a:lnTo>
                        <a:pt x="19" y="2084"/>
                      </a:lnTo>
                      <a:lnTo>
                        <a:pt x="19" y="2081"/>
                      </a:lnTo>
                      <a:lnTo>
                        <a:pt x="19" y="2078"/>
                      </a:lnTo>
                      <a:lnTo>
                        <a:pt x="22" y="2078"/>
                      </a:lnTo>
                      <a:lnTo>
                        <a:pt x="22" y="2075"/>
                      </a:lnTo>
                      <a:lnTo>
                        <a:pt x="19" y="2075"/>
                      </a:lnTo>
                      <a:lnTo>
                        <a:pt x="22" y="2072"/>
                      </a:lnTo>
                      <a:lnTo>
                        <a:pt x="19" y="2069"/>
                      </a:lnTo>
                      <a:lnTo>
                        <a:pt x="13" y="2067"/>
                      </a:lnTo>
                      <a:lnTo>
                        <a:pt x="16" y="2067"/>
                      </a:lnTo>
                      <a:lnTo>
                        <a:pt x="16" y="2064"/>
                      </a:lnTo>
                      <a:lnTo>
                        <a:pt x="19" y="2061"/>
                      </a:lnTo>
                      <a:lnTo>
                        <a:pt x="16" y="2061"/>
                      </a:lnTo>
                      <a:lnTo>
                        <a:pt x="16" y="2059"/>
                      </a:lnTo>
                      <a:lnTo>
                        <a:pt x="13" y="2061"/>
                      </a:lnTo>
                      <a:lnTo>
                        <a:pt x="13" y="2059"/>
                      </a:lnTo>
                      <a:lnTo>
                        <a:pt x="13" y="2056"/>
                      </a:lnTo>
                      <a:lnTo>
                        <a:pt x="19" y="2053"/>
                      </a:lnTo>
                      <a:lnTo>
                        <a:pt x="19" y="2051"/>
                      </a:lnTo>
                      <a:lnTo>
                        <a:pt x="25" y="2048"/>
                      </a:lnTo>
                      <a:lnTo>
                        <a:pt x="22" y="2039"/>
                      </a:lnTo>
                      <a:lnTo>
                        <a:pt x="28" y="2039"/>
                      </a:lnTo>
                      <a:lnTo>
                        <a:pt x="30" y="2034"/>
                      </a:lnTo>
                      <a:lnTo>
                        <a:pt x="33" y="2031"/>
                      </a:lnTo>
                      <a:lnTo>
                        <a:pt x="33" y="2023"/>
                      </a:lnTo>
                      <a:lnTo>
                        <a:pt x="36" y="2023"/>
                      </a:lnTo>
                      <a:lnTo>
                        <a:pt x="36" y="2020"/>
                      </a:lnTo>
                      <a:lnTo>
                        <a:pt x="36" y="2017"/>
                      </a:lnTo>
                      <a:lnTo>
                        <a:pt x="38" y="2009"/>
                      </a:lnTo>
                      <a:lnTo>
                        <a:pt x="38" y="2003"/>
                      </a:lnTo>
                      <a:lnTo>
                        <a:pt x="41" y="2000"/>
                      </a:lnTo>
                      <a:lnTo>
                        <a:pt x="44" y="2003"/>
                      </a:lnTo>
                      <a:lnTo>
                        <a:pt x="47" y="1998"/>
                      </a:lnTo>
                      <a:lnTo>
                        <a:pt x="49" y="1995"/>
                      </a:lnTo>
                      <a:lnTo>
                        <a:pt x="49" y="1992"/>
                      </a:lnTo>
                      <a:lnTo>
                        <a:pt x="52" y="1992"/>
                      </a:lnTo>
                      <a:lnTo>
                        <a:pt x="56" y="1984"/>
                      </a:lnTo>
                      <a:lnTo>
                        <a:pt x="56" y="1982"/>
                      </a:lnTo>
                      <a:lnTo>
                        <a:pt x="56" y="1979"/>
                      </a:lnTo>
                      <a:lnTo>
                        <a:pt x="58" y="1976"/>
                      </a:lnTo>
                      <a:lnTo>
                        <a:pt x="61" y="1976"/>
                      </a:lnTo>
                      <a:lnTo>
                        <a:pt x="64" y="1976"/>
                      </a:lnTo>
                      <a:lnTo>
                        <a:pt x="61" y="1974"/>
                      </a:lnTo>
                      <a:lnTo>
                        <a:pt x="64" y="1974"/>
                      </a:lnTo>
                      <a:lnTo>
                        <a:pt x="66" y="1974"/>
                      </a:lnTo>
                      <a:lnTo>
                        <a:pt x="66" y="1970"/>
                      </a:lnTo>
                      <a:lnTo>
                        <a:pt x="69" y="1970"/>
                      </a:lnTo>
                      <a:lnTo>
                        <a:pt x="66" y="1967"/>
                      </a:lnTo>
                      <a:lnTo>
                        <a:pt x="72" y="1967"/>
                      </a:lnTo>
                      <a:lnTo>
                        <a:pt x="69" y="1965"/>
                      </a:lnTo>
                      <a:lnTo>
                        <a:pt x="72" y="1965"/>
                      </a:lnTo>
                      <a:lnTo>
                        <a:pt x="74" y="1967"/>
                      </a:lnTo>
                      <a:lnTo>
                        <a:pt x="74" y="1962"/>
                      </a:lnTo>
                      <a:lnTo>
                        <a:pt x="74" y="1965"/>
                      </a:lnTo>
                      <a:lnTo>
                        <a:pt x="74" y="1962"/>
                      </a:lnTo>
                      <a:lnTo>
                        <a:pt x="77" y="1962"/>
                      </a:lnTo>
                      <a:lnTo>
                        <a:pt x="80" y="1959"/>
                      </a:lnTo>
                      <a:lnTo>
                        <a:pt x="80" y="1956"/>
                      </a:lnTo>
                      <a:lnTo>
                        <a:pt x="77" y="1954"/>
                      </a:lnTo>
                      <a:lnTo>
                        <a:pt x="77" y="1956"/>
                      </a:lnTo>
                      <a:lnTo>
                        <a:pt x="77" y="1954"/>
                      </a:lnTo>
                      <a:lnTo>
                        <a:pt x="77" y="1951"/>
                      </a:lnTo>
                      <a:lnTo>
                        <a:pt x="74" y="1951"/>
                      </a:lnTo>
                      <a:lnTo>
                        <a:pt x="74" y="1948"/>
                      </a:lnTo>
                      <a:lnTo>
                        <a:pt x="77" y="1948"/>
                      </a:lnTo>
                      <a:lnTo>
                        <a:pt x="74" y="1943"/>
                      </a:lnTo>
                      <a:lnTo>
                        <a:pt x="77" y="1943"/>
                      </a:lnTo>
                      <a:lnTo>
                        <a:pt x="77" y="1940"/>
                      </a:lnTo>
                      <a:lnTo>
                        <a:pt x="80" y="1940"/>
                      </a:lnTo>
                      <a:lnTo>
                        <a:pt x="77" y="1938"/>
                      </a:lnTo>
                      <a:lnTo>
                        <a:pt x="80" y="1938"/>
                      </a:lnTo>
                      <a:lnTo>
                        <a:pt x="80" y="1934"/>
                      </a:lnTo>
                      <a:lnTo>
                        <a:pt x="80" y="1931"/>
                      </a:lnTo>
                      <a:lnTo>
                        <a:pt x="82" y="1929"/>
                      </a:lnTo>
                      <a:lnTo>
                        <a:pt x="80" y="1926"/>
                      </a:lnTo>
                      <a:lnTo>
                        <a:pt x="80" y="1915"/>
                      </a:lnTo>
                      <a:lnTo>
                        <a:pt x="82" y="1915"/>
                      </a:lnTo>
                      <a:lnTo>
                        <a:pt x="82" y="1918"/>
                      </a:lnTo>
                      <a:lnTo>
                        <a:pt x="85" y="1913"/>
                      </a:lnTo>
                      <a:lnTo>
                        <a:pt x="85" y="1910"/>
                      </a:lnTo>
                      <a:lnTo>
                        <a:pt x="89" y="1907"/>
                      </a:lnTo>
                      <a:lnTo>
                        <a:pt x="89" y="1905"/>
                      </a:lnTo>
                      <a:lnTo>
                        <a:pt x="89" y="1901"/>
                      </a:lnTo>
                      <a:lnTo>
                        <a:pt x="89" y="1898"/>
                      </a:lnTo>
                      <a:lnTo>
                        <a:pt x="89" y="1893"/>
                      </a:lnTo>
                      <a:lnTo>
                        <a:pt x="91" y="1893"/>
                      </a:lnTo>
                      <a:lnTo>
                        <a:pt x="91" y="1890"/>
                      </a:lnTo>
                      <a:lnTo>
                        <a:pt x="94" y="1890"/>
                      </a:lnTo>
                      <a:lnTo>
                        <a:pt x="97" y="1887"/>
                      </a:lnTo>
                      <a:lnTo>
                        <a:pt x="97" y="1882"/>
                      </a:lnTo>
                      <a:lnTo>
                        <a:pt x="99" y="1882"/>
                      </a:lnTo>
                      <a:lnTo>
                        <a:pt x="97" y="1879"/>
                      </a:lnTo>
                      <a:lnTo>
                        <a:pt x="97" y="1874"/>
                      </a:lnTo>
                      <a:lnTo>
                        <a:pt x="99" y="1871"/>
                      </a:lnTo>
                      <a:lnTo>
                        <a:pt x="99" y="1874"/>
                      </a:lnTo>
                      <a:lnTo>
                        <a:pt x="102" y="1871"/>
                      </a:lnTo>
                      <a:lnTo>
                        <a:pt x="105" y="1874"/>
                      </a:lnTo>
                      <a:lnTo>
                        <a:pt x="107" y="1874"/>
                      </a:lnTo>
                      <a:lnTo>
                        <a:pt x="113" y="1874"/>
                      </a:lnTo>
                      <a:lnTo>
                        <a:pt x="116" y="1877"/>
                      </a:lnTo>
                      <a:lnTo>
                        <a:pt x="118" y="1874"/>
                      </a:lnTo>
                      <a:lnTo>
                        <a:pt x="118" y="1871"/>
                      </a:lnTo>
                      <a:lnTo>
                        <a:pt x="121" y="1874"/>
                      </a:lnTo>
                      <a:lnTo>
                        <a:pt x="121" y="1871"/>
                      </a:lnTo>
                      <a:lnTo>
                        <a:pt x="121" y="1869"/>
                      </a:lnTo>
                      <a:lnTo>
                        <a:pt x="125" y="1869"/>
                      </a:lnTo>
                      <a:lnTo>
                        <a:pt x="125" y="1871"/>
                      </a:lnTo>
                      <a:lnTo>
                        <a:pt x="127" y="1871"/>
                      </a:lnTo>
                      <a:lnTo>
                        <a:pt x="125" y="1865"/>
                      </a:lnTo>
                      <a:lnTo>
                        <a:pt x="121" y="1865"/>
                      </a:lnTo>
                      <a:lnTo>
                        <a:pt x="133" y="1865"/>
                      </a:lnTo>
                      <a:lnTo>
                        <a:pt x="133" y="1862"/>
                      </a:lnTo>
                      <a:lnTo>
                        <a:pt x="130" y="1862"/>
                      </a:lnTo>
                      <a:lnTo>
                        <a:pt x="133" y="1857"/>
                      </a:lnTo>
                      <a:lnTo>
                        <a:pt x="127" y="1852"/>
                      </a:lnTo>
                      <a:lnTo>
                        <a:pt x="130" y="1852"/>
                      </a:lnTo>
                      <a:lnTo>
                        <a:pt x="130" y="1849"/>
                      </a:lnTo>
                      <a:lnTo>
                        <a:pt x="133" y="1849"/>
                      </a:lnTo>
                      <a:lnTo>
                        <a:pt x="133" y="1854"/>
                      </a:lnTo>
                      <a:lnTo>
                        <a:pt x="135" y="1854"/>
                      </a:lnTo>
                      <a:lnTo>
                        <a:pt x="138" y="1852"/>
                      </a:lnTo>
                      <a:lnTo>
                        <a:pt x="141" y="1852"/>
                      </a:lnTo>
                      <a:lnTo>
                        <a:pt x="141" y="1846"/>
                      </a:lnTo>
                      <a:lnTo>
                        <a:pt x="146" y="1844"/>
                      </a:lnTo>
                      <a:lnTo>
                        <a:pt x="149" y="1841"/>
                      </a:lnTo>
                      <a:lnTo>
                        <a:pt x="146" y="1841"/>
                      </a:lnTo>
                      <a:lnTo>
                        <a:pt x="151" y="1838"/>
                      </a:lnTo>
                      <a:lnTo>
                        <a:pt x="158" y="1838"/>
                      </a:lnTo>
                      <a:lnTo>
                        <a:pt x="160" y="1833"/>
                      </a:lnTo>
                      <a:lnTo>
                        <a:pt x="163" y="1836"/>
                      </a:lnTo>
                      <a:lnTo>
                        <a:pt x="166" y="1833"/>
                      </a:lnTo>
                      <a:lnTo>
                        <a:pt x="168" y="1833"/>
                      </a:lnTo>
                      <a:lnTo>
                        <a:pt x="168" y="1836"/>
                      </a:lnTo>
                      <a:lnTo>
                        <a:pt x="171" y="1836"/>
                      </a:lnTo>
                      <a:lnTo>
                        <a:pt x="171" y="1829"/>
                      </a:lnTo>
                      <a:lnTo>
                        <a:pt x="174" y="1829"/>
                      </a:lnTo>
                      <a:lnTo>
                        <a:pt x="182" y="1821"/>
                      </a:lnTo>
                      <a:lnTo>
                        <a:pt x="184" y="1824"/>
                      </a:lnTo>
                      <a:lnTo>
                        <a:pt x="187" y="1821"/>
                      </a:lnTo>
                      <a:lnTo>
                        <a:pt x="190" y="1821"/>
                      </a:lnTo>
                      <a:lnTo>
                        <a:pt x="190" y="1816"/>
                      </a:lnTo>
                      <a:lnTo>
                        <a:pt x="190" y="1813"/>
                      </a:lnTo>
                      <a:lnTo>
                        <a:pt x="194" y="1808"/>
                      </a:lnTo>
                      <a:lnTo>
                        <a:pt x="199" y="1808"/>
                      </a:lnTo>
                      <a:lnTo>
                        <a:pt x="199" y="1796"/>
                      </a:lnTo>
                      <a:lnTo>
                        <a:pt x="202" y="1793"/>
                      </a:lnTo>
                      <a:lnTo>
                        <a:pt x="196" y="1793"/>
                      </a:lnTo>
                      <a:lnTo>
                        <a:pt x="196" y="1791"/>
                      </a:lnTo>
                      <a:lnTo>
                        <a:pt x="202" y="1788"/>
                      </a:lnTo>
                      <a:lnTo>
                        <a:pt x="207" y="1785"/>
                      </a:lnTo>
                      <a:lnTo>
                        <a:pt x="210" y="1788"/>
                      </a:lnTo>
                      <a:lnTo>
                        <a:pt x="204" y="1780"/>
                      </a:lnTo>
                      <a:lnTo>
                        <a:pt x="207" y="1777"/>
                      </a:lnTo>
                      <a:lnTo>
                        <a:pt x="210" y="1775"/>
                      </a:lnTo>
                      <a:lnTo>
                        <a:pt x="212" y="1777"/>
                      </a:lnTo>
                      <a:lnTo>
                        <a:pt x="215" y="1783"/>
                      </a:lnTo>
                      <a:lnTo>
                        <a:pt x="218" y="1780"/>
                      </a:lnTo>
                      <a:lnTo>
                        <a:pt x="215" y="1769"/>
                      </a:lnTo>
                      <a:lnTo>
                        <a:pt x="210" y="1769"/>
                      </a:lnTo>
                      <a:lnTo>
                        <a:pt x="210" y="1767"/>
                      </a:lnTo>
                      <a:lnTo>
                        <a:pt x="212" y="1764"/>
                      </a:lnTo>
                      <a:lnTo>
                        <a:pt x="210" y="1758"/>
                      </a:lnTo>
                      <a:lnTo>
                        <a:pt x="212" y="1758"/>
                      </a:lnTo>
                      <a:lnTo>
                        <a:pt x="215" y="1758"/>
                      </a:lnTo>
                      <a:lnTo>
                        <a:pt x="223" y="1764"/>
                      </a:lnTo>
                      <a:lnTo>
                        <a:pt x="220" y="1752"/>
                      </a:lnTo>
                      <a:lnTo>
                        <a:pt x="223" y="1752"/>
                      </a:lnTo>
                      <a:lnTo>
                        <a:pt x="229" y="1758"/>
                      </a:lnTo>
                      <a:lnTo>
                        <a:pt x="235" y="1758"/>
                      </a:lnTo>
                      <a:lnTo>
                        <a:pt x="237" y="1755"/>
                      </a:lnTo>
                      <a:lnTo>
                        <a:pt x="235" y="1750"/>
                      </a:lnTo>
                      <a:lnTo>
                        <a:pt x="240" y="1750"/>
                      </a:lnTo>
                      <a:lnTo>
                        <a:pt x="237" y="1747"/>
                      </a:lnTo>
                      <a:lnTo>
                        <a:pt x="237" y="1741"/>
                      </a:lnTo>
                      <a:lnTo>
                        <a:pt x="240" y="1741"/>
                      </a:lnTo>
                      <a:lnTo>
                        <a:pt x="245" y="1747"/>
                      </a:lnTo>
                      <a:lnTo>
                        <a:pt x="245" y="1741"/>
                      </a:lnTo>
                      <a:lnTo>
                        <a:pt x="251" y="1744"/>
                      </a:lnTo>
                      <a:lnTo>
                        <a:pt x="251" y="1739"/>
                      </a:lnTo>
                      <a:lnTo>
                        <a:pt x="253" y="1736"/>
                      </a:lnTo>
                      <a:lnTo>
                        <a:pt x="253" y="1731"/>
                      </a:lnTo>
                      <a:lnTo>
                        <a:pt x="253" y="1727"/>
                      </a:lnTo>
                      <a:lnTo>
                        <a:pt x="251" y="1727"/>
                      </a:lnTo>
                      <a:lnTo>
                        <a:pt x="251" y="1722"/>
                      </a:lnTo>
                      <a:lnTo>
                        <a:pt x="256" y="1722"/>
                      </a:lnTo>
                      <a:lnTo>
                        <a:pt x="259" y="1722"/>
                      </a:lnTo>
                      <a:lnTo>
                        <a:pt x="263" y="1716"/>
                      </a:lnTo>
                      <a:lnTo>
                        <a:pt x="263" y="1714"/>
                      </a:lnTo>
                      <a:lnTo>
                        <a:pt x="263" y="1711"/>
                      </a:lnTo>
                      <a:lnTo>
                        <a:pt x="259" y="1708"/>
                      </a:lnTo>
                      <a:lnTo>
                        <a:pt x="265" y="1706"/>
                      </a:lnTo>
                      <a:lnTo>
                        <a:pt x="259" y="1703"/>
                      </a:lnTo>
                      <a:lnTo>
                        <a:pt x="256" y="1706"/>
                      </a:lnTo>
                      <a:lnTo>
                        <a:pt x="256" y="1703"/>
                      </a:lnTo>
                      <a:lnTo>
                        <a:pt x="259" y="1700"/>
                      </a:lnTo>
                      <a:lnTo>
                        <a:pt x="251" y="1695"/>
                      </a:lnTo>
                      <a:lnTo>
                        <a:pt x="248" y="1691"/>
                      </a:lnTo>
                      <a:lnTo>
                        <a:pt x="248" y="1686"/>
                      </a:lnTo>
                      <a:lnTo>
                        <a:pt x="248" y="1683"/>
                      </a:lnTo>
                      <a:lnTo>
                        <a:pt x="245" y="1683"/>
                      </a:lnTo>
                      <a:lnTo>
                        <a:pt x="235" y="1683"/>
                      </a:lnTo>
                      <a:lnTo>
                        <a:pt x="229" y="1678"/>
                      </a:lnTo>
                      <a:lnTo>
                        <a:pt x="229" y="1675"/>
                      </a:lnTo>
                      <a:lnTo>
                        <a:pt x="235" y="1672"/>
                      </a:lnTo>
                      <a:lnTo>
                        <a:pt x="229" y="1667"/>
                      </a:lnTo>
                      <a:lnTo>
                        <a:pt x="229" y="1662"/>
                      </a:lnTo>
                      <a:lnTo>
                        <a:pt x="229" y="1659"/>
                      </a:lnTo>
                      <a:lnTo>
                        <a:pt x="232" y="1655"/>
                      </a:lnTo>
                      <a:lnTo>
                        <a:pt x="232" y="1650"/>
                      </a:lnTo>
                      <a:lnTo>
                        <a:pt x="232" y="1647"/>
                      </a:lnTo>
                      <a:lnTo>
                        <a:pt x="229" y="1645"/>
                      </a:lnTo>
                      <a:lnTo>
                        <a:pt x="232" y="1639"/>
                      </a:lnTo>
                      <a:lnTo>
                        <a:pt x="235" y="1639"/>
                      </a:lnTo>
                      <a:lnTo>
                        <a:pt x="235" y="1634"/>
                      </a:lnTo>
                      <a:lnTo>
                        <a:pt x="243" y="1629"/>
                      </a:lnTo>
                      <a:lnTo>
                        <a:pt x="245" y="1629"/>
                      </a:lnTo>
                      <a:lnTo>
                        <a:pt x="245" y="1631"/>
                      </a:lnTo>
                      <a:lnTo>
                        <a:pt x="251" y="1631"/>
                      </a:lnTo>
                      <a:lnTo>
                        <a:pt x="256" y="1631"/>
                      </a:lnTo>
                      <a:lnTo>
                        <a:pt x="263" y="1626"/>
                      </a:lnTo>
                      <a:lnTo>
                        <a:pt x="271" y="1626"/>
                      </a:lnTo>
                      <a:lnTo>
                        <a:pt x="271" y="1622"/>
                      </a:lnTo>
                      <a:lnTo>
                        <a:pt x="273" y="1617"/>
                      </a:lnTo>
                      <a:lnTo>
                        <a:pt x="276" y="1617"/>
                      </a:lnTo>
                      <a:lnTo>
                        <a:pt x="281" y="1622"/>
                      </a:lnTo>
                      <a:lnTo>
                        <a:pt x="284" y="1622"/>
                      </a:lnTo>
                      <a:lnTo>
                        <a:pt x="287" y="1622"/>
                      </a:lnTo>
                      <a:lnTo>
                        <a:pt x="287" y="1620"/>
                      </a:lnTo>
                      <a:lnTo>
                        <a:pt x="279" y="1609"/>
                      </a:lnTo>
                      <a:lnTo>
                        <a:pt x="279" y="1606"/>
                      </a:lnTo>
                      <a:lnTo>
                        <a:pt x="284" y="1606"/>
                      </a:lnTo>
                      <a:lnTo>
                        <a:pt x="287" y="1606"/>
                      </a:lnTo>
                      <a:lnTo>
                        <a:pt x="287" y="1593"/>
                      </a:lnTo>
                      <a:lnTo>
                        <a:pt x="289" y="1586"/>
                      </a:lnTo>
                      <a:lnTo>
                        <a:pt x="287" y="1581"/>
                      </a:lnTo>
                      <a:lnTo>
                        <a:pt x="296" y="1578"/>
                      </a:lnTo>
                      <a:lnTo>
                        <a:pt x="296" y="1570"/>
                      </a:lnTo>
                      <a:lnTo>
                        <a:pt x="301" y="1568"/>
                      </a:lnTo>
                      <a:lnTo>
                        <a:pt x="306" y="1570"/>
                      </a:lnTo>
                      <a:lnTo>
                        <a:pt x="309" y="1570"/>
                      </a:lnTo>
                      <a:lnTo>
                        <a:pt x="312" y="1568"/>
                      </a:lnTo>
                      <a:lnTo>
                        <a:pt x="317" y="1565"/>
                      </a:lnTo>
                      <a:lnTo>
                        <a:pt x="323" y="1565"/>
                      </a:lnTo>
                      <a:lnTo>
                        <a:pt x="332" y="1560"/>
                      </a:lnTo>
                      <a:lnTo>
                        <a:pt x="348" y="1551"/>
                      </a:lnTo>
                      <a:lnTo>
                        <a:pt x="356" y="1554"/>
                      </a:lnTo>
                      <a:lnTo>
                        <a:pt x="358" y="1551"/>
                      </a:lnTo>
                      <a:lnTo>
                        <a:pt x="361" y="1548"/>
                      </a:lnTo>
                      <a:lnTo>
                        <a:pt x="365" y="1545"/>
                      </a:lnTo>
                      <a:lnTo>
                        <a:pt x="367" y="1548"/>
                      </a:lnTo>
                      <a:lnTo>
                        <a:pt x="375" y="1542"/>
                      </a:lnTo>
                      <a:lnTo>
                        <a:pt x="375" y="1540"/>
                      </a:lnTo>
                      <a:lnTo>
                        <a:pt x="378" y="1532"/>
                      </a:lnTo>
                      <a:lnTo>
                        <a:pt x="378" y="1529"/>
                      </a:lnTo>
                      <a:lnTo>
                        <a:pt x="381" y="1524"/>
                      </a:lnTo>
                      <a:lnTo>
                        <a:pt x="384" y="1515"/>
                      </a:lnTo>
                      <a:lnTo>
                        <a:pt x="389" y="1509"/>
                      </a:lnTo>
                      <a:lnTo>
                        <a:pt x="392" y="1507"/>
                      </a:lnTo>
                      <a:lnTo>
                        <a:pt x="392" y="1499"/>
                      </a:lnTo>
                      <a:lnTo>
                        <a:pt x="403" y="1491"/>
                      </a:lnTo>
                      <a:lnTo>
                        <a:pt x="403" y="1485"/>
                      </a:lnTo>
                      <a:lnTo>
                        <a:pt x="406" y="1485"/>
                      </a:lnTo>
                      <a:lnTo>
                        <a:pt x="409" y="1473"/>
                      </a:lnTo>
                      <a:lnTo>
                        <a:pt x="406" y="1465"/>
                      </a:lnTo>
                      <a:lnTo>
                        <a:pt x="414" y="1465"/>
                      </a:lnTo>
                      <a:lnTo>
                        <a:pt x="425" y="1465"/>
                      </a:lnTo>
                      <a:lnTo>
                        <a:pt x="430" y="1463"/>
                      </a:lnTo>
                      <a:lnTo>
                        <a:pt x="458" y="1468"/>
                      </a:lnTo>
                      <a:lnTo>
                        <a:pt x="467" y="1463"/>
                      </a:lnTo>
                      <a:lnTo>
                        <a:pt x="470" y="1465"/>
                      </a:lnTo>
                      <a:lnTo>
                        <a:pt x="472" y="1463"/>
                      </a:lnTo>
                      <a:lnTo>
                        <a:pt x="478" y="1463"/>
                      </a:lnTo>
                      <a:lnTo>
                        <a:pt x="486" y="1465"/>
                      </a:lnTo>
                      <a:lnTo>
                        <a:pt x="505" y="1463"/>
                      </a:lnTo>
                      <a:lnTo>
                        <a:pt x="511" y="1460"/>
                      </a:lnTo>
                      <a:lnTo>
                        <a:pt x="516" y="1446"/>
                      </a:lnTo>
                      <a:lnTo>
                        <a:pt x="521" y="1443"/>
                      </a:lnTo>
                      <a:lnTo>
                        <a:pt x="527" y="1446"/>
                      </a:lnTo>
                      <a:lnTo>
                        <a:pt x="527" y="1443"/>
                      </a:lnTo>
                      <a:lnTo>
                        <a:pt x="527" y="1438"/>
                      </a:lnTo>
                      <a:lnTo>
                        <a:pt x="530" y="1432"/>
                      </a:lnTo>
                      <a:lnTo>
                        <a:pt x="547" y="1432"/>
                      </a:lnTo>
                      <a:lnTo>
                        <a:pt x="555" y="1440"/>
                      </a:lnTo>
                      <a:lnTo>
                        <a:pt x="557" y="1438"/>
                      </a:lnTo>
                      <a:lnTo>
                        <a:pt x="560" y="1430"/>
                      </a:lnTo>
                      <a:lnTo>
                        <a:pt x="568" y="1422"/>
                      </a:lnTo>
                      <a:lnTo>
                        <a:pt x="572" y="1416"/>
                      </a:lnTo>
                      <a:lnTo>
                        <a:pt x="580" y="1402"/>
                      </a:lnTo>
                      <a:lnTo>
                        <a:pt x="590" y="1396"/>
                      </a:lnTo>
                      <a:lnTo>
                        <a:pt x="590" y="1391"/>
                      </a:lnTo>
                      <a:lnTo>
                        <a:pt x="605" y="1366"/>
                      </a:lnTo>
                      <a:lnTo>
                        <a:pt x="608" y="1363"/>
                      </a:lnTo>
                      <a:lnTo>
                        <a:pt x="610" y="1355"/>
                      </a:lnTo>
                      <a:lnTo>
                        <a:pt x="610" y="1350"/>
                      </a:lnTo>
                      <a:lnTo>
                        <a:pt x="601" y="1327"/>
                      </a:lnTo>
                      <a:lnTo>
                        <a:pt x="599" y="1319"/>
                      </a:lnTo>
                      <a:lnTo>
                        <a:pt x="601" y="1319"/>
                      </a:lnTo>
                      <a:lnTo>
                        <a:pt x="601" y="1317"/>
                      </a:lnTo>
                      <a:lnTo>
                        <a:pt x="608" y="1317"/>
                      </a:lnTo>
                      <a:lnTo>
                        <a:pt x="610" y="1325"/>
                      </a:lnTo>
                      <a:lnTo>
                        <a:pt x="616" y="1325"/>
                      </a:lnTo>
                      <a:lnTo>
                        <a:pt x="621" y="1325"/>
                      </a:lnTo>
                      <a:lnTo>
                        <a:pt x="621" y="1319"/>
                      </a:lnTo>
                      <a:lnTo>
                        <a:pt x="618" y="1311"/>
                      </a:lnTo>
                      <a:lnTo>
                        <a:pt x="618" y="1308"/>
                      </a:lnTo>
                      <a:lnTo>
                        <a:pt x="621" y="1302"/>
                      </a:lnTo>
                      <a:lnTo>
                        <a:pt x="629" y="1300"/>
                      </a:lnTo>
                      <a:lnTo>
                        <a:pt x="632" y="1297"/>
                      </a:lnTo>
                      <a:lnTo>
                        <a:pt x="632" y="1294"/>
                      </a:lnTo>
                      <a:lnTo>
                        <a:pt x="632" y="1292"/>
                      </a:lnTo>
                      <a:lnTo>
                        <a:pt x="629" y="1284"/>
                      </a:lnTo>
                      <a:lnTo>
                        <a:pt x="634" y="1276"/>
                      </a:lnTo>
                      <a:lnTo>
                        <a:pt x="634" y="1272"/>
                      </a:lnTo>
                      <a:lnTo>
                        <a:pt x="632" y="1266"/>
                      </a:lnTo>
                      <a:lnTo>
                        <a:pt x="632" y="1264"/>
                      </a:lnTo>
                      <a:lnTo>
                        <a:pt x="643" y="1248"/>
                      </a:lnTo>
                      <a:lnTo>
                        <a:pt x="643" y="1242"/>
                      </a:lnTo>
                      <a:lnTo>
                        <a:pt x="637" y="1236"/>
                      </a:lnTo>
                      <a:lnTo>
                        <a:pt x="637" y="1223"/>
                      </a:lnTo>
                      <a:lnTo>
                        <a:pt x="641" y="1215"/>
                      </a:lnTo>
                      <a:lnTo>
                        <a:pt x="646" y="1212"/>
                      </a:lnTo>
                      <a:lnTo>
                        <a:pt x="654" y="1207"/>
                      </a:lnTo>
                      <a:lnTo>
                        <a:pt x="654" y="1203"/>
                      </a:lnTo>
                      <a:lnTo>
                        <a:pt x="649" y="1200"/>
                      </a:lnTo>
                      <a:lnTo>
                        <a:pt x="646" y="1195"/>
                      </a:lnTo>
                      <a:lnTo>
                        <a:pt x="646" y="1187"/>
                      </a:lnTo>
                      <a:lnTo>
                        <a:pt x="651" y="1179"/>
                      </a:lnTo>
                      <a:lnTo>
                        <a:pt x="651" y="1167"/>
                      </a:lnTo>
                      <a:lnTo>
                        <a:pt x="659" y="1162"/>
                      </a:lnTo>
                      <a:lnTo>
                        <a:pt x="670" y="1162"/>
                      </a:lnTo>
                      <a:lnTo>
                        <a:pt x="674" y="1159"/>
                      </a:lnTo>
                      <a:lnTo>
                        <a:pt x="682" y="1140"/>
                      </a:lnTo>
                      <a:lnTo>
                        <a:pt x="693" y="1138"/>
                      </a:lnTo>
                      <a:lnTo>
                        <a:pt x="698" y="1123"/>
                      </a:lnTo>
                      <a:lnTo>
                        <a:pt x="703" y="1118"/>
                      </a:lnTo>
                      <a:lnTo>
                        <a:pt x="706" y="1115"/>
                      </a:lnTo>
                      <a:lnTo>
                        <a:pt x="723" y="1118"/>
                      </a:lnTo>
                      <a:lnTo>
                        <a:pt x="729" y="1112"/>
                      </a:lnTo>
                      <a:lnTo>
                        <a:pt x="731" y="1107"/>
                      </a:lnTo>
                      <a:lnTo>
                        <a:pt x="737" y="1107"/>
                      </a:lnTo>
                      <a:lnTo>
                        <a:pt x="743" y="1095"/>
                      </a:lnTo>
                      <a:lnTo>
                        <a:pt x="754" y="1093"/>
                      </a:lnTo>
                      <a:lnTo>
                        <a:pt x="762" y="1098"/>
                      </a:lnTo>
                      <a:lnTo>
                        <a:pt x="770" y="1093"/>
                      </a:lnTo>
                      <a:lnTo>
                        <a:pt x="775" y="1087"/>
                      </a:lnTo>
                      <a:lnTo>
                        <a:pt x="779" y="1082"/>
                      </a:lnTo>
                      <a:lnTo>
                        <a:pt x="784" y="1082"/>
                      </a:lnTo>
                      <a:lnTo>
                        <a:pt x="792" y="1087"/>
                      </a:lnTo>
                      <a:lnTo>
                        <a:pt x="795" y="1102"/>
                      </a:lnTo>
                      <a:lnTo>
                        <a:pt x="798" y="1107"/>
                      </a:lnTo>
                      <a:lnTo>
                        <a:pt x="806" y="1110"/>
                      </a:lnTo>
                      <a:lnTo>
                        <a:pt x="817" y="1107"/>
                      </a:lnTo>
                      <a:lnTo>
                        <a:pt x="836" y="1095"/>
                      </a:lnTo>
                      <a:lnTo>
                        <a:pt x="856" y="1085"/>
                      </a:lnTo>
                      <a:lnTo>
                        <a:pt x="856" y="1077"/>
                      </a:lnTo>
                      <a:lnTo>
                        <a:pt x="861" y="1069"/>
                      </a:lnTo>
                      <a:lnTo>
                        <a:pt x="864" y="1069"/>
                      </a:lnTo>
                      <a:lnTo>
                        <a:pt x="881" y="1057"/>
                      </a:lnTo>
                      <a:lnTo>
                        <a:pt x="884" y="1057"/>
                      </a:lnTo>
                      <a:lnTo>
                        <a:pt x="884" y="1054"/>
                      </a:lnTo>
                      <a:lnTo>
                        <a:pt x="877" y="1049"/>
                      </a:lnTo>
                      <a:lnTo>
                        <a:pt x="881" y="1041"/>
                      </a:lnTo>
                      <a:lnTo>
                        <a:pt x="881" y="1035"/>
                      </a:lnTo>
                      <a:lnTo>
                        <a:pt x="881" y="1026"/>
                      </a:lnTo>
                      <a:lnTo>
                        <a:pt x="889" y="1013"/>
                      </a:lnTo>
                      <a:lnTo>
                        <a:pt x="897" y="1008"/>
                      </a:lnTo>
                      <a:lnTo>
                        <a:pt x="900" y="1002"/>
                      </a:lnTo>
                      <a:lnTo>
                        <a:pt x="894" y="993"/>
                      </a:lnTo>
                      <a:lnTo>
                        <a:pt x="894" y="985"/>
                      </a:lnTo>
                      <a:lnTo>
                        <a:pt x="897" y="982"/>
                      </a:lnTo>
                      <a:lnTo>
                        <a:pt x="900" y="977"/>
                      </a:lnTo>
                      <a:lnTo>
                        <a:pt x="902" y="974"/>
                      </a:lnTo>
                      <a:lnTo>
                        <a:pt x="905" y="969"/>
                      </a:lnTo>
                      <a:lnTo>
                        <a:pt x="905" y="966"/>
                      </a:lnTo>
                      <a:lnTo>
                        <a:pt x="902" y="957"/>
                      </a:lnTo>
                      <a:lnTo>
                        <a:pt x="905" y="952"/>
                      </a:lnTo>
                      <a:lnTo>
                        <a:pt x="908" y="952"/>
                      </a:lnTo>
                      <a:lnTo>
                        <a:pt x="919" y="931"/>
                      </a:lnTo>
                      <a:lnTo>
                        <a:pt x="917" y="916"/>
                      </a:lnTo>
                      <a:lnTo>
                        <a:pt x="930" y="895"/>
                      </a:lnTo>
                      <a:lnTo>
                        <a:pt x="927" y="883"/>
                      </a:lnTo>
                      <a:lnTo>
                        <a:pt x="930" y="875"/>
                      </a:lnTo>
                      <a:lnTo>
                        <a:pt x="927" y="870"/>
                      </a:lnTo>
                      <a:lnTo>
                        <a:pt x="922" y="864"/>
                      </a:lnTo>
                      <a:lnTo>
                        <a:pt x="922" y="859"/>
                      </a:lnTo>
                      <a:lnTo>
                        <a:pt x="917" y="850"/>
                      </a:lnTo>
                      <a:lnTo>
                        <a:pt x="919" y="845"/>
                      </a:lnTo>
                      <a:lnTo>
                        <a:pt x="922" y="839"/>
                      </a:lnTo>
                      <a:lnTo>
                        <a:pt x="922" y="836"/>
                      </a:lnTo>
                      <a:lnTo>
                        <a:pt x="919" y="826"/>
                      </a:lnTo>
                      <a:lnTo>
                        <a:pt x="925" y="823"/>
                      </a:lnTo>
                      <a:lnTo>
                        <a:pt x="927" y="814"/>
                      </a:lnTo>
                      <a:lnTo>
                        <a:pt x="925" y="801"/>
                      </a:lnTo>
                      <a:lnTo>
                        <a:pt x="927" y="795"/>
                      </a:lnTo>
                      <a:lnTo>
                        <a:pt x="933" y="778"/>
                      </a:lnTo>
                      <a:lnTo>
                        <a:pt x="941" y="762"/>
                      </a:lnTo>
                      <a:lnTo>
                        <a:pt x="946" y="751"/>
                      </a:lnTo>
                      <a:lnTo>
                        <a:pt x="953" y="745"/>
                      </a:lnTo>
                      <a:lnTo>
                        <a:pt x="953" y="737"/>
                      </a:lnTo>
                      <a:lnTo>
                        <a:pt x="950" y="726"/>
                      </a:lnTo>
                      <a:lnTo>
                        <a:pt x="950" y="721"/>
                      </a:lnTo>
                      <a:lnTo>
                        <a:pt x="953" y="721"/>
                      </a:lnTo>
                      <a:lnTo>
                        <a:pt x="955" y="721"/>
                      </a:lnTo>
                      <a:lnTo>
                        <a:pt x="961" y="726"/>
                      </a:lnTo>
                      <a:lnTo>
                        <a:pt x="969" y="726"/>
                      </a:lnTo>
                      <a:lnTo>
                        <a:pt x="979" y="718"/>
                      </a:lnTo>
                      <a:lnTo>
                        <a:pt x="983" y="712"/>
                      </a:lnTo>
                      <a:lnTo>
                        <a:pt x="986" y="704"/>
                      </a:lnTo>
                      <a:lnTo>
                        <a:pt x="977" y="685"/>
                      </a:lnTo>
                      <a:lnTo>
                        <a:pt x="977" y="673"/>
                      </a:lnTo>
                      <a:lnTo>
                        <a:pt x="971" y="665"/>
                      </a:lnTo>
                      <a:lnTo>
                        <a:pt x="971" y="657"/>
                      </a:lnTo>
                      <a:lnTo>
                        <a:pt x="979" y="649"/>
                      </a:lnTo>
                      <a:lnTo>
                        <a:pt x="979" y="643"/>
                      </a:lnTo>
                      <a:lnTo>
                        <a:pt x="979" y="632"/>
                      </a:lnTo>
                      <a:lnTo>
                        <a:pt x="979" y="627"/>
                      </a:lnTo>
                      <a:lnTo>
                        <a:pt x="979" y="624"/>
                      </a:lnTo>
                      <a:lnTo>
                        <a:pt x="979" y="616"/>
                      </a:lnTo>
                      <a:lnTo>
                        <a:pt x="979" y="613"/>
                      </a:lnTo>
                      <a:lnTo>
                        <a:pt x="974" y="602"/>
                      </a:lnTo>
                      <a:lnTo>
                        <a:pt x="977" y="594"/>
                      </a:lnTo>
                      <a:lnTo>
                        <a:pt x="974" y="588"/>
                      </a:lnTo>
                      <a:lnTo>
                        <a:pt x="977" y="574"/>
                      </a:lnTo>
                      <a:lnTo>
                        <a:pt x="969" y="563"/>
                      </a:lnTo>
                      <a:lnTo>
                        <a:pt x="971" y="558"/>
                      </a:lnTo>
                      <a:lnTo>
                        <a:pt x="974" y="555"/>
                      </a:lnTo>
                      <a:lnTo>
                        <a:pt x="977" y="555"/>
                      </a:lnTo>
                      <a:lnTo>
                        <a:pt x="983" y="552"/>
                      </a:lnTo>
                      <a:lnTo>
                        <a:pt x="988" y="555"/>
                      </a:lnTo>
                      <a:lnTo>
                        <a:pt x="996" y="544"/>
                      </a:lnTo>
                      <a:lnTo>
                        <a:pt x="1002" y="527"/>
                      </a:lnTo>
                      <a:lnTo>
                        <a:pt x="1004" y="514"/>
                      </a:lnTo>
                      <a:lnTo>
                        <a:pt x="1010" y="505"/>
                      </a:lnTo>
                      <a:lnTo>
                        <a:pt x="1013" y="478"/>
                      </a:lnTo>
                      <a:lnTo>
                        <a:pt x="1022" y="466"/>
                      </a:lnTo>
                      <a:lnTo>
                        <a:pt x="1032" y="461"/>
                      </a:lnTo>
                      <a:lnTo>
                        <a:pt x="1040" y="453"/>
                      </a:lnTo>
                      <a:lnTo>
                        <a:pt x="1046" y="442"/>
                      </a:lnTo>
                      <a:lnTo>
                        <a:pt x="1052" y="440"/>
                      </a:lnTo>
                      <a:lnTo>
                        <a:pt x="1055" y="433"/>
                      </a:lnTo>
                      <a:lnTo>
                        <a:pt x="1052" y="422"/>
                      </a:lnTo>
                      <a:lnTo>
                        <a:pt x="1052" y="412"/>
                      </a:lnTo>
                      <a:lnTo>
                        <a:pt x="1060" y="406"/>
                      </a:lnTo>
                      <a:lnTo>
                        <a:pt x="1063" y="400"/>
                      </a:lnTo>
                      <a:lnTo>
                        <a:pt x="1068" y="395"/>
                      </a:lnTo>
                      <a:lnTo>
                        <a:pt x="1073" y="387"/>
                      </a:lnTo>
                      <a:lnTo>
                        <a:pt x="1076" y="384"/>
                      </a:lnTo>
                      <a:lnTo>
                        <a:pt x="1076" y="371"/>
                      </a:lnTo>
                      <a:lnTo>
                        <a:pt x="1079" y="368"/>
                      </a:lnTo>
                      <a:lnTo>
                        <a:pt x="1084" y="359"/>
                      </a:lnTo>
                      <a:lnTo>
                        <a:pt x="1084" y="348"/>
                      </a:lnTo>
                      <a:lnTo>
                        <a:pt x="1084" y="343"/>
                      </a:lnTo>
                      <a:lnTo>
                        <a:pt x="1079" y="337"/>
                      </a:lnTo>
                      <a:lnTo>
                        <a:pt x="1076" y="337"/>
                      </a:lnTo>
                      <a:lnTo>
                        <a:pt x="1079" y="331"/>
                      </a:lnTo>
                      <a:lnTo>
                        <a:pt x="1081" y="326"/>
                      </a:lnTo>
                      <a:lnTo>
                        <a:pt x="1079" y="315"/>
                      </a:lnTo>
                      <a:lnTo>
                        <a:pt x="1081" y="301"/>
                      </a:lnTo>
                      <a:lnTo>
                        <a:pt x="1081" y="295"/>
                      </a:lnTo>
                      <a:lnTo>
                        <a:pt x="1079" y="292"/>
                      </a:lnTo>
                      <a:lnTo>
                        <a:pt x="1073" y="282"/>
                      </a:lnTo>
                      <a:lnTo>
                        <a:pt x="1076" y="279"/>
                      </a:lnTo>
                      <a:lnTo>
                        <a:pt x="1088" y="276"/>
                      </a:lnTo>
                      <a:lnTo>
                        <a:pt x="1091" y="271"/>
                      </a:lnTo>
                      <a:lnTo>
                        <a:pt x="1091" y="268"/>
                      </a:lnTo>
                      <a:lnTo>
                        <a:pt x="1084" y="266"/>
                      </a:lnTo>
                      <a:lnTo>
                        <a:pt x="1081" y="257"/>
                      </a:lnTo>
                      <a:lnTo>
                        <a:pt x="1088" y="254"/>
                      </a:lnTo>
                      <a:lnTo>
                        <a:pt x="1093" y="257"/>
                      </a:lnTo>
                      <a:lnTo>
                        <a:pt x="1096" y="257"/>
                      </a:lnTo>
                      <a:lnTo>
                        <a:pt x="1101" y="249"/>
                      </a:lnTo>
                      <a:lnTo>
                        <a:pt x="1109" y="246"/>
                      </a:lnTo>
                      <a:lnTo>
                        <a:pt x="1109" y="230"/>
                      </a:lnTo>
                      <a:lnTo>
                        <a:pt x="1112" y="221"/>
                      </a:lnTo>
                      <a:lnTo>
                        <a:pt x="1115" y="213"/>
                      </a:lnTo>
                      <a:lnTo>
                        <a:pt x="1117" y="207"/>
                      </a:lnTo>
                      <a:lnTo>
                        <a:pt x="1117" y="202"/>
                      </a:lnTo>
                      <a:lnTo>
                        <a:pt x="1115" y="197"/>
                      </a:lnTo>
                      <a:lnTo>
                        <a:pt x="1121" y="188"/>
                      </a:lnTo>
                      <a:lnTo>
                        <a:pt x="1124" y="182"/>
                      </a:lnTo>
                      <a:lnTo>
                        <a:pt x="1121" y="180"/>
                      </a:lnTo>
                      <a:lnTo>
                        <a:pt x="1124" y="177"/>
                      </a:lnTo>
                      <a:lnTo>
                        <a:pt x="1126" y="177"/>
                      </a:lnTo>
                      <a:lnTo>
                        <a:pt x="1124" y="166"/>
                      </a:lnTo>
                      <a:lnTo>
                        <a:pt x="1126" y="161"/>
                      </a:lnTo>
                      <a:lnTo>
                        <a:pt x="1129" y="161"/>
                      </a:lnTo>
                      <a:lnTo>
                        <a:pt x="1129" y="154"/>
                      </a:lnTo>
                      <a:lnTo>
                        <a:pt x="1132" y="152"/>
                      </a:lnTo>
                      <a:lnTo>
                        <a:pt x="1126" y="152"/>
                      </a:lnTo>
                      <a:lnTo>
                        <a:pt x="1126" y="149"/>
                      </a:lnTo>
                      <a:lnTo>
                        <a:pt x="1126" y="146"/>
                      </a:lnTo>
                      <a:lnTo>
                        <a:pt x="1132" y="144"/>
                      </a:lnTo>
                      <a:lnTo>
                        <a:pt x="1134" y="141"/>
                      </a:lnTo>
                      <a:lnTo>
                        <a:pt x="1132" y="138"/>
                      </a:lnTo>
                      <a:lnTo>
                        <a:pt x="1129" y="136"/>
                      </a:lnTo>
                      <a:lnTo>
                        <a:pt x="1129" y="133"/>
                      </a:lnTo>
                      <a:lnTo>
                        <a:pt x="1134" y="130"/>
                      </a:lnTo>
                      <a:lnTo>
                        <a:pt x="1134" y="128"/>
                      </a:lnTo>
                      <a:lnTo>
                        <a:pt x="1142" y="128"/>
                      </a:lnTo>
                      <a:lnTo>
                        <a:pt x="1145" y="128"/>
                      </a:lnTo>
                      <a:lnTo>
                        <a:pt x="1148" y="125"/>
                      </a:lnTo>
                      <a:lnTo>
                        <a:pt x="1145" y="119"/>
                      </a:lnTo>
                      <a:lnTo>
                        <a:pt x="1148" y="116"/>
                      </a:lnTo>
                      <a:lnTo>
                        <a:pt x="1145" y="113"/>
                      </a:lnTo>
                      <a:lnTo>
                        <a:pt x="1148" y="111"/>
                      </a:lnTo>
                      <a:lnTo>
                        <a:pt x="1148" y="108"/>
                      </a:lnTo>
                      <a:lnTo>
                        <a:pt x="1145" y="108"/>
                      </a:lnTo>
                      <a:lnTo>
                        <a:pt x="1145" y="111"/>
                      </a:lnTo>
                      <a:lnTo>
                        <a:pt x="1142" y="111"/>
                      </a:lnTo>
                      <a:lnTo>
                        <a:pt x="1148" y="105"/>
                      </a:lnTo>
                      <a:lnTo>
                        <a:pt x="1153" y="108"/>
                      </a:lnTo>
                      <a:lnTo>
                        <a:pt x="1157" y="105"/>
                      </a:lnTo>
                      <a:lnTo>
                        <a:pt x="1153" y="97"/>
                      </a:lnTo>
                      <a:lnTo>
                        <a:pt x="1157" y="95"/>
                      </a:lnTo>
                      <a:lnTo>
                        <a:pt x="1162" y="92"/>
                      </a:lnTo>
                      <a:lnTo>
                        <a:pt x="1165" y="89"/>
                      </a:lnTo>
                      <a:lnTo>
                        <a:pt x="1162" y="89"/>
                      </a:lnTo>
                      <a:lnTo>
                        <a:pt x="1165" y="83"/>
                      </a:lnTo>
                      <a:lnTo>
                        <a:pt x="1168" y="77"/>
                      </a:lnTo>
                      <a:lnTo>
                        <a:pt x="1173" y="77"/>
                      </a:lnTo>
                      <a:lnTo>
                        <a:pt x="1173" y="75"/>
                      </a:lnTo>
                      <a:lnTo>
                        <a:pt x="1173" y="69"/>
                      </a:lnTo>
                      <a:lnTo>
                        <a:pt x="1176" y="67"/>
                      </a:lnTo>
                      <a:lnTo>
                        <a:pt x="1173" y="64"/>
                      </a:lnTo>
                      <a:lnTo>
                        <a:pt x="1176" y="64"/>
                      </a:lnTo>
                      <a:lnTo>
                        <a:pt x="1181" y="64"/>
                      </a:lnTo>
                      <a:lnTo>
                        <a:pt x="1181" y="61"/>
                      </a:lnTo>
                      <a:lnTo>
                        <a:pt x="1181" y="59"/>
                      </a:lnTo>
                      <a:lnTo>
                        <a:pt x="1186" y="61"/>
                      </a:lnTo>
                      <a:lnTo>
                        <a:pt x="1190" y="59"/>
                      </a:lnTo>
                      <a:lnTo>
                        <a:pt x="1186" y="53"/>
                      </a:lnTo>
                      <a:lnTo>
                        <a:pt x="1190" y="53"/>
                      </a:lnTo>
                      <a:lnTo>
                        <a:pt x="1195" y="56"/>
                      </a:lnTo>
                      <a:lnTo>
                        <a:pt x="1195" y="53"/>
                      </a:lnTo>
                      <a:lnTo>
                        <a:pt x="1193" y="50"/>
                      </a:lnTo>
                      <a:lnTo>
                        <a:pt x="1193" y="47"/>
                      </a:lnTo>
                      <a:lnTo>
                        <a:pt x="1195" y="44"/>
                      </a:lnTo>
                      <a:lnTo>
                        <a:pt x="1206" y="39"/>
                      </a:lnTo>
                      <a:lnTo>
                        <a:pt x="1206" y="36"/>
                      </a:lnTo>
                      <a:lnTo>
                        <a:pt x="1214" y="36"/>
                      </a:lnTo>
                      <a:lnTo>
                        <a:pt x="1217" y="36"/>
                      </a:lnTo>
                      <a:lnTo>
                        <a:pt x="1220" y="28"/>
                      </a:lnTo>
                      <a:lnTo>
                        <a:pt x="1229" y="28"/>
                      </a:lnTo>
                      <a:lnTo>
                        <a:pt x="1231" y="23"/>
                      </a:lnTo>
                      <a:lnTo>
                        <a:pt x="1239" y="23"/>
                      </a:lnTo>
                      <a:lnTo>
                        <a:pt x="1234" y="20"/>
                      </a:lnTo>
                      <a:lnTo>
                        <a:pt x="1237" y="20"/>
                      </a:lnTo>
                      <a:lnTo>
                        <a:pt x="1242" y="16"/>
                      </a:lnTo>
                      <a:lnTo>
                        <a:pt x="1247" y="16"/>
                      </a:lnTo>
                      <a:lnTo>
                        <a:pt x="1247" y="14"/>
                      </a:lnTo>
                      <a:lnTo>
                        <a:pt x="1242" y="11"/>
                      </a:lnTo>
                      <a:lnTo>
                        <a:pt x="1242" y="8"/>
                      </a:lnTo>
                      <a:lnTo>
                        <a:pt x="1245" y="8"/>
                      </a:lnTo>
                      <a:lnTo>
                        <a:pt x="1245" y="11"/>
                      </a:lnTo>
                      <a:lnTo>
                        <a:pt x="1247" y="14"/>
                      </a:lnTo>
                      <a:lnTo>
                        <a:pt x="1250" y="14"/>
                      </a:lnTo>
                      <a:lnTo>
                        <a:pt x="1253" y="11"/>
                      </a:lnTo>
                      <a:lnTo>
                        <a:pt x="1253" y="6"/>
                      </a:lnTo>
                      <a:lnTo>
                        <a:pt x="1264" y="0"/>
                      </a:lnTo>
                      <a:lnTo>
                        <a:pt x="1259" y="8"/>
                      </a:lnTo>
                      <a:lnTo>
                        <a:pt x="1259" y="16"/>
                      </a:lnTo>
                      <a:lnTo>
                        <a:pt x="1255" y="16"/>
                      </a:lnTo>
                      <a:lnTo>
                        <a:pt x="1255" y="20"/>
                      </a:lnTo>
                      <a:lnTo>
                        <a:pt x="1250" y="20"/>
                      </a:lnTo>
                      <a:lnTo>
                        <a:pt x="1250" y="23"/>
                      </a:lnTo>
                      <a:lnTo>
                        <a:pt x="1247" y="26"/>
                      </a:lnTo>
                      <a:lnTo>
                        <a:pt x="1242" y="28"/>
                      </a:lnTo>
                      <a:lnTo>
                        <a:pt x="1239" y="31"/>
                      </a:lnTo>
                      <a:lnTo>
                        <a:pt x="1239" y="36"/>
                      </a:lnTo>
                      <a:lnTo>
                        <a:pt x="1237" y="39"/>
                      </a:lnTo>
                      <a:lnTo>
                        <a:pt x="1234" y="39"/>
                      </a:lnTo>
                      <a:lnTo>
                        <a:pt x="1234" y="53"/>
                      </a:lnTo>
                      <a:lnTo>
                        <a:pt x="1229" y="59"/>
                      </a:lnTo>
                      <a:lnTo>
                        <a:pt x="1231" y="64"/>
                      </a:lnTo>
                      <a:lnTo>
                        <a:pt x="1237" y="67"/>
                      </a:lnTo>
                      <a:lnTo>
                        <a:pt x="1237" y="72"/>
                      </a:lnTo>
                      <a:lnTo>
                        <a:pt x="1239" y="69"/>
                      </a:lnTo>
                      <a:lnTo>
                        <a:pt x="1239" y="67"/>
                      </a:lnTo>
                      <a:lnTo>
                        <a:pt x="1242" y="69"/>
                      </a:lnTo>
                      <a:lnTo>
                        <a:pt x="1245" y="72"/>
                      </a:lnTo>
                      <a:lnTo>
                        <a:pt x="1239" y="72"/>
                      </a:lnTo>
                      <a:lnTo>
                        <a:pt x="1239" y="75"/>
                      </a:lnTo>
                      <a:lnTo>
                        <a:pt x="1231" y="80"/>
                      </a:lnTo>
                      <a:lnTo>
                        <a:pt x="1229" y="80"/>
                      </a:lnTo>
                      <a:lnTo>
                        <a:pt x="1229" y="77"/>
                      </a:lnTo>
                      <a:lnTo>
                        <a:pt x="1226" y="77"/>
                      </a:lnTo>
                      <a:lnTo>
                        <a:pt x="1223" y="85"/>
                      </a:lnTo>
                      <a:lnTo>
                        <a:pt x="1226" y="97"/>
                      </a:lnTo>
                      <a:lnTo>
                        <a:pt x="1223" y="100"/>
                      </a:lnTo>
                      <a:lnTo>
                        <a:pt x="1220" y="97"/>
                      </a:lnTo>
                      <a:lnTo>
                        <a:pt x="1217" y="103"/>
                      </a:lnTo>
                      <a:lnTo>
                        <a:pt x="1217" y="105"/>
                      </a:lnTo>
                      <a:lnTo>
                        <a:pt x="1214" y="111"/>
                      </a:lnTo>
                      <a:lnTo>
                        <a:pt x="1214" y="113"/>
                      </a:lnTo>
                      <a:lnTo>
                        <a:pt x="1211" y="119"/>
                      </a:lnTo>
                      <a:lnTo>
                        <a:pt x="1214" y="121"/>
                      </a:lnTo>
                      <a:lnTo>
                        <a:pt x="1211" y="121"/>
                      </a:lnTo>
                      <a:lnTo>
                        <a:pt x="1209" y="119"/>
                      </a:lnTo>
                      <a:lnTo>
                        <a:pt x="1209" y="125"/>
                      </a:lnTo>
                      <a:lnTo>
                        <a:pt x="1206" y="121"/>
                      </a:lnTo>
                      <a:lnTo>
                        <a:pt x="1203" y="121"/>
                      </a:lnTo>
                      <a:lnTo>
                        <a:pt x="1203" y="125"/>
                      </a:lnTo>
                      <a:lnTo>
                        <a:pt x="1203" y="121"/>
                      </a:lnTo>
                      <a:lnTo>
                        <a:pt x="1203" y="119"/>
                      </a:lnTo>
                      <a:lnTo>
                        <a:pt x="1201" y="121"/>
                      </a:lnTo>
                      <a:lnTo>
                        <a:pt x="1203" y="128"/>
                      </a:lnTo>
                      <a:lnTo>
                        <a:pt x="1203" y="130"/>
                      </a:lnTo>
                      <a:lnTo>
                        <a:pt x="1201" y="133"/>
                      </a:lnTo>
                      <a:lnTo>
                        <a:pt x="1206" y="136"/>
                      </a:lnTo>
                      <a:lnTo>
                        <a:pt x="1206" y="144"/>
                      </a:lnTo>
                      <a:lnTo>
                        <a:pt x="1201" y="146"/>
                      </a:lnTo>
                      <a:lnTo>
                        <a:pt x="1203" y="146"/>
                      </a:lnTo>
                      <a:lnTo>
                        <a:pt x="1201" y="149"/>
                      </a:lnTo>
                      <a:lnTo>
                        <a:pt x="1203" y="152"/>
                      </a:lnTo>
                      <a:lnTo>
                        <a:pt x="1198" y="158"/>
                      </a:lnTo>
                      <a:lnTo>
                        <a:pt x="1201" y="164"/>
                      </a:lnTo>
                      <a:lnTo>
                        <a:pt x="1198" y="166"/>
                      </a:lnTo>
                      <a:lnTo>
                        <a:pt x="1195" y="172"/>
                      </a:lnTo>
                      <a:lnTo>
                        <a:pt x="1198" y="174"/>
                      </a:lnTo>
                      <a:lnTo>
                        <a:pt x="1198" y="180"/>
                      </a:lnTo>
                      <a:lnTo>
                        <a:pt x="1201" y="180"/>
                      </a:lnTo>
                      <a:lnTo>
                        <a:pt x="1201" y="182"/>
                      </a:lnTo>
                      <a:lnTo>
                        <a:pt x="1203" y="182"/>
                      </a:lnTo>
                      <a:lnTo>
                        <a:pt x="1203" y="188"/>
                      </a:lnTo>
                      <a:lnTo>
                        <a:pt x="1206" y="185"/>
                      </a:lnTo>
                      <a:lnTo>
                        <a:pt x="1206" y="188"/>
                      </a:lnTo>
                      <a:lnTo>
                        <a:pt x="1209" y="188"/>
                      </a:lnTo>
                      <a:lnTo>
                        <a:pt x="1211" y="190"/>
                      </a:lnTo>
                      <a:lnTo>
                        <a:pt x="1211" y="188"/>
                      </a:lnTo>
                      <a:lnTo>
                        <a:pt x="1217" y="190"/>
                      </a:lnTo>
                      <a:lnTo>
                        <a:pt x="1214" y="190"/>
                      </a:lnTo>
                      <a:lnTo>
                        <a:pt x="1220" y="190"/>
                      </a:lnTo>
                      <a:lnTo>
                        <a:pt x="1220" y="194"/>
                      </a:lnTo>
                      <a:lnTo>
                        <a:pt x="1226" y="194"/>
                      </a:lnTo>
                      <a:lnTo>
                        <a:pt x="1226" y="197"/>
                      </a:lnTo>
                      <a:lnTo>
                        <a:pt x="1229" y="194"/>
                      </a:lnTo>
                      <a:lnTo>
                        <a:pt x="1229" y="197"/>
                      </a:lnTo>
                      <a:lnTo>
                        <a:pt x="1231" y="197"/>
                      </a:lnTo>
                      <a:lnTo>
                        <a:pt x="1231" y="202"/>
                      </a:lnTo>
                      <a:lnTo>
                        <a:pt x="1237" y="205"/>
                      </a:lnTo>
                      <a:lnTo>
                        <a:pt x="1237" y="202"/>
                      </a:lnTo>
                      <a:lnTo>
                        <a:pt x="1239" y="207"/>
                      </a:lnTo>
                      <a:lnTo>
                        <a:pt x="1242" y="207"/>
                      </a:lnTo>
                      <a:lnTo>
                        <a:pt x="1242" y="210"/>
                      </a:lnTo>
                      <a:lnTo>
                        <a:pt x="1247" y="213"/>
                      </a:lnTo>
                      <a:lnTo>
                        <a:pt x="1247" y="210"/>
                      </a:lnTo>
                      <a:lnTo>
                        <a:pt x="1250" y="210"/>
                      </a:lnTo>
                      <a:lnTo>
                        <a:pt x="1253" y="213"/>
                      </a:lnTo>
                      <a:lnTo>
                        <a:pt x="1259" y="210"/>
                      </a:lnTo>
                      <a:lnTo>
                        <a:pt x="1262" y="213"/>
                      </a:lnTo>
                      <a:lnTo>
                        <a:pt x="1272" y="215"/>
                      </a:lnTo>
                      <a:lnTo>
                        <a:pt x="1278" y="218"/>
                      </a:lnTo>
                      <a:lnTo>
                        <a:pt x="1280" y="215"/>
                      </a:lnTo>
                      <a:lnTo>
                        <a:pt x="1292" y="215"/>
                      </a:lnTo>
                      <a:lnTo>
                        <a:pt x="1295" y="221"/>
                      </a:lnTo>
                      <a:lnTo>
                        <a:pt x="1303" y="221"/>
                      </a:lnTo>
                      <a:lnTo>
                        <a:pt x="1306" y="226"/>
                      </a:lnTo>
                      <a:lnTo>
                        <a:pt x="1308" y="226"/>
                      </a:lnTo>
                      <a:lnTo>
                        <a:pt x="1316" y="223"/>
                      </a:lnTo>
                      <a:lnTo>
                        <a:pt x="1322" y="226"/>
                      </a:lnTo>
                      <a:lnTo>
                        <a:pt x="1328" y="232"/>
                      </a:lnTo>
                      <a:lnTo>
                        <a:pt x="1331" y="230"/>
                      </a:lnTo>
                      <a:lnTo>
                        <a:pt x="1341" y="238"/>
                      </a:lnTo>
                      <a:lnTo>
                        <a:pt x="1347" y="238"/>
                      </a:lnTo>
                      <a:lnTo>
                        <a:pt x="1355" y="241"/>
                      </a:lnTo>
                      <a:lnTo>
                        <a:pt x="1358" y="241"/>
                      </a:lnTo>
                      <a:lnTo>
                        <a:pt x="1361" y="243"/>
                      </a:lnTo>
                      <a:lnTo>
                        <a:pt x="1482" y="315"/>
                      </a:lnTo>
                      <a:lnTo>
                        <a:pt x="1540" y="348"/>
                      </a:lnTo>
                      <a:lnTo>
                        <a:pt x="1579" y="371"/>
                      </a:lnTo>
                      <a:lnTo>
                        <a:pt x="1590" y="362"/>
                      </a:lnTo>
                      <a:lnTo>
                        <a:pt x="1590" y="356"/>
                      </a:lnTo>
                      <a:lnTo>
                        <a:pt x="1590" y="353"/>
                      </a:lnTo>
                      <a:lnTo>
                        <a:pt x="1587" y="345"/>
                      </a:lnTo>
                      <a:lnTo>
                        <a:pt x="1590" y="340"/>
                      </a:lnTo>
                      <a:lnTo>
                        <a:pt x="1587" y="335"/>
                      </a:lnTo>
                      <a:lnTo>
                        <a:pt x="1590" y="328"/>
                      </a:lnTo>
                      <a:lnTo>
                        <a:pt x="1584" y="320"/>
                      </a:lnTo>
                      <a:lnTo>
                        <a:pt x="1587" y="315"/>
                      </a:lnTo>
                      <a:lnTo>
                        <a:pt x="1590" y="310"/>
                      </a:lnTo>
                      <a:lnTo>
                        <a:pt x="1590" y="304"/>
                      </a:lnTo>
                      <a:lnTo>
                        <a:pt x="1584" y="301"/>
                      </a:lnTo>
                      <a:lnTo>
                        <a:pt x="1584" y="299"/>
                      </a:lnTo>
                      <a:lnTo>
                        <a:pt x="1592" y="282"/>
                      </a:lnTo>
                      <a:lnTo>
                        <a:pt x="1598" y="276"/>
                      </a:lnTo>
                      <a:lnTo>
                        <a:pt x="1607" y="266"/>
                      </a:lnTo>
                      <a:lnTo>
                        <a:pt x="1615" y="251"/>
                      </a:lnTo>
                      <a:lnTo>
                        <a:pt x="1617" y="251"/>
                      </a:lnTo>
                      <a:lnTo>
                        <a:pt x="1617" y="246"/>
                      </a:lnTo>
                      <a:lnTo>
                        <a:pt x="1615" y="246"/>
                      </a:lnTo>
                      <a:lnTo>
                        <a:pt x="1615" y="243"/>
                      </a:lnTo>
                      <a:lnTo>
                        <a:pt x="1620" y="232"/>
                      </a:lnTo>
                      <a:lnTo>
                        <a:pt x="1623" y="230"/>
                      </a:lnTo>
                      <a:lnTo>
                        <a:pt x="1625" y="230"/>
                      </a:lnTo>
                      <a:lnTo>
                        <a:pt x="1625" y="226"/>
                      </a:lnTo>
                      <a:lnTo>
                        <a:pt x="1628" y="221"/>
                      </a:lnTo>
                      <a:lnTo>
                        <a:pt x="1628" y="213"/>
                      </a:lnTo>
                      <a:lnTo>
                        <a:pt x="1633" y="210"/>
                      </a:lnTo>
                      <a:lnTo>
                        <a:pt x="1633" y="207"/>
                      </a:lnTo>
                      <a:lnTo>
                        <a:pt x="1637" y="205"/>
                      </a:lnTo>
                      <a:lnTo>
                        <a:pt x="1640" y="202"/>
                      </a:lnTo>
                      <a:lnTo>
                        <a:pt x="1642" y="205"/>
                      </a:lnTo>
                      <a:lnTo>
                        <a:pt x="1645" y="202"/>
                      </a:lnTo>
                      <a:lnTo>
                        <a:pt x="1651" y="199"/>
                      </a:lnTo>
                      <a:lnTo>
                        <a:pt x="1651" y="194"/>
                      </a:lnTo>
                      <a:lnTo>
                        <a:pt x="1653" y="190"/>
                      </a:lnTo>
                      <a:lnTo>
                        <a:pt x="1661" y="185"/>
                      </a:lnTo>
                      <a:lnTo>
                        <a:pt x="1667" y="180"/>
                      </a:lnTo>
                      <a:lnTo>
                        <a:pt x="1670" y="180"/>
                      </a:lnTo>
                      <a:lnTo>
                        <a:pt x="1673" y="172"/>
                      </a:lnTo>
                      <a:lnTo>
                        <a:pt x="1681" y="166"/>
                      </a:lnTo>
                      <a:lnTo>
                        <a:pt x="1686" y="185"/>
                      </a:lnTo>
                      <a:lnTo>
                        <a:pt x="1689" y="185"/>
                      </a:lnTo>
                      <a:lnTo>
                        <a:pt x="1694" y="190"/>
                      </a:lnTo>
                      <a:lnTo>
                        <a:pt x="1704" y="190"/>
                      </a:lnTo>
                      <a:lnTo>
                        <a:pt x="1700" y="194"/>
                      </a:lnTo>
                      <a:lnTo>
                        <a:pt x="1700" y="197"/>
                      </a:lnTo>
                      <a:lnTo>
                        <a:pt x="1700" y="199"/>
                      </a:lnTo>
                      <a:lnTo>
                        <a:pt x="1694" y="205"/>
                      </a:lnTo>
                      <a:lnTo>
                        <a:pt x="1697" y="207"/>
                      </a:lnTo>
                      <a:lnTo>
                        <a:pt x="1694" y="207"/>
                      </a:lnTo>
                      <a:lnTo>
                        <a:pt x="1694" y="210"/>
                      </a:lnTo>
                      <a:lnTo>
                        <a:pt x="1697" y="215"/>
                      </a:lnTo>
                      <a:lnTo>
                        <a:pt x="1709" y="215"/>
                      </a:lnTo>
                      <a:lnTo>
                        <a:pt x="1709" y="218"/>
                      </a:lnTo>
                      <a:lnTo>
                        <a:pt x="1712" y="218"/>
                      </a:lnTo>
                      <a:lnTo>
                        <a:pt x="1717" y="215"/>
                      </a:lnTo>
                      <a:lnTo>
                        <a:pt x="1720" y="215"/>
                      </a:lnTo>
                      <a:lnTo>
                        <a:pt x="1722" y="218"/>
                      </a:lnTo>
                      <a:lnTo>
                        <a:pt x="1725" y="221"/>
                      </a:lnTo>
                      <a:lnTo>
                        <a:pt x="1728" y="226"/>
                      </a:lnTo>
                      <a:lnTo>
                        <a:pt x="1736" y="232"/>
                      </a:lnTo>
                      <a:lnTo>
                        <a:pt x="1739" y="238"/>
                      </a:lnTo>
                      <a:lnTo>
                        <a:pt x="1778" y="180"/>
                      </a:lnTo>
                      <a:lnTo>
                        <a:pt x="1781" y="177"/>
                      </a:lnTo>
                      <a:lnTo>
                        <a:pt x="1783" y="177"/>
                      </a:lnTo>
                      <a:lnTo>
                        <a:pt x="1781" y="174"/>
                      </a:lnTo>
                      <a:lnTo>
                        <a:pt x="1783" y="172"/>
                      </a:lnTo>
                      <a:lnTo>
                        <a:pt x="1786" y="174"/>
                      </a:lnTo>
                      <a:lnTo>
                        <a:pt x="1789" y="174"/>
                      </a:lnTo>
                      <a:lnTo>
                        <a:pt x="1791" y="174"/>
                      </a:lnTo>
                      <a:lnTo>
                        <a:pt x="1791" y="180"/>
                      </a:lnTo>
                      <a:lnTo>
                        <a:pt x="1794" y="182"/>
                      </a:lnTo>
                      <a:lnTo>
                        <a:pt x="1791" y="188"/>
                      </a:lnTo>
                      <a:lnTo>
                        <a:pt x="1794" y="190"/>
                      </a:lnTo>
                      <a:lnTo>
                        <a:pt x="1797" y="190"/>
                      </a:lnTo>
                      <a:lnTo>
                        <a:pt x="1797" y="188"/>
                      </a:lnTo>
                      <a:lnTo>
                        <a:pt x="1799" y="190"/>
                      </a:lnTo>
                      <a:lnTo>
                        <a:pt x="1802" y="190"/>
                      </a:lnTo>
                      <a:lnTo>
                        <a:pt x="1802" y="194"/>
                      </a:lnTo>
                      <a:lnTo>
                        <a:pt x="1805" y="197"/>
                      </a:lnTo>
                      <a:lnTo>
                        <a:pt x="1805" y="199"/>
                      </a:lnTo>
                      <a:lnTo>
                        <a:pt x="1808" y="199"/>
                      </a:lnTo>
                      <a:lnTo>
                        <a:pt x="1811" y="202"/>
                      </a:lnTo>
                      <a:lnTo>
                        <a:pt x="1814" y="202"/>
                      </a:lnTo>
                      <a:lnTo>
                        <a:pt x="1814" y="207"/>
                      </a:lnTo>
                      <a:lnTo>
                        <a:pt x="1816" y="207"/>
                      </a:lnTo>
                      <a:lnTo>
                        <a:pt x="1816" y="205"/>
                      </a:lnTo>
                      <a:lnTo>
                        <a:pt x="1824" y="213"/>
                      </a:lnTo>
                      <a:lnTo>
                        <a:pt x="1827" y="215"/>
                      </a:lnTo>
                      <a:lnTo>
                        <a:pt x="1830" y="215"/>
                      </a:lnTo>
                      <a:lnTo>
                        <a:pt x="1832" y="221"/>
                      </a:lnTo>
                      <a:lnTo>
                        <a:pt x="1835" y="221"/>
                      </a:lnTo>
                      <a:lnTo>
                        <a:pt x="1838" y="226"/>
                      </a:lnTo>
                      <a:lnTo>
                        <a:pt x="1835" y="232"/>
                      </a:lnTo>
                      <a:lnTo>
                        <a:pt x="1838" y="238"/>
                      </a:lnTo>
                      <a:lnTo>
                        <a:pt x="1838" y="243"/>
                      </a:lnTo>
                      <a:lnTo>
                        <a:pt x="1838" y="251"/>
                      </a:lnTo>
                      <a:lnTo>
                        <a:pt x="1840" y="251"/>
                      </a:lnTo>
                      <a:lnTo>
                        <a:pt x="1844" y="257"/>
                      </a:lnTo>
                      <a:lnTo>
                        <a:pt x="1847" y="254"/>
                      </a:lnTo>
                      <a:lnTo>
                        <a:pt x="1850" y="257"/>
                      </a:lnTo>
                      <a:lnTo>
                        <a:pt x="1850" y="254"/>
                      </a:lnTo>
                      <a:lnTo>
                        <a:pt x="1855" y="254"/>
                      </a:lnTo>
                      <a:lnTo>
                        <a:pt x="1855" y="257"/>
                      </a:lnTo>
                      <a:lnTo>
                        <a:pt x="1858" y="257"/>
                      </a:lnTo>
                      <a:lnTo>
                        <a:pt x="1858" y="251"/>
                      </a:lnTo>
                      <a:lnTo>
                        <a:pt x="1860" y="251"/>
                      </a:lnTo>
                      <a:lnTo>
                        <a:pt x="1863" y="257"/>
                      </a:lnTo>
                      <a:lnTo>
                        <a:pt x="1866" y="254"/>
                      </a:lnTo>
                      <a:lnTo>
                        <a:pt x="1868" y="257"/>
                      </a:lnTo>
                      <a:lnTo>
                        <a:pt x="1868" y="259"/>
                      </a:lnTo>
                      <a:lnTo>
                        <a:pt x="1871" y="259"/>
                      </a:lnTo>
                      <a:lnTo>
                        <a:pt x="1877" y="259"/>
                      </a:lnTo>
                      <a:lnTo>
                        <a:pt x="1877" y="263"/>
                      </a:lnTo>
                      <a:lnTo>
                        <a:pt x="1877" y="268"/>
                      </a:lnTo>
                      <a:lnTo>
                        <a:pt x="1880" y="276"/>
                      </a:lnTo>
                      <a:lnTo>
                        <a:pt x="1885" y="276"/>
                      </a:lnTo>
                      <a:lnTo>
                        <a:pt x="1888" y="279"/>
                      </a:lnTo>
                      <a:lnTo>
                        <a:pt x="1891" y="279"/>
                      </a:lnTo>
                      <a:lnTo>
                        <a:pt x="1891" y="282"/>
                      </a:lnTo>
                      <a:lnTo>
                        <a:pt x="1891" y="287"/>
                      </a:lnTo>
                      <a:lnTo>
                        <a:pt x="1893" y="287"/>
                      </a:lnTo>
                      <a:lnTo>
                        <a:pt x="1893" y="290"/>
                      </a:lnTo>
                      <a:lnTo>
                        <a:pt x="1896" y="295"/>
                      </a:lnTo>
                      <a:lnTo>
                        <a:pt x="1893" y="299"/>
                      </a:lnTo>
                      <a:lnTo>
                        <a:pt x="1899" y="299"/>
                      </a:lnTo>
                      <a:lnTo>
                        <a:pt x="1901" y="307"/>
                      </a:lnTo>
                      <a:lnTo>
                        <a:pt x="1899" y="310"/>
                      </a:lnTo>
                      <a:lnTo>
                        <a:pt x="1899" y="315"/>
                      </a:lnTo>
                      <a:lnTo>
                        <a:pt x="1896" y="315"/>
                      </a:lnTo>
                      <a:lnTo>
                        <a:pt x="1896" y="318"/>
                      </a:lnTo>
                      <a:lnTo>
                        <a:pt x="1893" y="318"/>
                      </a:lnTo>
                      <a:lnTo>
                        <a:pt x="1896" y="320"/>
                      </a:lnTo>
                      <a:lnTo>
                        <a:pt x="1896" y="326"/>
                      </a:lnTo>
                      <a:lnTo>
                        <a:pt x="1901" y="328"/>
                      </a:lnTo>
                      <a:lnTo>
                        <a:pt x="1899" y="331"/>
                      </a:lnTo>
                      <a:lnTo>
                        <a:pt x="1901" y="335"/>
                      </a:lnTo>
                      <a:lnTo>
                        <a:pt x="1899" y="335"/>
                      </a:lnTo>
                      <a:lnTo>
                        <a:pt x="1899" y="343"/>
                      </a:lnTo>
                      <a:lnTo>
                        <a:pt x="1899" y="348"/>
                      </a:lnTo>
                      <a:lnTo>
                        <a:pt x="1893" y="353"/>
                      </a:lnTo>
                      <a:lnTo>
                        <a:pt x="1891" y="353"/>
                      </a:lnTo>
                      <a:lnTo>
                        <a:pt x="1893" y="359"/>
                      </a:lnTo>
                      <a:lnTo>
                        <a:pt x="1896" y="362"/>
                      </a:lnTo>
                      <a:lnTo>
                        <a:pt x="1896" y="364"/>
                      </a:lnTo>
                      <a:lnTo>
                        <a:pt x="1893" y="373"/>
                      </a:lnTo>
                      <a:lnTo>
                        <a:pt x="1891" y="379"/>
                      </a:lnTo>
                      <a:lnTo>
                        <a:pt x="1899" y="387"/>
                      </a:lnTo>
                      <a:lnTo>
                        <a:pt x="1901" y="387"/>
                      </a:lnTo>
                      <a:lnTo>
                        <a:pt x="1904" y="387"/>
                      </a:lnTo>
                      <a:lnTo>
                        <a:pt x="1909" y="381"/>
                      </a:lnTo>
                      <a:lnTo>
                        <a:pt x="1909" y="373"/>
                      </a:lnTo>
                      <a:lnTo>
                        <a:pt x="1907" y="371"/>
                      </a:lnTo>
                      <a:lnTo>
                        <a:pt x="1909" y="362"/>
                      </a:lnTo>
                      <a:lnTo>
                        <a:pt x="1909" y="353"/>
                      </a:lnTo>
                      <a:lnTo>
                        <a:pt x="1913" y="351"/>
                      </a:lnTo>
                      <a:lnTo>
                        <a:pt x="1909" y="348"/>
                      </a:lnTo>
                      <a:lnTo>
                        <a:pt x="1909" y="340"/>
                      </a:lnTo>
                      <a:lnTo>
                        <a:pt x="1916" y="337"/>
                      </a:lnTo>
                      <a:lnTo>
                        <a:pt x="1921" y="335"/>
                      </a:lnTo>
                      <a:lnTo>
                        <a:pt x="1921" y="331"/>
                      </a:lnTo>
                      <a:lnTo>
                        <a:pt x="1924" y="326"/>
                      </a:lnTo>
                      <a:lnTo>
                        <a:pt x="1924" y="315"/>
                      </a:lnTo>
                      <a:lnTo>
                        <a:pt x="1929" y="310"/>
                      </a:lnTo>
                      <a:lnTo>
                        <a:pt x="1935" y="312"/>
                      </a:lnTo>
                      <a:lnTo>
                        <a:pt x="1937" y="315"/>
                      </a:lnTo>
                      <a:lnTo>
                        <a:pt x="1940" y="315"/>
                      </a:lnTo>
                      <a:lnTo>
                        <a:pt x="1940" y="310"/>
                      </a:lnTo>
                      <a:lnTo>
                        <a:pt x="1943" y="312"/>
                      </a:lnTo>
                      <a:lnTo>
                        <a:pt x="1943" y="315"/>
                      </a:lnTo>
                      <a:lnTo>
                        <a:pt x="1946" y="323"/>
                      </a:lnTo>
                      <a:lnTo>
                        <a:pt x="1943" y="323"/>
                      </a:lnTo>
                      <a:lnTo>
                        <a:pt x="1943" y="326"/>
                      </a:lnTo>
                      <a:lnTo>
                        <a:pt x="1943" y="328"/>
                      </a:lnTo>
                      <a:lnTo>
                        <a:pt x="1943" y="335"/>
                      </a:lnTo>
                      <a:lnTo>
                        <a:pt x="1940" y="337"/>
                      </a:lnTo>
                      <a:lnTo>
                        <a:pt x="1943" y="340"/>
                      </a:lnTo>
                      <a:lnTo>
                        <a:pt x="1943" y="343"/>
                      </a:lnTo>
                      <a:lnTo>
                        <a:pt x="1943" y="345"/>
                      </a:lnTo>
                      <a:lnTo>
                        <a:pt x="1943" y="348"/>
                      </a:lnTo>
                      <a:lnTo>
                        <a:pt x="1943" y="353"/>
                      </a:lnTo>
                      <a:lnTo>
                        <a:pt x="1946" y="353"/>
                      </a:lnTo>
                      <a:lnTo>
                        <a:pt x="1946" y="356"/>
                      </a:lnTo>
                      <a:lnTo>
                        <a:pt x="1952" y="359"/>
                      </a:lnTo>
                      <a:lnTo>
                        <a:pt x="1949" y="359"/>
                      </a:lnTo>
                      <a:lnTo>
                        <a:pt x="1949" y="362"/>
                      </a:lnTo>
                      <a:lnTo>
                        <a:pt x="1952" y="364"/>
                      </a:lnTo>
                      <a:lnTo>
                        <a:pt x="1949" y="364"/>
                      </a:lnTo>
                      <a:lnTo>
                        <a:pt x="1949" y="373"/>
                      </a:lnTo>
                      <a:lnTo>
                        <a:pt x="1954" y="373"/>
                      </a:lnTo>
                      <a:lnTo>
                        <a:pt x="1957" y="379"/>
                      </a:lnTo>
                      <a:lnTo>
                        <a:pt x="1960" y="376"/>
                      </a:lnTo>
                      <a:lnTo>
                        <a:pt x="1960" y="373"/>
                      </a:lnTo>
                      <a:lnTo>
                        <a:pt x="1960" y="371"/>
                      </a:lnTo>
                      <a:lnTo>
                        <a:pt x="1962" y="368"/>
                      </a:lnTo>
                      <a:lnTo>
                        <a:pt x="1965" y="371"/>
                      </a:lnTo>
                      <a:lnTo>
                        <a:pt x="1970" y="368"/>
                      </a:lnTo>
                      <a:lnTo>
                        <a:pt x="1973" y="368"/>
                      </a:lnTo>
                      <a:lnTo>
                        <a:pt x="1976" y="368"/>
                      </a:lnTo>
                      <a:lnTo>
                        <a:pt x="1979" y="364"/>
                      </a:lnTo>
                      <a:lnTo>
                        <a:pt x="1979" y="368"/>
                      </a:lnTo>
                      <a:lnTo>
                        <a:pt x="1982" y="362"/>
                      </a:lnTo>
                      <a:lnTo>
                        <a:pt x="1985" y="362"/>
                      </a:lnTo>
                      <a:lnTo>
                        <a:pt x="1985" y="359"/>
                      </a:lnTo>
                      <a:lnTo>
                        <a:pt x="1988" y="359"/>
                      </a:lnTo>
                      <a:lnTo>
                        <a:pt x="1990" y="356"/>
                      </a:lnTo>
                      <a:lnTo>
                        <a:pt x="1993" y="356"/>
                      </a:lnTo>
                      <a:lnTo>
                        <a:pt x="1996" y="359"/>
                      </a:lnTo>
                      <a:lnTo>
                        <a:pt x="1998" y="359"/>
                      </a:lnTo>
                      <a:lnTo>
                        <a:pt x="1996" y="356"/>
                      </a:lnTo>
                      <a:lnTo>
                        <a:pt x="1998" y="353"/>
                      </a:lnTo>
                      <a:lnTo>
                        <a:pt x="1996" y="351"/>
                      </a:lnTo>
                      <a:lnTo>
                        <a:pt x="2001" y="351"/>
                      </a:lnTo>
                      <a:lnTo>
                        <a:pt x="2004" y="351"/>
                      </a:lnTo>
                      <a:lnTo>
                        <a:pt x="2006" y="351"/>
                      </a:lnTo>
                      <a:lnTo>
                        <a:pt x="2006" y="353"/>
                      </a:lnTo>
                      <a:lnTo>
                        <a:pt x="2009" y="353"/>
                      </a:lnTo>
                      <a:lnTo>
                        <a:pt x="2012" y="353"/>
                      </a:lnTo>
                      <a:lnTo>
                        <a:pt x="2012" y="351"/>
                      </a:lnTo>
                      <a:lnTo>
                        <a:pt x="2009" y="351"/>
                      </a:lnTo>
                      <a:lnTo>
                        <a:pt x="2012" y="351"/>
                      </a:lnTo>
                      <a:lnTo>
                        <a:pt x="2009" y="351"/>
                      </a:lnTo>
                      <a:lnTo>
                        <a:pt x="2018" y="348"/>
                      </a:lnTo>
                      <a:lnTo>
                        <a:pt x="2018" y="345"/>
                      </a:lnTo>
                      <a:lnTo>
                        <a:pt x="2018" y="340"/>
                      </a:lnTo>
                      <a:lnTo>
                        <a:pt x="2021" y="340"/>
                      </a:lnTo>
                      <a:lnTo>
                        <a:pt x="2023" y="340"/>
                      </a:lnTo>
                      <a:lnTo>
                        <a:pt x="2023" y="337"/>
                      </a:lnTo>
                      <a:lnTo>
                        <a:pt x="2023" y="343"/>
                      </a:lnTo>
                      <a:lnTo>
                        <a:pt x="2026" y="340"/>
                      </a:lnTo>
                      <a:lnTo>
                        <a:pt x="2029" y="340"/>
                      </a:lnTo>
                      <a:lnTo>
                        <a:pt x="2029" y="337"/>
                      </a:lnTo>
                      <a:lnTo>
                        <a:pt x="2034" y="337"/>
                      </a:lnTo>
                      <a:lnTo>
                        <a:pt x="2037" y="335"/>
                      </a:lnTo>
                      <a:lnTo>
                        <a:pt x="2037" y="331"/>
                      </a:lnTo>
                      <a:lnTo>
                        <a:pt x="2039" y="331"/>
                      </a:lnTo>
                      <a:lnTo>
                        <a:pt x="2042" y="326"/>
                      </a:lnTo>
                      <a:lnTo>
                        <a:pt x="2045" y="328"/>
                      </a:lnTo>
                      <a:lnTo>
                        <a:pt x="2048" y="326"/>
                      </a:lnTo>
                      <a:lnTo>
                        <a:pt x="2051" y="328"/>
                      </a:lnTo>
                      <a:lnTo>
                        <a:pt x="2056" y="326"/>
                      </a:lnTo>
                      <a:lnTo>
                        <a:pt x="2056" y="323"/>
                      </a:lnTo>
                      <a:lnTo>
                        <a:pt x="2059" y="320"/>
                      </a:lnTo>
                      <a:lnTo>
                        <a:pt x="2062" y="320"/>
                      </a:lnTo>
                      <a:lnTo>
                        <a:pt x="2065" y="318"/>
                      </a:lnTo>
                      <a:lnTo>
                        <a:pt x="2070" y="320"/>
                      </a:lnTo>
                      <a:lnTo>
                        <a:pt x="2073" y="320"/>
                      </a:lnTo>
                      <a:lnTo>
                        <a:pt x="2075" y="318"/>
                      </a:lnTo>
                      <a:lnTo>
                        <a:pt x="2075" y="320"/>
                      </a:lnTo>
                      <a:lnTo>
                        <a:pt x="2073" y="323"/>
                      </a:lnTo>
                      <a:lnTo>
                        <a:pt x="2073" y="328"/>
                      </a:lnTo>
                      <a:lnTo>
                        <a:pt x="2070" y="331"/>
                      </a:lnTo>
                      <a:lnTo>
                        <a:pt x="2070" y="335"/>
                      </a:lnTo>
                      <a:lnTo>
                        <a:pt x="2070" y="337"/>
                      </a:lnTo>
                      <a:lnTo>
                        <a:pt x="2070" y="340"/>
                      </a:lnTo>
                      <a:lnTo>
                        <a:pt x="2070" y="343"/>
                      </a:lnTo>
                      <a:lnTo>
                        <a:pt x="2073" y="348"/>
                      </a:lnTo>
                      <a:lnTo>
                        <a:pt x="2070" y="351"/>
                      </a:lnTo>
                      <a:lnTo>
                        <a:pt x="2067" y="353"/>
                      </a:lnTo>
                      <a:lnTo>
                        <a:pt x="2067" y="356"/>
                      </a:lnTo>
                      <a:lnTo>
                        <a:pt x="2070" y="359"/>
                      </a:lnTo>
                      <a:lnTo>
                        <a:pt x="2073" y="359"/>
                      </a:lnTo>
                      <a:lnTo>
                        <a:pt x="2073" y="373"/>
                      </a:lnTo>
                      <a:lnTo>
                        <a:pt x="2067" y="381"/>
                      </a:lnTo>
                      <a:lnTo>
                        <a:pt x="2067" y="384"/>
                      </a:lnTo>
                      <a:lnTo>
                        <a:pt x="2070" y="381"/>
                      </a:lnTo>
                      <a:lnTo>
                        <a:pt x="2073" y="384"/>
                      </a:lnTo>
                      <a:lnTo>
                        <a:pt x="2073" y="381"/>
                      </a:lnTo>
                      <a:lnTo>
                        <a:pt x="2075" y="384"/>
                      </a:lnTo>
                      <a:lnTo>
                        <a:pt x="2078" y="381"/>
                      </a:lnTo>
                      <a:lnTo>
                        <a:pt x="2087" y="379"/>
                      </a:lnTo>
                      <a:lnTo>
                        <a:pt x="2087" y="376"/>
                      </a:lnTo>
                      <a:lnTo>
                        <a:pt x="2090" y="379"/>
                      </a:lnTo>
                      <a:lnTo>
                        <a:pt x="2092" y="376"/>
                      </a:lnTo>
                      <a:lnTo>
                        <a:pt x="2095" y="379"/>
                      </a:lnTo>
                      <a:lnTo>
                        <a:pt x="2098" y="376"/>
                      </a:lnTo>
                      <a:lnTo>
                        <a:pt x="2103" y="376"/>
                      </a:lnTo>
                      <a:lnTo>
                        <a:pt x="2103" y="373"/>
                      </a:lnTo>
                      <a:lnTo>
                        <a:pt x="2103" y="371"/>
                      </a:lnTo>
                      <a:lnTo>
                        <a:pt x="2103" y="368"/>
                      </a:lnTo>
                      <a:lnTo>
                        <a:pt x="2106" y="368"/>
                      </a:lnTo>
                      <a:lnTo>
                        <a:pt x="2103" y="356"/>
                      </a:lnTo>
                      <a:lnTo>
                        <a:pt x="2106" y="353"/>
                      </a:lnTo>
                      <a:lnTo>
                        <a:pt x="2106" y="356"/>
                      </a:lnTo>
                      <a:lnTo>
                        <a:pt x="2111" y="353"/>
                      </a:lnTo>
                      <a:lnTo>
                        <a:pt x="2111" y="356"/>
                      </a:lnTo>
                      <a:lnTo>
                        <a:pt x="2114" y="353"/>
                      </a:lnTo>
                      <a:lnTo>
                        <a:pt x="2114" y="356"/>
                      </a:lnTo>
                      <a:lnTo>
                        <a:pt x="2114" y="359"/>
                      </a:lnTo>
                      <a:lnTo>
                        <a:pt x="2114" y="362"/>
                      </a:lnTo>
                      <a:lnTo>
                        <a:pt x="2123" y="362"/>
                      </a:lnTo>
                      <a:lnTo>
                        <a:pt x="2125" y="364"/>
                      </a:lnTo>
                      <a:lnTo>
                        <a:pt x="2123" y="368"/>
                      </a:lnTo>
                      <a:lnTo>
                        <a:pt x="2123" y="371"/>
                      </a:lnTo>
                      <a:lnTo>
                        <a:pt x="2125" y="368"/>
                      </a:lnTo>
                      <a:lnTo>
                        <a:pt x="2128" y="373"/>
                      </a:lnTo>
                      <a:lnTo>
                        <a:pt x="2136" y="371"/>
                      </a:lnTo>
                      <a:lnTo>
                        <a:pt x="2142" y="371"/>
                      </a:lnTo>
                      <a:lnTo>
                        <a:pt x="2144" y="379"/>
                      </a:lnTo>
                      <a:lnTo>
                        <a:pt x="2147" y="381"/>
                      </a:lnTo>
                      <a:lnTo>
                        <a:pt x="2147" y="384"/>
                      </a:lnTo>
                      <a:lnTo>
                        <a:pt x="2151" y="387"/>
                      </a:lnTo>
                      <a:lnTo>
                        <a:pt x="2153" y="384"/>
                      </a:lnTo>
                      <a:lnTo>
                        <a:pt x="2156" y="384"/>
                      </a:lnTo>
                      <a:lnTo>
                        <a:pt x="2159" y="384"/>
                      </a:lnTo>
                      <a:lnTo>
                        <a:pt x="2161" y="376"/>
                      </a:lnTo>
                      <a:lnTo>
                        <a:pt x="2164" y="379"/>
                      </a:lnTo>
                      <a:lnTo>
                        <a:pt x="2167" y="379"/>
                      </a:lnTo>
                      <a:lnTo>
                        <a:pt x="2169" y="379"/>
                      </a:lnTo>
                      <a:lnTo>
                        <a:pt x="2169" y="381"/>
                      </a:lnTo>
                      <a:lnTo>
                        <a:pt x="2169" y="379"/>
                      </a:lnTo>
                      <a:lnTo>
                        <a:pt x="2172" y="379"/>
                      </a:lnTo>
                      <a:lnTo>
                        <a:pt x="2175" y="381"/>
                      </a:lnTo>
                      <a:lnTo>
                        <a:pt x="2175" y="387"/>
                      </a:lnTo>
                      <a:lnTo>
                        <a:pt x="2177" y="387"/>
                      </a:lnTo>
                      <a:lnTo>
                        <a:pt x="2180" y="384"/>
                      </a:lnTo>
                      <a:lnTo>
                        <a:pt x="2180" y="387"/>
                      </a:lnTo>
                      <a:lnTo>
                        <a:pt x="2183" y="389"/>
                      </a:lnTo>
                      <a:lnTo>
                        <a:pt x="2189" y="389"/>
                      </a:lnTo>
                      <a:lnTo>
                        <a:pt x="2192" y="387"/>
                      </a:lnTo>
                      <a:lnTo>
                        <a:pt x="2200" y="389"/>
                      </a:lnTo>
                      <a:lnTo>
                        <a:pt x="2208" y="387"/>
                      </a:lnTo>
                      <a:lnTo>
                        <a:pt x="2216" y="392"/>
                      </a:lnTo>
                      <a:lnTo>
                        <a:pt x="2216" y="395"/>
                      </a:lnTo>
                      <a:lnTo>
                        <a:pt x="2266" y="450"/>
                      </a:lnTo>
                      <a:lnTo>
                        <a:pt x="2269" y="442"/>
                      </a:lnTo>
                      <a:lnTo>
                        <a:pt x="2272" y="437"/>
                      </a:lnTo>
                      <a:lnTo>
                        <a:pt x="2274" y="433"/>
                      </a:lnTo>
                      <a:lnTo>
                        <a:pt x="2277" y="428"/>
                      </a:lnTo>
                      <a:lnTo>
                        <a:pt x="2280" y="425"/>
                      </a:lnTo>
                      <a:lnTo>
                        <a:pt x="2282" y="420"/>
                      </a:lnTo>
                      <a:lnTo>
                        <a:pt x="2285" y="420"/>
                      </a:lnTo>
                      <a:lnTo>
                        <a:pt x="2289" y="417"/>
                      </a:lnTo>
                      <a:lnTo>
                        <a:pt x="2289" y="409"/>
                      </a:lnTo>
                      <a:lnTo>
                        <a:pt x="2282" y="409"/>
                      </a:lnTo>
                      <a:lnTo>
                        <a:pt x="2277" y="404"/>
                      </a:lnTo>
                      <a:lnTo>
                        <a:pt x="2277" y="397"/>
                      </a:lnTo>
                      <a:lnTo>
                        <a:pt x="2274" y="389"/>
                      </a:lnTo>
                      <a:lnTo>
                        <a:pt x="2277" y="387"/>
                      </a:lnTo>
                      <a:lnTo>
                        <a:pt x="2274" y="381"/>
                      </a:lnTo>
                      <a:lnTo>
                        <a:pt x="2274" y="379"/>
                      </a:lnTo>
                      <a:lnTo>
                        <a:pt x="2274" y="371"/>
                      </a:lnTo>
                      <a:lnTo>
                        <a:pt x="2277" y="371"/>
                      </a:lnTo>
                      <a:lnTo>
                        <a:pt x="2282" y="364"/>
                      </a:lnTo>
                      <a:lnTo>
                        <a:pt x="2280" y="359"/>
                      </a:lnTo>
                      <a:lnTo>
                        <a:pt x="2280" y="356"/>
                      </a:lnTo>
                      <a:lnTo>
                        <a:pt x="2274" y="353"/>
                      </a:lnTo>
                      <a:lnTo>
                        <a:pt x="2277" y="351"/>
                      </a:lnTo>
                      <a:lnTo>
                        <a:pt x="2277" y="348"/>
                      </a:lnTo>
                      <a:lnTo>
                        <a:pt x="2272" y="345"/>
                      </a:lnTo>
                      <a:lnTo>
                        <a:pt x="2272" y="343"/>
                      </a:lnTo>
                      <a:lnTo>
                        <a:pt x="2274" y="343"/>
                      </a:lnTo>
                      <a:lnTo>
                        <a:pt x="2272" y="340"/>
                      </a:lnTo>
                      <a:lnTo>
                        <a:pt x="2274" y="337"/>
                      </a:lnTo>
                      <a:lnTo>
                        <a:pt x="2272" y="337"/>
                      </a:lnTo>
                      <a:lnTo>
                        <a:pt x="2274" y="335"/>
                      </a:lnTo>
                      <a:lnTo>
                        <a:pt x="2277" y="328"/>
                      </a:lnTo>
                      <a:lnTo>
                        <a:pt x="2269" y="326"/>
                      </a:lnTo>
                      <a:lnTo>
                        <a:pt x="2274" y="323"/>
                      </a:lnTo>
                      <a:lnTo>
                        <a:pt x="2277" y="320"/>
                      </a:lnTo>
                      <a:lnTo>
                        <a:pt x="2277" y="318"/>
                      </a:lnTo>
                      <a:lnTo>
                        <a:pt x="2280" y="318"/>
                      </a:lnTo>
                      <a:lnTo>
                        <a:pt x="2280" y="315"/>
                      </a:lnTo>
                      <a:lnTo>
                        <a:pt x="2280" y="312"/>
                      </a:lnTo>
                      <a:lnTo>
                        <a:pt x="2277" y="310"/>
                      </a:lnTo>
                      <a:lnTo>
                        <a:pt x="2280" y="310"/>
                      </a:lnTo>
                      <a:lnTo>
                        <a:pt x="2280" y="307"/>
                      </a:lnTo>
                      <a:lnTo>
                        <a:pt x="2282" y="304"/>
                      </a:lnTo>
                      <a:lnTo>
                        <a:pt x="2285" y="299"/>
                      </a:lnTo>
                      <a:lnTo>
                        <a:pt x="2289" y="301"/>
                      </a:lnTo>
                      <a:lnTo>
                        <a:pt x="2291" y="299"/>
                      </a:lnTo>
                      <a:lnTo>
                        <a:pt x="2302" y="304"/>
                      </a:lnTo>
                      <a:lnTo>
                        <a:pt x="2310" y="304"/>
                      </a:lnTo>
                      <a:lnTo>
                        <a:pt x="2313" y="307"/>
                      </a:lnTo>
                      <a:lnTo>
                        <a:pt x="2310" y="318"/>
                      </a:lnTo>
                      <a:lnTo>
                        <a:pt x="2313" y="331"/>
                      </a:lnTo>
                      <a:lnTo>
                        <a:pt x="2321" y="335"/>
                      </a:lnTo>
                      <a:lnTo>
                        <a:pt x="2327" y="331"/>
                      </a:lnTo>
                      <a:lnTo>
                        <a:pt x="2330" y="331"/>
                      </a:lnTo>
                      <a:lnTo>
                        <a:pt x="2335" y="335"/>
                      </a:lnTo>
                      <a:lnTo>
                        <a:pt x="2338" y="335"/>
                      </a:lnTo>
                      <a:lnTo>
                        <a:pt x="2343" y="331"/>
                      </a:lnTo>
                      <a:lnTo>
                        <a:pt x="2349" y="331"/>
                      </a:lnTo>
                      <a:lnTo>
                        <a:pt x="2343" y="343"/>
                      </a:lnTo>
                      <a:lnTo>
                        <a:pt x="2343" y="348"/>
                      </a:lnTo>
                      <a:lnTo>
                        <a:pt x="2354" y="351"/>
                      </a:lnTo>
                      <a:lnTo>
                        <a:pt x="2360" y="348"/>
                      </a:lnTo>
                      <a:lnTo>
                        <a:pt x="2366" y="351"/>
                      </a:lnTo>
                      <a:lnTo>
                        <a:pt x="2368" y="353"/>
                      </a:lnTo>
                      <a:lnTo>
                        <a:pt x="2360" y="356"/>
                      </a:lnTo>
                      <a:lnTo>
                        <a:pt x="2358" y="359"/>
                      </a:lnTo>
                      <a:lnTo>
                        <a:pt x="2366" y="368"/>
                      </a:lnTo>
                      <a:lnTo>
                        <a:pt x="2366" y="373"/>
                      </a:lnTo>
                      <a:lnTo>
                        <a:pt x="2368" y="376"/>
                      </a:lnTo>
                      <a:lnTo>
                        <a:pt x="2371" y="376"/>
                      </a:lnTo>
                      <a:lnTo>
                        <a:pt x="2374" y="368"/>
                      </a:lnTo>
                      <a:lnTo>
                        <a:pt x="2382" y="364"/>
                      </a:lnTo>
                      <a:lnTo>
                        <a:pt x="2382" y="359"/>
                      </a:lnTo>
                      <a:lnTo>
                        <a:pt x="2384" y="356"/>
                      </a:lnTo>
                      <a:lnTo>
                        <a:pt x="2387" y="356"/>
                      </a:lnTo>
                      <a:lnTo>
                        <a:pt x="2390" y="351"/>
                      </a:lnTo>
                      <a:lnTo>
                        <a:pt x="2393" y="353"/>
                      </a:lnTo>
                      <a:lnTo>
                        <a:pt x="2399" y="359"/>
                      </a:lnTo>
                      <a:lnTo>
                        <a:pt x="2404" y="359"/>
                      </a:lnTo>
                      <a:lnTo>
                        <a:pt x="2412" y="362"/>
                      </a:lnTo>
                      <a:lnTo>
                        <a:pt x="2415" y="359"/>
                      </a:lnTo>
                      <a:lnTo>
                        <a:pt x="2423" y="359"/>
                      </a:lnTo>
                      <a:lnTo>
                        <a:pt x="2423" y="362"/>
                      </a:lnTo>
                      <a:lnTo>
                        <a:pt x="2427" y="362"/>
                      </a:lnTo>
                      <a:lnTo>
                        <a:pt x="2423" y="364"/>
                      </a:lnTo>
                      <a:lnTo>
                        <a:pt x="2429" y="364"/>
                      </a:lnTo>
                      <a:lnTo>
                        <a:pt x="2432" y="359"/>
                      </a:lnTo>
                      <a:lnTo>
                        <a:pt x="2435" y="359"/>
                      </a:lnTo>
                      <a:lnTo>
                        <a:pt x="2435" y="353"/>
                      </a:lnTo>
                      <a:lnTo>
                        <a:pt x="2440" y="353"/>
                      </a:lnTo>
                      <a:lnTo>
                        <a:pt x="2443" y="351"/>
                      </a:lnTo>
                      <a:lnTo>
                        <a:pt x="2440" y="343"/>
                      </a:lnTo>
                      <a:lnTo>
                        <a:pt x="2448" y="340"/>
                      </a:lnTo>
                      <a:lnTo>
                        <a:pt x="2448" y="337"/>
                      </a:lnTo>
                      <a:lnTo>
                        <a:pt x="2451" y="337"/>
                      </a:lnTo>
                      <a:lnTo>
                        <a:pt x="2453" y="337"/>
                      </a:lnTo>
                      <a:lnTo>
                        <a:pt x="2456" y="335"/>
                      </a:lnTo>
                      <a:lnTo>
                        <a:pt x="2462" y="337"/>
                      </a:lnTo>
                      <a:lnTo>
                        <a:pt x="2468" y="335"/>
                      </a:lnTo>
                      <a:lnTo>
                        <a:pt x="2470" y="337"/>
                      </a:lnTo>
                      <a:lnTo>
                        <a:pt x="2468" y="340"/>
                      </a:lnTo>
                      <a:lnTo>
                        <a:pt x="2473" y="343"/>
                      </a:lnTo>
                      <a:lnTo>
                        <a:pt x="2476" y="340"/>
                      </a:lnTo>
                      <a:lnTo>
                        <a:pt x="2481" y="343"/>
                      </a:lnTo>
                      <a:lnTo>
                        <a:pt x="2487" y="340"/>
                      </a:lnTo>
                      <a:lnTo>
                        <a:pt x="2487" y="335"/>
                      </a:lnTo>
                      <a:lnTo>
                        <a:pt x="2484" y="335"/>
                      </a:lnTo>
                      <a:lnTo>
                        <a:pt x="2489" y="328"/>
                      </a:lnTo>
                      <a:lnTo>
                        <a:pt x="2496" y="328"/>
                      </a:lnTo>
                      <a:lnTo>
                        <a:pt x="2498" y="326"/>
                      </a:lnTo>
                      <a:lnTo>
                        <a:pt x="2498" y="331"/>
                      </a:lnTo>
                      <a:lnTo>
                        <a:pt x="2501" y="331"/>
                      </a:lnTo>
                      <a:lnTo>
                        <a:pt x="2501" y="328"/>
                      </a:lnTo>
                      <a:lnTo>
                        <a:pt x="2504" y="326"/>
                      </a:lnTo>
                      <a:lnTo>
                        <a:pt x="2506" y="328"/>
                      </a:lnTo>
                      <a:lnTo>
                        <a:pt x="2506" y="331"/>
                      </a:lnTo>
                      <a:lnTo>
                        <a:pt x="2509" y="328"/>
                      </a:lnTo>
                      <a:lnTo>
                        <a:pt x="2509" y="326"/>
                      </a:lnTo>
                      <a:lnTo>
                        <a:pt x="2509" y="323"/>
                      </a:lnTo>
                      <a:lnTo>
                        <a:pt x="2514" y="323"/>
                      </a:lnTo>
                      <a:lnTo>
                        <a:pt x="2514" y="320"/>
                      </a:lnTo>
                      <a:lnTo>
                        <a:pt x="2517" y="323"/>
                      </a:lnTo>
                      <a:lnTo>
                        <a:pt x="2522" y="320"/>
                      </a:lnTo>
                      <a:lnTo>
                        <a:pt x="2525" y="318"/>
                      </a:lnTo>
                      <a:lnTo>
                        <a:pt x="2529" y="318"/>
                      </a:lnTo>
                      <a:lnTo>
                        <a:pt x="2534" y="315"/>
                      </a:lnTo>
                      <a:lnTo>
                        <a:pt x="2539" y="315"/>
                      </a:lnTo>
                      <a:lnTo>
                        <a:pt x="2539" y="310"/>
                      </a:lnTo>
                      <a:lnTo>
                        <a:pt x="2539" y="307"/>
                      </a:lnTo>
                      <a:lnTo>
                        <a:pt x="2542" y="307"/>
                      </a:lnTo>
                      <a:lnTo>
                        <a:pt x="2545" y="307"/>
                      </a:lnTo>
                      <a:lnTo>
                        <a:pt x="2548" y="307"/>
                      </a:lnTo>
                      <a:lnTo>
                        <a:pt x="2548" y="310"/>
                      </a:lnTo>
                      <a:lnTo>
                        <a:pt x="2550" y="310"/>
                      </a:lnTo>
                      <a:lnTo>
                        <a:pt x="2550" y="307"/>
                      </a:lnTo>
                      <a:lnTo>
                        <a:pt x="2556" y="301"/>
                      </a:lnTo>
                      <a:lnTo>
                        <a:pt x="2561" y="301"/>
                      </a:lnTo>
                      <a:lnTo>
                        <a:pt x="2565" y="295"/>
                      </a:lnTo>
                      <a:lnTo>
                        <a:pt x="2573" y="292"/>
                      </a:lnTo>
                      <a:lnTo>
                        <a:pt x="2573" y="290"/>
                      </a:lnTo>
                      <a:lnTo>
                        <a:pt x="2578" y="284"/>
                      </a:lnTo>
                      <a:lnTo>
                        <a:pt x="2583" y="282"/>
                      </a:lnTo>
                      <a:lnTo>
                        <a:pt x="2586" y="276"/>
                      </a:lnTo>
                      <a:lnTo>
                        <a:pt x="2591" y="276"/>
                      </a:lnTo>
                      <a:lnTo>
                        <a:pt x="2591" y="279"/>
                      </a:lnTo>
                      <a:lnTo>
                        <a:pt x="2591" y="282"/>
                      </a:lnTo>
                      <a:lnTo>
                        <a:pt x="2594" y="279"/>
                      </a:lnTo>
                      <a:lnTo>
                        <a:pt x="2594" y="282"/>
                      </a:lnTo>
                      <a:lnTo>
                        <a:pt x="2594" y="284"/>
                      </a:lnTo>
                      <a:lnTo>
                        <a:pt x="2603" y="282"/>
                      </a:lnTo>
                      <a:lnTo>
                        <a:pt x="2603" y="279"/>
                      </a:lnTo>
                      <a:lnTo>
                        <a:pt x="2603" y="276"/>
                      </a:lnTo>
                      <a:lnTo>
                        <a:pt x="2606" y="276"/>
                      </a:lnTo>
                      <a:lnTo>
                        <a:pt x="2606" y="274"/>
                      </a:lnTo>
                      <a:lnTo>
                        <a:pt x="2608" y="268"/>
                      </a:lnTo>
                      <a:lnTo>
                        <a:pt x="2611" y="268"/>
                      </a:lnTo>
                      <a:lnTo>
                        <a:pt x="2611" y="263"/>
                      </a:lnTo>
                      <a:lnTo>
                        <a:pt x="2617" y="259"/>
                      </a:lnTo>
                      <a:lnTo>
                        <a:pt x="2614" y="257"/>
                      </a:lnTo>
                      <a:lnTo>
                        <a:pt x="2617" y="257"/>
                      </a:lnTo>
                      <a:lnTo>
                        <a:pt x="2644" y="241"/>
                      </a:lnTo>
                      <a:lnTo>
                        <a:pt x="2691" y="243"/>
                      </a:lnTo>
                      <a:lnTo>
                        <a:pt x="2755" y="243"/>
                      </a:lnTo>
                      <a:lnTo>
                        <a:pt x="2765" y="243"/>
                      </a:lnTo>
                      <a:lnTo>
                        <a:pt x="2765" y="232"/>
                      </a:lnTo>
                      <a:lnTo>
                        <a:pt x="2768" y="230"/>
                      </a:lnTo>
                      <a:lnTo>
                        <a:pt x="2772" y="226"/>
                      </a:lnTo>
                      <a:lnTo>
                        <a:pt x="2774" y="226"/>
                      </a:lnTo>
                      <a:lnTo>
                        <a:pt x="2780" y="180"/>
                      </a:lnTo>
                      <a:lnTo>
                        <a:pt x="2782" y="182"/>
                      </a:lnTo>
                      <a:lnTo>
                        <a:pt x="2782" y="188"/>
                      </a:lnTo>
                      <a:lnTo>
                        <a:pt x="2782" y="190"/>
                      </a:lnTo>
                      <a:lnTo>
                        <a:pt x="2785" y="190"/>
                      </a:lnTo>
                      <a:lnTo>
                        <a:pt x="2788" y="194"/>
                      </a:lnTo>
                      <a:lnTo>
                        <a:pt x="2793" y="190"/>
                      </a:lnTo>
                      <a:lnTo>
                        <a:pt x="2796" y="194"/>
                      </a:lnTo>
                      <a:lnTo>
                        <a:pt x="2796" y="190"/>
                      </a:lnTo>
                      <a:lnTo>
                        <a:pt x="2796" y="197"/>
                      </a:lnTo>
                      <a:lnTo>
                        <a:pt x="2801" y="199"/>
                      </a:lnTo>
                      <a:lnTo>
                        <a:pt x="2798" y="205"/>
                      </a:lnTo>
                      <a:lnTo>
                        <a:pt x="2801" y="205"/>
                      </a:lnTo>
                      <a:lnTo>
                        <a:pt x="2798" y="207"/>
                      </a:lnTo>
                      <a:lnTo>
                        <a:pt x="2801" y="210"/>
                      </a:lnTo>
                      <a:lnTo>
                        <a:pt x="2798" y="213"/>
                      </a:lnTo>
                      <a:lnTo>
                        <a:pt x="2801" y="215"/>
                      </a:lnTo>
                      <a:lnTo>
                        <a:pt x="2801" y="218"/>
                      </a:lnTo>
                      <a:lnTo>
                        <a:pt x="2801" y="226"/>
                      </a:lnTo>
                      <a:lnTo>
                        <a:pt x="2798" y="230"/>
                      </a:lnTo>
                      <a:lnTo>
                        <a:pt x="2798" y="232"/>
                      </a:lnTo>
                      <a:lnTo>
                        <a:pt x="2798" y="238"/>
                      </a:lnTo>
                      <a:lnTo>
                        <a:pt x="2796" y="241"/>
                      </a:lnTo>
                      <a:lnTo>
                        <a:pt x="2798" y="243"/>
                      </a:lnTo>
                      <a:lnTo>
                        <a:pt x="2796" y="249"/>
                      </a:lnTo>
                      <a:lnTo>
                        <a:pt x="2801" y="251"/>
                      </a:lnTo>
                      <a:lnTo>
                        <a:pt x="2813" y="249"/>
                      </a:lnTo>
                      <a:lnTo>
                        <a:pt x="2813" y="246"/>
                      </a:lnTo>
                      <a:lnTo>
                        <a:pt x="2824" y="246"/>
                      </a:lnTo>
                      <a:lnTo>
                        <a:pt x="2832" y="243"/>
                      </a:lnTo>
                      <a:lnTo>
                        <a:pt x="2834" y="241"/>
                      </a:lnTo>
                      <a:lnTo>
                        <a:pt x="2838" y="243"/>
                      </a:lnTo>
                      <a:lnTo>
                        <a:pt x="2851" y="238"/>
                      </a:lnTo>
                      <a:lnTo>
                        <a:pt x="2851" y="241"/>
                      </a:lnTo>
                      <a:lnTo>
                        <a:pt x="2859" y="238"/>
                      </a:lnTo>
                      <a:lnTo>
                        <a:pt x="2870" y="238"/>
                      </a:lnTo>
                      <a:lnTo>
                        <a:pt x="2874" y="235"/>
                      </a:lnTo>
                      <a:lnTo>
                        <a:pt x="2876" y="232"/>
                      </a:lnTo>
                      <a:lnTo>
                        <a:pt x="2876" y="230"/>
                      </a:lnTo>
                      <a:lnTo>
                        <a:pt x="2884" y="226"/>
                      </a:lnTo>
                      <a:lnTo>
                        <a:pt x="2890" y="230"/>
                      </a:lnTo>
                      <a:lnTo>
                        <a:pt x="2901" y="223"/>
                      </a:lnTo>
                      <a:lnTo>
                        <a:pt x="2903" y="221"/>
                      </a:lnTo>
                      <a:lnTo>
                        <a:pt x="2903" y="226"/>
                      </a:lnTo>
                      <a:lnTo>
                        <a:pt x="2898" y="238"/>
                      </a:lnTo>
                      <a:lnTo>
                        <a:pt x="2893" y="241"/>
                      </a:lnTo>
                      <a:lnTo>
                        <a:pt x="2887" y="246"/>
                      </a:lnTo>
                      <a:lnTo>
                        <a:pt x="2882" y="246"/>
                      </a:lnTo>
                      <a:lnTo>
                        <a:pt x="2879" y="249"/>
                      </a:lnTo>
                      <a:lnTo>
                        <a:pt x="2870" y="251"/>
                      </a:lnTo>
                      <a:lnTo>
                        <a:pt x="2867" y="254"/>
                      </a:lnTo>
                      <a:lnTo>
                        <a:pt x="2865" y="254"/>
                      </a:lnTo>
                      <a:lnTo>
                        <a:pt x="2862" y="257"/>
                      </a:lnTo>
                      <a:lnTo>
                        <a:pt x="2859" y="257"/>
                      </a:lnTo>
                      <a:lnTo>
                        <a:pt x="2854" y="254"/>
                      </a:lnTo>
                      <a:lnTo>
                        <a:pt x="2851" y="254"/>
                      </a:lnTo>
                      <a:lnTo>
                        <a:pt x="2849" y="254"/>
                      </a:lnTo>
                      <a:lnTo>
                        <a:pt x="2846" y="257"/>
                      </a:lnTo>
                      <a:lnTo>
                        <a:pt x="2838" y="259"/>
                      </a:lnTo>
                      <a:lnTo>
                        <a:pt x="2838" y="266"/>
                      </a:lnTo>
                      <a:lnTo>
                        <a:pt x="2834" y="268"/>
                      </a:lnTo>
                      <a:lnTo>
                        <a:pt x="2834" y="271"/>
                      </a:lnTo>
                      <a:lnTo>
                        <a:pt x="2834" y="274"/>
                      </a:lnTo>
                      <a:lnTo>
                        <a:pt x="2832" y="276"/>
                      </a:lnTo>
                      <a:lnTo>
                        <a:pt x="2829" y="282"/>
                      </a:lnTo>
                      <a:lnTo>
                        <a:pt x="2826" y="287"/>
                      </a:lnTo>
                      <a:lnTo>
                        <a:pt x="2818" y="295"/>
                      </a:lnTo>
                      <a:lnTo>
                        <a:pt x="2821" y="301"/>
                      </a:lnTo>
                      <a:lnTo>
                        <a:pt x="2824" y="307"/>
                      </a:lnTo>
                      <a:lnTo>
                        <a:pt x="2826" y="307"/>
                      </a:lnTo>
                      <a:lnTo>
                        <a:pt x="2829" y="310"/>
                      </a:lnTo>
                      <a:lnTo>
                        <a:pt x="2829" y="318"/>
                      </a:lnTo>
                      <a:lnTo>
                        <a:pt x="2824" y="320"/>
                      </a:lnTo>
                      <a:lnTo>
                        <a:pt x="2826" y="326"/>
                      </a:lnTo>
                      <a:lnTo>
                        <a:pt x="2821" y="328"/>
                      </a:lnTo>
                      <a:lnTo>
                        <a:pt x="2824" y="331"/>
                      </a:lnTo>
                      <a:lnTo>
                        <a:pt x="2826" y="331"/>
                      </a:lnTo>
                      <a:lnTo>
                        <a:pt x="2826" y="337"/>
                      </a:lnTo>
                      <a:lnTo>
                        <a:pt x="2826" y="340"/>
                      </a:lnTo>
                      <a:lnTo>
                        <a:pt x="2821" y="343"/>
                      </a:lnTo>
                      <a:lnTo>
                        <a:pt x="2821" y="348"/>
                      </a:lnTo>
                      <a:lnTo>
                        <a:pt x="2818" y="356"/>
                      </a:lnTo>
                      <a:lnTo>
                        <a:pt x="2816" y="359"/>
                      </a:lnTo>
                      <a:lnTo>
                        <a:pt x="2816" y="362"/>
                      </a:lnTo>
                      <a:lnTo>
                        <a:pt x="2826" y="362"/>
                      </a:lnTo>
                      <a:lnTo>
                        <a:pt x="2826" y="368"/>
                      </a:lnTo>
                      <a:lnTo>
                        <a:pt x="2826" y="373"/>
                      </a:lnTo>
                      <a:lnTo>
                        <a:pt x="2821" y="381"/>
                      </a:lnTo>
                      <a:lnTo>
                        <a:pt x="2829" y="387"/>
                      </a:lnTo>
                      <a:lnTo>
                        <a:pt x="2832" y="387"/>
                      </a:lnTo>
                      <a:lnTo>
                        <a:pt x="2832" y="392"/>
                      </a:lnTo>
                      <a:lnTo>
                        <a:pt x="2834" y="400"/>
                      </a:lnTo>
                      <a:lnTo>
                        <a:pt x="2838" y="400"/>
                      </a:lnTo>
                      <a:lnTo>
                        <a:pt x="2841" y="400"/>
                      </a:lnTo>
                      <a:lnTo>
                        <a:pt x="2851" y="395"/>
                      </a:lnTo>
                      <a:lnTo>
                        <a:pt x="2859" y="387"/>
                      </a:lnTo>
                      <a:lnTo>
                        <a:pt x="2865" y="389"/>
                      </a:lnTo>
                      <a:lnTo>
                        <a:pt x="2879" y="387"/>
                      </a:lnTo>
                      <a:lnTo>
                        <a:pt x="2895" y="376"/>
                      </a:lnTo>
                      <a:lnTo>
                        <a:pt x="2898" y="373"/>
                      </a:lnTo>
                      <a:lnTo>
                        <a:pt x="2903" y="373"/>
                      </a:lnTo>
                      <a:lnTo>
                        <a:pt x="2910" y="371"/>
                      </a:lnTo>
                      <a:lnTo>
                        <a:pt x="2923" y="364"/>
                      </a:lnTo>
                      <a:lnTo>
                        <a:pt x="2928" y="368"/>
                      </a:lnTo>
                      <a:lnTo>
                        <a:pt x="2931" y="371"/>
                      </a:lnTo>
                      <a:lnTo>
                        <a:pt x="2931" y="373"/>
                      </a:lnTo>
                      <a:lnTo>
                        <a:pt x="2928" y="384"/>
                      </a:lnTo>
                      <a:lnTo>
                        <a:pt x="2915" y="392"/>
                      </a:lnTo>
                      <a:lnTo>
                        <a:pt x="2910" y="395"/>
                      </a:lnTo>
                      <a:lnTo>
                        <a:pt x="2903" y="406"/>
                      </a:lnTo>
                      <a:lnTo>
                        <a:pt x="2898" y="409"/>
                      </a:lnTo>
                      <a:lnTo>
                        <a:pt x="2895" y="412"/>
                      </a:lnTo>
                      <a:lnTo>
                        <a:pt x="2887" y="414"/>
                      </a:lnTo>
                      <a:lnTo>
                        <a:pt x="2879" y="417"/>
                      </a:lnTo>
                      <a:lnTo>
                        <a:pt x="2870" y="420"/>
                      </a:lnTo>
                      <a:lnTo>
                        <a:pt x="2862" y="422"/>
                      </a:lnTo>
                      <a:lnTo>
                        <a:pt x="2859" y="428"/>
                      </a:lnTo>
                      <a:lnTo>
                        <a:pt x="2851" y="433"/>
                      </a:lnTo>
                      <a:lnTo>
                        <a:pt x="2851" y="437"/>
                      </a:lnTo>
                      <a:lnTo>
                        <a:pt x="2851" y="440"/>
                      </a:lnTo>
                      <a:lnTo>
                        <a:pt x="2857" y="437"/>
                      </a:lnTo>
                      <a:lnTo>
                        <a:pt x="2859" y="442"/>
                      </a:lnTo>
                      <a:lnTo>
                        <a:pt x="2865" y="450"/>
                      </a:lnTo>
                      <a:lnTo>
                        <a:pt x="2865" y="453"/>
                      </a:lnTo>
                      <a:lnTo>
                        <a:pt x="2857" y="456"/>
                      </a:lnTo>
                      <a:lnTo>
                        <a:pt x="2857" y="458"/>
                      </a:lnTo>
                      <a:lnTo>
                        <a:pt x="2859" y="458"/>
                      </a:lnTo>
                      <a:lnTo>
                        <a:pt x="2859" y="464"/>
                      </a:lnTo>
                      <a:lnTo>
                        <a:pt x="2857" y="469"/>
                      </a:lnTo>
                      <a:lnTo>
                        <a:pt x="2851" y="475"/>
                      </a:lnTo>
                      <a:lnTo>
                        <a:pt x="2854" y="481"/>
                      </a:lnTo>
                      <a:lnTo>
                        <a:pt x="2851" y="486"/>
                      </a:lnTo>
                      <a:lnTo>
                        <a:pt x="2854" y="491"/>
                      </a:lnTo>
                      <a:lnTo>
                        <a:pt x="2857" y="494"/>
                      </a:lnTo>
                      <a:lnTo>
                        <a:pt x="2859" y="491"/>
                      </a:lnTo>
                      <a:lnTo>
                        <a:pt x="2862" y="494"/>
                      </a:lnTo>
                      <a:lnTo>
                        <a:pt x="2874" y="491"/>
                      </a:lnTo>
                      <a:lnTo>
                        <a:pt x="2882" y="499"/>
                      </a:lnTo>
                      <a:lnTo>
                        <a:pt x="2884" y="502"/>
                      </a:lnTo>
                      <a:lnTo>
                        <a:pt x="2874" y="514"/>
                      </a:lnTo>
                      <a:lnTo>
                        <a:pt x="2862" y="519"/>
                      </a:lnTo>
                      <a:lnTo>
                        <a:pt x="2859" y="525"/>
                      </a:lnTo>
                      <a:lnTo>
                        <a:pt x="2857" y="525"/>
                      </a:lnTo>
                      <a:lnTo>
                        <a:pt x="2851" y="530"/>
                      </a:lnTo>
                      <a:lnTo>
                        <a:pt x="2846" y="542"/>
                      </a:lnTo>
                      <a:lnTo>
                        <a:pt x="2843" y="544"/>
                      </a:lnTo>
                      <a:lnTo>
                        <a:pt x="2846" y="547"/>
                      </a:lnTo>
                      <a:lnTo>
                        <a:pt x="2851" y="550"/>
                      </a:lnTo>
                      <a:lnTo>
                        <a:pt x="2854" y="552"/>
                      </a:lnTo>
                      <a:lnTo>
                        <a:pt x="2854" y="555"/>
                      </a:lnTo>
                      <a:lnTo>
                        <a:pt x="2851" y="555"/>
                      </a:lnTo>
                      <a:lnTo>
                        <a:pt x="2841" y="563"/>
                      </a:lnTo>
                      <a:lnTo>
                        <a:pt x="2841" y="566"/>
                      </a:lnTo>
                      <a:lnTo>
                        <a:pt x="2846" y="568"/>
                      </a:lnTo>
                      <a:lnTo>
                        <a:pt x="2854" y="566"/>
                      </a:lnTo>
                      <a:lnTo>
                        <a:pt x="2859" y="578"/>
                      </a:lnTo>
                      <a:lnTo>
                        <a:pt x="2857" y="580"/>
                      </a:lnTo>
                      <a:lnTo>
                        <a:pt x="2838" y="586"/>
                      </a:lnTo>
                      <a:lnTo>
                        <a:pt x="2834" y="588"/>
                      </a:lnTo>
                      <a:lnTo>
                        <a:pt x="2843" y="594"/>
                      </a:lnTo>
                      <a:lnTo>
                        <a:pt x="2841" y="599"/>
                      </a:lnTo>
                      <a:lnTo>
                        <a:pt x="2841" y="602"/>
                      </a:lnTo>
                      <a:lnTo>
                        <a:pt x="2849" y="602"/>
                      </a:lnTo>
                      <a:lnTo>
                        <a:pt x="2854" y="607"/>
                      </a:lnTo>
                      <a:lnTo>
                        <a:pt x="2854" y="610"/>
                      </a:lnTo>
                      <a:lnTo>
                        <a:pt x="2854" y="613"/>
                      </a:lnTo>
                      <a:lnTo>
                        <a:pt x="2843" y="632"/>
                      </a:lnTo>
                      <a:lnTo>
                        <a:pt x="2843" y="643"/>
                      </a:lnTo>
                      <a:lnTo>
                        <a:pt x="2841" y="652"/>
                      </a:lnTo>
                      <a:lnTo>
                        <a:pt x="2854" y="660"/>
                      </a:lnTo>
                      <a:lnTo>
                        <a:pt x="2859" y="663"/>
                      </a:lnTo>
                      <a:lnTo>
                        <a:pt x="2862" y="665"/>
                      </a:lnTo>
                      <a:lnTo>
                        <a:pt x="2859" y="673"/>
                      </a:lnTo>
                      <a:lnTo>
                        <a:pt x="2865" y="679"/>
                      </a:lnTo>
                      <a:lnTo>
                        <a:pt x="2862" y="682"/>
                      </a:lnTo>
                      <a:lnTo>
                        <a:pt x="2857" y="693"/>
                      </a:lnTo>
                      <a:lnTo>
                        <a:pt x="2849" y="698"/>
                      </a:lnTo>
                      <a:lnTo>
                        <a:pt x="2851" y="698"/>
                      </a:lnTo>
                      <a:lnTo>
                        <a:pt x="2854" y="698"/>
                      </a:lnTo>
                      <a:lnTo>
                        <a:pt x="2857" y="704"/>
                      </a:lnTo>
                      <a:lnTo>
                        <a:pt x="2851" y="712"/>
                      </a:lnTo>
                      <a:lnTo>
                        <a:pt x="2849" y="712"/>
                      </a:lnTo>
                      <a:lnTo>
                        <a:pt x="2846" y="709"/>
                      </a:lnTo>
                      <a:lnTo>
                        <a:pt x="2841" y="714"/>
                      </a:lnTo>
                      <a:lnTo>
                        <a:pt x="2846" y="718"/>
                      </a:lnTo>
                      <a:lnTo>
                        <a:pt x="2854" y="718"/>
                      </a:lnTo>
                      <a:lnTo>
                        <a:pt x="2862" y="724"/>
                      </a:lnTo>
                      <a:lnTo>
                        <a:pt x="2867" y="724"/>
                      </a:lnTo>
                      <a:lnTo>
                        <a:pt x="2867" y="726"/>
                      </a:lnTo>
                      <a:lnTo>
                        <a:pt x="2867" y="734"/>
                      </a:lnTo>
                      <a:lnTo>
                        <a:pt x="2874" y="737"/>
                      </a:lnTo>
                      <a:lnTo>
                        <a:pt x="2887" y="740"/>
                      </a:lnTo>
                      <a:lnTo>
                        <a:pt x="2895" y="737"/>
                      </a:lnTo>
                      <a:lnTo>
                        <a:pt x="2901" y="740"/>
                      </a:lnTo>
                      <a:lnTo>
                        <a:pt x="2903" y="745"/>
                      </a:lnTo>
                      <a:lnTo>
                        <a:pt x="2901" y="754"/>
                      </a:lnTo>
                      <a:lnTo>
                        <a:pt x="2910" y="754"/>
                      </a:lnTo>
                      <a:lnTo>
                        <a:pt x="2910" y="759"/>
                      </a:lnTo>
                      <a:lnTo>
                        <a:pt x="2912" y="759"/>
                      </a:lnTo>
                      <a:lnTo>
                        <a:pt x="2918" y="757"/>
                      </a:lnTo>
                      <a:lnTo>
                        <a:pt x="2923" y="754"/>
                      </a:lnTo>
                      <a:lnTo>
                        <a:pt x="2928" y="759"/>
                      </a:lnTo>
                      <a:lnTo>
                        <a:pt x="2923" y="770"/>
                      </a:lnTo>
                      <a:lnTo>
                        <a:pt x="2931" y="775"/>
                      </a:lnTo>
                      <a:lnTo>
                        <a:pt x="2936" y="775"/>
                      </a:lnTo>
                      <a:lnTo>
                        <a:pt x="2939" y="781"/>
                      </a:lnTo>
                      <a:lnTo>
                        <a:pt x="2939" y="783"/>
                      </a:lnTo>
                      <a:lnTo>
                        <a:pt x="2943" y="783"/>
                      </a:lnTo>
                      <a:lnTo>
                        <a:pt x="2945" y="781"/>
                      </a:lnTo>
                      <a:lnTo>
                        <a:pt x="2951" y="781"/>
                      </a:lnTo>
                      <a:lnTo>
                        <a:pt x="2953" y="783"/>
                      </a:lnTo>
                      <a:lnTo>
                        <a:pt x="2951" y="790"/>
                      </a:lnTo>
                      <a:lnTo>
                        <a:pt x="2959" y="790"/>
                      </a:lnTo>
                      <a:lnTo>
                        <a:pt x="2964" y="793"/>
                      </a:lnTo>
                      <a:lnTo>
                        <a:pt x="2967" y="809"/>
                      </a:lnTo>
                      <a:lnTo>
                        <a:pt x="2970" y="811"/>
                      </a:lnTo>
                      <a:lnTo>
                        <a:pt x="2972" y="817"/>
                      </a:lnTo>
                      <a:lnTo>
                        <a:pt x="2979" y="819"/>
                      </a:lnTo>
                      <a:lnTo>
                        <a:pt x="2984" y="819"/>
                      </a:lnTo>
                      <a:lnTo>
                        <a:pt x="2987" y="823"/>
                      </a:lnTo>
                      <a:lnTo>
                        <a:pt x="2984" y="828"/>
                      </a:lnTo>
                      <a:lnTo>
                        <a:pt x="2984" y="831"/>
                      </a:lnTo>
                      <a:lnTo>
                        <a:pt x="2981" y="834"/>
                      </a:lnTo>
                      <a:lnTo>
                        <a:pt x="2979" y="836"/>
                      </a:lnTo>
                      <a:lnTo>
                        <a:pt x="2979" y="845"/>
                      </a:lnTo>
                      <a:lnTo>
                        <a:pt x="2976" y="847"/>
                      </a:lnTo>
                      <a:lnTo>
                        <a:pt x="2970" y="847"/>
                      </a:lnTo>
                      <a:lnTo>
                        <a:pt x="2964" y="853"/>
                      </a:lnTo>
                      <a:lnTo>
                        <a:pt x="2962" y="853"/>
                      </a:lnTo>
                      <a:lnTo>
                        <a:pt x="2959" y="856"/>
                      </a:lnTo>
                      <a:lnTo>
                        <a:pt x="2951" y="853"/>
                      </a:lnTo>
                      <a:lnTo>
                        <a:pt x="2945" y="845"/>
                      </a:lnTo>
                      <a:lnTo>
                        <a:pt x="2943" y="847"/>
                      </a:lnTo>
                      <a:lnTo>
                        <a:pt x="2943" y="850"/>
                      </a:lnTo>
                      <a:lnTo>
                        <a:pt x="2945" y="850"/>
                      </a:lnTo>
                      <a:lnTo>
                        <a:pt x="2945" y="853"/>
                      </a:lnTo>
                      <a:lnTo>
                        <a:pt x="2948" y="856"/>
                      </a:lnTo>
                      <a:lnTo>
                        <a:pt x="2948" y="862"/>
                      </a:lnTo>
                      <a:lnTo>
                        <a:pt x="2945" y="864"/>
                      </a:lnTo>
                      <a:lnTo>
                        <a:pt x="2943" y="870"/>
                      </a:lnTo>
                      <a:lnTo>
                        <a:pt x="2945" y="872"/>
                      </a:lnTo>
                      <a:lnTo>
                        <a:pt x="2951" y="878"/>
                      </a:lnTo>
                      <a:lnTo>
                        <a:pt x="2951" y="880"/>
                      </a:lnTo>
                      <a:lnTo>
                        <a:pt x="2951" y="883"/>
                      </a:lnTo>
                      <a:lnTo>
                        <a:pt x="2948" y="886"/>
                      </a:lnTo>
                      <a:lnTo>
                        <a:pt x="2951" y="886"/>
                      </a:lnTo>
                      <a:lnTo>
                        <a:pt x="2948" y="888"/>
                      </a:lnTo>
                      <a:lnTo>
                        <a:pt x="2951" y="892"/>
                      </a:lnTo>
                      <a:lnTo>
                        <a:pt x="2956" y="897"/>
                      </a:lnTo>
                      <a:lnTo>
                        <a:pt x="2959" y="900"/>
                      </a:lnTo>
                      <a:lnTo>
                        <a:pt x="2956" y="903"/>
                      </a:lnTo>
                      <a:lnTo>
                        <a:pt x="2951" y="900"/>
                      </a:lnTo>
                      <a:lnTo>
                        <a:pt x="2953" y="905"/>
                      </a:lnTo>
                      <a:lnTo>
                        <a:pt x="2951" y="905"/>
                      </a:lnTo>
                      <a:lnTo>
                        <a:pt x="2953" y="908"/>
                      </a:lnTo>
                      <a:lnTo>
                        <a:pt x="2953" y="911"/>
                      </a:lnTo>
                      <a:lnTo>
                        <a:pt x="2951" y="911"/>
                      </a:lnTo>
                      <a:lnTo>
                        <a:pt x="2953" y="911"/>
                      </a:lnTo>
                      <a:lnTo>
                        <a:pt x="2956" y="913"/>
                      </a:lnTo>
                      <a:lnTo>
                        <a:pt x="2953" y="922"/>
                      </a:lnTo>
                      <a:lnTo>
                        <a:pt x="2948" y="924"/>
                      </a:lnTo>
                      <a:lnTo>
                        <a:pt x="2956" y="933"/>
                      </a:lnTo>
                      <a:lnTo>
                        <a:pt x="2956" y="936"/>
                      </a:lnTo>
                      <a:lnTo>
                        <a:pt x="2951" y="941"/>
                      </a:lnTo>
                      <a:lnTo>
                        <a:pt x="2953" y="944"/>
                      </a:lnTo>
                      <a:lnTo>
                        <a:pt x="2953" y="949"/>
                      </a:lnTo>
                      <a:lnTo>
                        <a:pt x="2948" y="952"/>
                      </a:lnTo>
                      <a:lnTo>
                        <a:pt x="2945" y="952"/>
                      </a:lnTo>
                      <a:lnTo>
                        <a:pt x="2945" y="949"/>
                      </a:lnTo>
                      <a:lnTo>
                        <a:pt x="2945" y="952"/>
                      </a:lnTo>
                      <a:lnTo>
                        <a:pt x="2939" y="952"/>
                      </a:lnTo>
                      <a:lnTo>
                        <a:pt x="2939" y="955"/>
                      </a:lnTo>
                      <a:lnTo>
                        <a:pt x="2939" y="957"/>
                      </a:lnTo>
                      <a:lnTo>
                        <a:pt x="2936" y="961"/>
                      </a:lnTo>
                      <a:lnTo>
                        <a:pt x="2939" y="964"/>
                      </a:lnTo>
                      <a:lnTo>
                        <a:pt x="2945" y="969"/>
                      </a:lnTo>
                      <a:lnTo>
                        <a:pt x="2948" y="969"/>
                      </a:lnTo>
                      <a:lnTo>
                        <a:pt x="2948" y="972"/>
                      </a:lnTo>
                      <a:lnTo>
                        <a:pt x="2948" y="980"/>
                      </a:lnTo>
                      <a:lnTo>
                        <a:pt x="2945" y="980"/>
                      </a:lnTo>
                      <a:lnTo>
                        <a:pt x="2945" y="985"/>
                      </a:lnTo>
                      <a:lnTo>
                        <a:pt x="2945" y="993"/>
                      </a:lnTo>
                      <a:lnTo>
                        <a:pt x="2945" y="997"/>
                      </a:lnTo>
                      <a:lnTo>
                        <a:pt x="2945" y="1000"/>
                      </a:lnTo>
                      <a:lnTo>
                        <a:pt x="2945" y="1008"/>
                      </a:lnTo>
                      <a:lnTo>
                        <a:pt x="2943" y="1010"/>
                      </a:lnTo>
                      <a:lnTo>
                        <a:pt x="2939" y="1013"/>
                      </a:lnTo>
                      <a:lnTo>
                        <a:pt x="2939" y="1016"/>
                      </a:lnTo>
                      <a:lnTo>
                        <a:pt x="2934" y="1018"/>
                      </a:lnTo>
                      <a:lnTo>
                        <a:pt x="2928" y="1021"/>
                      </a:lnTo>
                      <a:lnTo>
                        <a:pt x="2928" y="1024"/>
                      </a:lnTo>
                      <a:lnTo>
                        <a:pt x="2931" y="1024"/>
                      </a:lnTo>
                      <a:lnTo>
                        <a:pt x="2936" y="1033"/>
                      </a:lnTo>
                      <a:lnTo>
                        <a:pt x="2934" y="1041"/>
                      </a:lnTo>
                      <a:lnTo>
                        <a:pt x="2931" y="1041"/>
                      </a:lnTo>
                      <a:lnTo>
                        <a:pt x="2928" y="1046"/>
                      </a:lnTo>
                      <a:lnTo>
                        <a:pt x="2923" y="1054"/>
                      </a:lnTo>
                      <a:lnTo>
                        <a:pt x="2918" y="1051"/>
                      </a:lnTo>
                      <a:lnTo>
                        <a:pt x="2915" y="1062"/>
                      </a:lnTo>
                      <a:lnTo>
                        <a:pt x="2912" y="1066"/>
                      </a:lnTo>
                      <a:lnTo>
                        <a:pt x="2907" y="1066"/>
                      </a:lnTo>
                      <a:lnTo>
                        <a:pt x="2903" y="1066"/>
                      </a:lnTo>
                      <a:lnTo>
                        <a:pt x="2901" y="1059"/>
                      </a:lnTo>
                      <a:lnTo>
                        <a:pt x="2895" y="1059"/>
                      </a:lnTo>
                      <a:lnTo>
                        <a:pt x="2893" y="1062"/>
                      </a:lnTo>
                      <a:lnTo>
                        <a:pt x="2890" y="1062"/>
                      </a:lnTo>
                      <a:lnTo>
                        <a:pt x="2884" y="1057"/>
                      </a:lnTo>
                      <a:lnTo>
                        <a:pt x="2884" y="1054"/>
                      </a:lnTo>
                      <a:lnTo>
                        <a:pt x="2882" y="1054"/>
                      </a:lnTo>
                      <a:lnTo>
                        <a:pt x="2884" y="1062"/>
                      </a:lnTo>
                      <a:lnTo>
                        <a:pt x="2876" y="1071"/>
                      </a:lnTo>
                      <a:lnTo>
                        <a:pt x="2865" y="1066"/>
                      </a:lnTo>
                      <a:lnTo>
                        <a:pt x="2862" y="1066"/>
                      </a:lnTo>
                      <a:lnTo>
                        <a:pt x="2862" y="1069"/>
                      </a:lnTo>
                      <a:lnTo>
                        <a:pt x="2857" y="1069"/>
                      </a:lnTo>
                      <a:lnTo>
                        <a:pt x="2854" y="1059"/>
                      </a:lnTo>
                      <a:lnTo>
                        <a:pt x="2849" y="1059"/>
                      </a:lnTo>
                      <a:lnTo>
                        <a:pt x="2843" y="1062"/>
                      </a:lnTo>
                      <a:lnTo>
                        <a:pt x="2832" y="1062"/>
                      </a:lnTo>
                      <a:lnTo>
                        <a:pt x="2829" y="1059"/>
                      </a:lnTo>
                      <a:lnTo>
                        <a:pt x="2829" y="1054"/>
                      </a:lnTo>
                      <a:lnTo>
                        <a:pt x="2824" y="1054"/>
                      </a:lnTo>
                      <a:lnTo>
                        <a:pt x="2821" y="1051"/>
                      </a:lnTo>
                      <a:lnTo>
                        <a:pt x="2818" y="1051"/>
                      </a:lnTo>
                      <a:lnTo>
                        <a:pt x="2821" y="1046"/>
                      </a:lnTo>
                      <a:lnTo>
                        <a:pt x="2821" y="1043"/>
                      </a:lnTo>
                      <a:lnTo>
                        <a:pt x="2824" y="1041"/>
                      </a:lnTo>
                      <a:lnTo>
                        <a:pt x="2826" y="1033"/>
                      </a:lnTo>
                      <a:lnTo>
                        <a:pt x="2821" y="1033"/>
                      </a:lnTo>
                      <a:lnTo>
                        <a:pt x="2818" y="1029"/>
                      </a:lnTo>
                      <a:lnTo>
                        <a:pt x="2818" y="1024"/>
                      </a:lnTo>
                      <a:lnTo>
                        <a:pt x="2818" y="1016"/>
                      </a:lnTo>
                      <a:lnTo>
                        <a:pt x="2813" y="1016"/>
                      </a:lnTo>
                      <a:lnTo>
                        <a:pt x="2813" y="1010"/>
                      </a:lnTo>
                      <a:lnTo>
                        <a:pt x="2805" y="1008"/>
                      </a:lnTo>
                      <a:lnTo>
                        <a:pt x="2801" y="1008"/>
                      </a:lnTo>
                      <a:lnTo>
                        <a:pt x="2798" y="1005"/>
                      </a:lnTo>
                      <a:lnTo>
                        <a:pt x="2796" y="1005"/>
                      </a:lnTo>
                      <a:lnTo>
                        <a:pt x="2785" y="993"/>
                      </a:lnTo>
                      <a:lnTo>
                        <a:pt x="2774" y="988"/>
                      </a:lnTo>
                      <a:lnTo>
                        <a:pt x="2768" y="980"/>
                      </a:lnTo>
                      <a:lnTo>
                        <a:pt x="2760" y="980"/>
                      </a:lnTo>
                      <a:lnTo>
                        <a:pt x="2757" y="972"/>
                      </a:lnTo>
                      <a:lnTo>
                        <a:pt x="2757" y="969"/>
                      </a:lnTo>
                      <a:lnTo>
                        <a:pt x="2749" y="972"/>
                      </a:lnTo>
                      <a:lnTo>
                        <a:pt x="2744" y="969"/>
                      </a:lnTo>
                      <a:lnTo>
                        <a:pt x="2741" y="974"/>
                      </a:lnTo>
                      <a:lnTo>
                        <a:pt x="2744" y="980"/>
                      </a:lnTo>
                      <a:lnTo>
                        <a:pt x="2741" y="982"/>
                      </a:lnTo>
                      <a:lnTo>
                        <a:pt x="2738" y="985"/>
                      </a:lnTo>
                      <a:lnTo>
                        <a:pt x="2729" y="988"/>
                      </a:lnTo>
                      <a:lnTo>
                        <a:pt x="2727" y="988"/>
                      </a:lnTo>
                      <a:lnTo>
                        <a:pt x="2727" y="997"/>
                      </a:lnTo>
                      <a:lnTo>
                        <a:pt x="2719" y="1002"/>
                      </a:lnTo>
                      <a:lnTo>
                        <a:pt x="2719" y="1008"/>
                      </a:lnTo>
                      <a:lnTo>
                        <a:pt x="2721" y="1013"/>
                      </a:lnTo>
                      <a:lnTo>
                        <a:pt x="2721" y="1016"/>
                      </a:lnTo>
                      <a:lnTo>
                        <a:pt x="2721" y="1018"/>
                      </a:lnTo>
                      <a:lnTo>
                        <a:pt x="2729" y="1021"/>
                      </a:lnTo>
                      <a:lnTo>
                        <a:pt x="2732" y="1021"/>
                      </a:lnTo>
                      <a:lnTo>
                        <a:pt x="2738" y="1029"/>
                      </a:lnTo>
                      <a:lnTo>
                        <a:pt x="2732" y="1043"/>
                      </a:lnTo>
                      <a:lnTo>
                        <a:pt x="2729" y="1049"/>
                      </a:lnTo>
                      <a:lnTo>
                        <a:pt x="2727" y="1062"/>
                      </a:lnTo>
                      <a:lnTo>
                        <a:pt x="2729" y="1069"/>
                      </a:lnTo>
                      <a:lnTo>
                        <a:pt x="2729" y="1074"/>
                      </a:lnTo>
                      <a:lnTo>
                        <a:pt x="2732" y="1077"/>
                      </a:lnTo>
                      <a:lnTo>
                        <a:pt x="2738" y="1079"/>
                      </a:lnTo>
                      <a:lnTo>
                        <a:pt x="2738" y="1082"/>
                      </a:lnTo>
                      <a:lnTo>
                        <a:pt x="2738" y="1085"/>
                      </a:lnTo>
                      <a:lnTo>
                        <a:pt x="2736" y="1087"/>
                      </a:lnTo>
                      <a:lnTo>
                        <a:pt x="2732" y="1095"/>
                      </a:lnTo>
                      <a:lnTo>
                        <a:pt x="2738" y="1098"/>
                      </a:lnTo>
                      <a:lnTo>
                        <a:pt x="2738" y="1102"/>
                      </a:lnTo>
                      <a:lnTo>
                        <a:pt x="2741" y="1104"/>
                      </a:lnTo>
                      <a:lnTo>
                        <a:pt x="2744" y="1115"/>
                      </a:lnTo>
                      <a:lnTo>
                        <a:pt x="2741" y="1118"/>
                      </a:lnTo>
                      <a:lnTo>
                        <a:pt x="2736" y="1115"/>
                      </a:lnTo>
                      <a:lnTo>
                        <a:pt x="2732" y="1115"/>
                      </a:lnTo>
                      <a:lnTo>
                        <a:pt x="2727" y="1120"/>
                      </a:lnTo>
                      <a:lnTo>
                        <a:pt x="2724" y="1120"/>
                      </a:lnTo>
                      <a:lnTo>
                        <a:pt x="2721" y="1123"/>
                      </a:lnTo>
                      <a:lnTo>
                        <a:pt x="2716" y="1128"/>
                      </a:lnTo>
                      <a:lnTo>
                        <a:pt x="2711" y="1126"/>
                      </a:lnTo>
                      <a:lnTo>
                        <a:pt x="2705" y="1128"/>
                      </a:lnTo>
                      <a:lnTo>
                        <a:pt x="2703" y="1128"/>
                      </a:lnTo>
                      <a:lnTo>
                        <a:pt x="2694" y="1131"/>
                      </a:lnTo>
                      <a:lnTo>
                        <a:pt x="2688" y="1128"/>
                      </a:lnTo>
                      <a:lnTo>
                        <a:pt x="2683" y="1126"/>
                      </a:lnTo>
                      <a:lnTo>
                        <a:pt x="2672" y="1118"/>
                      </a:lnTo>
                      <a:lnTo>
                        <a:pt x="2663" y="1115"/>
                      </a:lnTo>
                      <a:lnTo>
                        <a:pt x="2652" y="1110"/>
                      </a:lnTo>
                      <a:lnTo>
                        <a:pt x="2642" y="1107"/>
                      </a:lnTo>
                      <a:lnTo>
                        <a:pt x="2630" y="1102"/>
                      </a:lnTo>
                      <a:lnTo>
                        <a:pt x="2614" y="1098"/>
                      </a:lnTo>
                      <a:lnTo>
                        <a:pt x="2600" y="1095"/>
                      </a:lnTo>
                      <a:lnTo>
                        <a:pt x="2598" y="1102"/>
                      </a:lnTo>
                      <a:lnTo>
                        <a:pt x="2575" y="1115"/>
                      </a:lnTo>
                      <a:lnTo>
                        <a:pt x="2573" y="1118"/>
                      </a:lnTo>
                      <a:lnTo>
                        <a:pt x="2573" y="1123"/>
                      </a:lnTo>
                      <a:lnTo>
                        <a:pt x="2578" y="1128"/>
                      </a:lnTo>
                      <a:lnTo>
                        <a:pt x="2583" y="1131"/>
                      </a:lnTo>
                      <a:lnTo>
                        <a:pt x="2583" y="1138"/>
                      </a:lnTo>
                      <a:lnTo>
                        <a:pt x="2589" y="1140"/>
                      </a:lnTo>
                      <a:lnTo>
                        <a:pt x="2586" y="1143"/>
                      </a:lnTo>
                      <a:lnTo>
                        <a:pt x="2583" y="1148"/>
                      </a:lnTo>
                      <a:lnTo>
                        <a:pt x="2578" y="1159"/>
                      </a:lnTo>
                      <a:lnTo>
                        <a:pt x="2575" y="1167"/>
                      </a:lnTo>
                      <a:lnTo>
                        <a:pt x="2567" y="1179"/>
                      </a:lnTo>
                      <a:lnTo>
                        <a:pt x="2570" y="1187"/>
                      </a:lnTo>
                      <a:lnTo>
                        <a:pt x="2567" y="1189"/>
                      </a:lnTo>
                      <a:lnTo>
                        <a:pt x="2573" y="1200"/>
                      </a:lnTo>
                      <a:lnTo>
                        <a:pt x="2578" y="1195"/>
                      </a:lnTo>
                      <a:lnTo>
                        <a:pt x="2581" y="1192"/>
                      </a:lnTo>
                      <a:lnTo>
                        <a:pt x="2583" y="1192"/>
                      </a:lnTo>
                      <a:lnTo>
                        <a:pt x="2586" y="1192"/>
                      </a:lnTo>
                      <a:lnTo>
                        <a:pt x="2586" y="1212"/>
                      </a:lnTo>
                      <a:lnTo>
                        <a:pt x="2594" y="1212"/>
                      </a:lnTo>
                      <a:lnTo>
                        <a:pt x="2608" y="1228"/>
                      </a:lnTo>
                      <a:lnTo>
                        <a:pt x="2606" y="1240"/>
                      </a:lnTo>
                      <a:lnTo>
                        <a:pt x="2600" y="1240"/>
                      </a:lnTo>
                      <a:lnTo>
                        <a:pt x="2594" y="1245"/>
                      </a:lnTo>
                      <a:lnTo>
                        <a:pt x="2603" y="1248"/>
                      </a:lnTo>
                      <a:lnTo>
                        <a:pt x="2603" y="1250"/>
                      </a:lnTo>
                      <a:lnTo>
                        <a:pt x="2598" y="1256"/>
                      </a:lnTo>
                      <a:lnTo>
                        <a:pt x="2589" y="1259"/>
                      </a:lnTo>
                      <a:lnTo>
                        <a:pt x="2583" y="1261"/>
                      </a:lnTo>
                      <a:lnTo>
                        <a:pt x="2578" y="1266"/>
                      </a:lnTo>
                      <a:lnTo>
                        <a:pt x="2570" y="1278"/>
                      </a:lnTo>
                      <a:lnTo>
                        <a:pt x="2570" y="1294"/>
                      </a:lnTo>
                      <a:lnTo>
                        <a:pt x="2565" y="1311"/>
                      </a:lnTo>
                      <a:lnTo>
                        <a:pt x="2565" y="1325"/>
                      </a:lnTo>
                      <a:lnTo>
                        <a:pt x="2565" y="1330"/>
                      </a:lnTo>
                      <a:lnTo>
                        <a:pt x="2575" y="1338"/>
                      </a:lnTo>
                      <a:lnTo>
                        <a:pt x="2583" y="1341"/>
                      </a:lnTo>
                      <a:lnTo>
                        <a:pt x="2589" y="1347"/>
                      </a:lnTo>
                      <a:lnTo>
                        <a:pt x="2591" y="1347"/>
                      </a:lnTo>
                      <a:lnTo>
                        <a:pt x="2591" y="1350"/>
                      </a:lnTo>
                      <a:lnTo>
                        <a:pt x="2603" y="1353"/>
                      </a:lnTo>
                      <a:lnTo>
                        <a:pt x="2603" y="1355"/>
                      </a:lnTo>
                      <a:lnTo>
                        <a:pt x="2600" y="1361"/>
                      </a:lnTo>
                      <a:lnTo>
                        <a:pt x="2603" y="1366"/>
                      </a:lnTo>
                      <a:lnTo>
                        <a:pt x="2600" y="1380"/>
                      </a:lnTo>
                      <a:lnTo>
                        <a:pt x="2606" y="1391"/>
                      </a:lnTo>
                      <a:lnTo>
                        <a:pt x="2614" y="1399"/>
                      </a:lnTo>
                      <a:lnTo>
                        <a:pt x="2614" y="1407"/>
                      </a:lnTo>
                      <a:lnTo>
                        <a:pt x="2619" y="1422"/>
                      </a:lnTo>
                      <a:lnTo>
                        <a:pt x="2614" y="1432"/>
                      </a:lnTo>
                      <a:lnTo>
                        <a:pt x="2617" y="1435"/>
                      </a:lnTo>
                      <a:lnTo>
                        <a:pt x="2614" y="1438"/>
                      </a:lnTo>
                      <a:lnTo>
                        <a:pt x="2622" y="1452"/>
                      </a:lnTo>
                      <a:lnTo>
                        <a:pt x="2622" y="1457"/>
                      </a:lnTo>
                      <a:lnTo>
                        <a:pt x="2619" y="1460"/>
                      </a:lnTo>
                      <a:lnTo>
                        <a:pt x="2619" y="1463"/>
                      </a:lnTo>
                      <a:lnTo>
                        <a:pt x="2614" y="1463"/>
                      </a:lnTo>
                      <a:lnTo>
                        <a:pt x="2558" y="1476"/>
                      </a:lnTo>
                      <a:lnTo>
                        <a:pt x="2520" y="1485"/>
                      </a:lnTo>
                      <a:lnTo>
                        <a:pt x="2509" y="1493"/>
                      </a:lnTo>
                      <a:lnTo>
                        <a:pt x="2506" y="1496"/>
                      </a:lnTo>
                      <a:lnTo>
                        <a:pt x="2504" y="1493"/>
                      </a:lnTo>
                      <a:lnTo>
                        <a:pt x="2501" y="1496"/>
                      </a:lnTo>
                      <a:lnTo>
                        <a:pt x="2498" y="1493"/>
                      </a:lnTo>
                      <a:lnTo>
                        <a:pt x="2492" y="1488"/>
                      </a:lnTo>
                      <a:lnTo>
                        <a:pt x="2487" y="1491"/>
                      </a:lnTo>
                      <a:lnTo>
                        <a:pt x="2489" y="1485"/>
                      </a:lnTo>
                      <a:lnTo>
                        <a:pt x="2487" y="1482"/>
                      </a:lnTo>
                      <a:lnTo>
                        <a:pt x="2484" y="1482"/>
                      </a:lnTo>
                      <a:lnTo>
                        <a:pt x="2487" y="1482"/>
                      </a:lnTo>
                      <a:lnTo>
                        <a:pt x="2484" y="1485"/>
                      </a:lnTo>
                      <a:lnTo>
                        <a:pt x="2481" y="1485"/>
                      </a:lnTo>
                      <a:lnTo>
                        <a:pt x="2481" y="1488"/>
                      </a:lnTo>
                      <a:lnTo>
                        <a:pt x="2479" y="1488"/>
                      </a:lnTo>
                      <a:lnTo>
                        <a:pt x="2479" y="1491"/>
                      </a:lnTo>
                      <a:lnTo>
                        <a:pt x="2476" y="1488"/>
                      </a:lnTo>
                      <a:lnTo>
                        <a:pt x="2473" y="1493"/>
                      </a:lnTo>
                      <a:lnTo>
                        <a:pt x="2476" y="1493"/>
                      </a:lnTo>
                      <a:lnTo>
                        <a:pt x="2473" y="1493"/>
                      </a:lnTo>
                      <a:lnTo>
                        <a:pt x="2473" y="1496"/>
                      </a:lnTo>
                      <a:lnTo>
                        <a:pt x="2476" y="1496"/>
                      </a:lnTo>
                      <a:lnTo>
                        <a:pt x="2473" y="1496"/>
                      </a:lnTo>
                      <a:lnTo>
                        <a:pt x="2476" y="1499"/>
                      </a:lnTo>
                      <a:lnTo>
                        <a:pt x="2473" y="1499"/>
                      </a:lnTo>
                      <a:lnTo>
                        <a:pt x="2476" y="1499"/>
                      </a:lnTo>
                      <a:lnTo>
                        <a:pt x="2473" y="1501"/>
                      </a:lnTo>
                      <a:lnTo>
                        <a:pt x="2470" y="1501"/>
                      </a:lnTo>
                      <a:lnTo>
                        <a:pt x="2468" y="1499"/>
                      </a:lnTo>
                      <a:lnTo>
                        <a:pt x="2468" y="1501"/>
                      </a:lnTo>
                      <a:lnTo>
                        <a:pt x="2468" y="1504"/>
                      </a:lnTo>
                      <a:lnTo>
                        <a:pt x="2465" y="1504"/>
                      </a:lnTo>
                      <a:lnTo>
                        <a:pt x="2462" y="1504"/>
                      </a:lnTo>
                      <a:lnTo>
                        <a:pt x="2462" y="1507"/>
                      </a:lnTo>
                      <a:lnTo>
                        <a:pt x="2460" y="1507"/>
                      </a:lnTo>
                      <a:lnTo>
                        <a:pt x="2460" y="1509"/>
                      </a:lnTo>
                      <a:lnTo>
                        <a:pt x="2456" y="1512"/>
                      </a:lnTo>
                      <a:lnTo>
                        <a:pt x="2453" y="1515"/>
                      </a:lnTo>
                      <a:lnTo>
                        <a:pt x="2453" y="1517"/>
                      </a:lnTo>
                      <a:lnTo>
                        <a:pt x="2451" y="1517"/>
                      </a:lnTo>
                      <a:lnTo>
                        <a:pt x="2448" y="1517"/>
                      </a:lnTo>
                      <a:lnTo>
                        <a:pt x="2445" y="1517"/>
                      </a:lnTo>
                      <a:lnTo>
                        <a:pt x="2440" y="1521"/>
                      </a:lnTo>
                      <a:lnTo>
                        <a:pt x="2437" y="1517"/>
                      </a:lnTo>
                      <a:lnTo>
                        <a:pt x="2429" y="1517"/>
                      </a:lnTo>
                      <a:lnTo>
                        <a:pt x="2429" y="1515"/>
                      </a:lnTo>
                      <a:lnTo>
                        <a:pt x="2429" y="1517"/>
                      </a:lnTo>
                      <a:lnTo>
                        <a:pt x="2427" y="1515"/>
                      </a:lnTo>
                      <a:lnTo>
                        <a:pt x="2427" y="1517"/>
                      </a:lnTo>
                      <a:lnTo>
                        <a:pt x="2423" y="1517"/>
                      </a:lnTo>
                      <a:lnTo>
                        <a:pt x="2420" y="1517"/>
                      </a:lnTo>
                      <a:lnTo>
                        <a:pt x="2420" y="1521"/>
                      </a:lnTo>
                      <a:lnTo>
                        <a:pt x="2420" y="1517"/>
                      </a:lnTo>
                      <a:lnTo>
                        <a:pt x="2420" y="1524"/>
                      </a:lnTo>
                      <a:lnTo>
                        <a:pt x="2415" y="1526"/>
                      </a:lnTo>
                      <a:lnTo>
                        <a:pt x="2418" y="1526"/>
                      </a:lnTo>
                      <a:lnTo>
                        <a:pt x="2412" y="1526"/>
                      </a:lnTo>
                      <a:lnTo>
                        <a:pt x="2412" y="1524"/>
                      </a:lnTo>
                      <a:lnTo>
                        <a:pt x="2410" y="1524"/>
                      </a:lnTo>
                      <a:lnTo>
                        <a:pt x="2407" y="1517"/>
                      </a:lnTo>
                      <a:lnTo>
                        <a:pt x="2404" y="1521"/>
                      </a:lnTo>
                      <a:lnTo>
                        <a:pt x="2404" y="1517"/>
                      </a:lnTo>
                      <a:lnTo>
                        <a:pt x="2402" y="1517"/>
                      </a:lnTo>
                      <a:lnTo>
                        <a:pt x="2402" y="1515"/>
                      </a:lnTo>
                      <a:lnTo>
                        <a:pt x="2396" y="1515"/>
                      </a:lnTo>
                      <a:lnTo>
                        <a:pt x="2396" y="1512"/>
                      </a:lnTo>
                      <a:lnTo>
                        <a:pt x="2393" y="1512"/>
                      </a:lnTo>
                      <a:lnTo>
                        <a:pt x="2393" y="1509"/>
                      </a:lnTo>
                      <a:lnTo>
                        <a:pt x="2390" y="1509"/>
                      </a:lnTo>
                      <a:lnTo>
                        <a:pt x="2390" y="1507"/>
                      </a:lnTo>
                      <a:lnTo>
                        <a:pt x="2390" y="1504"/>
                      </a:lnTo>
                      <a:lnTo>
                        <a:pt x="2390" y="1499"/>
                      </a:lnTo>
                      <a:lnTo>
                        <a:pt x="2390" y="1496"/>
                      </a:lnTo>
                      <a:lnTo>
                        <a:pt x="2390" y="1493"/>
                      </a:lnTo>
                      <a:lnTo>
                        <a:pt x="2393" y="1493"/>
                      </a:lnTo>
                      <a:lnTo>
                        <a:pt x="2393" y="1491"/>
                      </a:lnTo>
                      <a:lnTo>
                        <a:pt x="2393" y="1488"/>
                      </a:lnTo>
                      <a:lnTo>
                        <a:pt x="2390" y="1485"/>
                      </a:lnTo>
                      <a:lnTo>
                        <a:pt x="2396" y="1485"/>
                      </a:lnTo>
                      <a:lnTo>
                        <a:pt x="2396" y="1482"/>
                      </a:lnTo>
                      <a:lnTo>
                        <a:pt x="2396" y="1479"/>
                      </a:lnTo>
                      <a:lnTo>
                        <a:pt x="2393" y="1479"/>
                      </a:lnTo>
                      <a:lnTo>
                        <a:pt x="2393" y="1476"/>
                      </a:lnTo>
                      <a:lnTo>
                        <a:pt x="2396" y="1473"/>
                      </a:lnTo>
                      <a:lnTo>
                        <a:pt x="2390" y="1473"/>
                      </a:lnTo>
                      <a:lnTo>
                        <a:pt x="2393" y="1471"/>
                      </a:lnTo>
                      <a:lnTo>
                        <a:pt x="2390" y="1468"/>
                      </a:lnTo>
                      <a:lnTo>
                        <a:pt x="2390" y="1463"/>
                      </a:lnTo>
                      <a:lnTo>
                        <a:pt x="2387" y="1463"/>
                      </a:lnTo>
                      <a:lnTo>
                        <a:pt x="2390" y="1463"/>
                      </a:lnTo>
                      <a:lnTo>
                        <a:pt x="2393" y="1457"/>
                      </a:lnTo>
                      <a:lnTo>
                        <a:pt x="2393" y="1455"/>
                      </a:lnTo>
                      <a:lnTo>
                        <a:pt x="2390" y="1455"/>
                      </a:lnTo>
                      <a:lnTo>
                        <a:pt x="2393" y="1452"/>
                      </a:lnTo>
                      <a:lnTo>
                        <a:pt x="2393" y="1449"/>
                      </a:lnTo>
                      <a:lnTo>
                        <a:pt x="2393" y="1446"/>
                      </a:lnTo>
                      <a:lnTo>
                        <a:pt x="2393" y="1443"/>
                      </a:lnTo>
                      <a:lnTo>
                        <a:pt x="2393" y="1440"/>
                      </a:lnTo>
                      <a:lnTo>
                        <a:pt x="2396" y="1438"/>
                      </a:lnTo>
                      <a:lnTo>
                        <a:pt x="2399" y="1438"/>
                      </a:lnTo>
                      <a:lnTo>
                        <a:pt x="2399" y="1432"/>
                      </a:lnTo>
                      <a:lnTo>
                        <a:pt x="2402" y="1432"/>
                      </a:lnTo>
                      <a:lnTo>
                        <a:pt x="2402" y="1430"/>
                      </a:lnTo>
                      <a:lnTo>
                        <a:pt x="2404" y="1427"/>
                      </a:lnTo>
                      <a:lnTo>
                        <a:pt x="2407" y="1419"/>
                      </a:lnTo>
                      <a:lnTo>
                        <a:pt x="2410" y="1419"/>
                      </a:lnTo>
                      <a:lnTo>
                        <a:pt x="2410" y="1416"/>
                      </a:lnTo>
                      <a:lnTo>
                        <a:pt x="2410" y="1413"/>
                      </a:lnTo>
                      <a:lnTo>
                        <a:pt x="2412" y="1410"/>
                      </a:lnTo>
                      <a:lnTo>
                        <a:pt x="2412" y="1407"/>
                      </a:lnTo>
                      <a:lnTo>
                        <a:pt x="2412" y="1410"/>
                      </a:lnTo>
                      <a:lnTo>
                        <a:pt x="2412" y="1405"/>
                      </a:lnTo>
                      <a:lnTo>
                        <a:pt x="2415" y="1405"/>
                      </a:lnTo>
                      <a:lnTo>
                        <a:pt x="2415" y="1402"/>
                      </a:lnTo>
                      <a:lnTo>
                        <a:pt x="2412" y="1399"/>
                      </a:lnTo>
                      <a:lnTo>
                        <a:pt x="2412" y="1394"/>
                      </a:lnTo>
                      <a:lnTo>
                        <a:pt x="2415" y="1388"/>
                      </a:lnTo>
                      <a:lnTo>
                        <a:pt x="2415" y="1383"/>
                      </a:lnTo>
                      <a:lnTo>
                        <a:pt x="2412" y="1380"/>
                      </a:lnTo>
                      <a:lnTo>
                        <a:pt x="2410" y="1380"/>
                      </a:lnTo>
                      <a:lnTo>
                        <a:pt x="2407" y="1377"/>
                      </a:lnTo>
                      <a:lnTo>
                        <a:pt x="2410" y="1374"/>
                      </a:lnTo>
                      <a:lnTo>
                        <a:pt x="2410" y="1369"/>
                      </a:lnTo>
                      <a:lnTo>
                        <a:pt x="2410" y="1363"/>
                      </a:lnTo>
                      <a:lnTo>
                        <a:pt x="2407" y="1358"/>
                      </a:lnTo>
                      <a:lnTo>
                        <a:pt x="2412" y="1345"/>
                      </a:lnTo>
                      <a:lnTo>
                        <a:pt x="2415" y="1341"/>
                      </a:lnTo>
                      <a:lnTo>
                        <a:pt x="2412" y="1338"/>
                      </a:lnTo>
                      <a:lnTo>
                        <a:pt x="2410" y="1338"/>
                      </a:lnTo>
                      <a:lnTo>
                        <a:pt x="2402" y="1336"/>
                      </a:lnTo>
                      <a:lnTo>
                        <a:pt x="2390" y="1336"/>
                      </a:lnTo>
                      <a:lnTo>
                        <a:pt x="2387" y="1333"/>
                      </a:lnTo>
                      <a:lnTo>
                        <a:pt x="2387" y="1330"/>
                      </a:lnTo>
                      <a:lnTo>
                        <a:pt x="2384" y="1330"/>
                      </a:lnTo>
                      <a:lnTo>
                        <a:pt x="2379" y="1322"/>
                      </a:lnTo>
                      <a:lnTo>
                        <a:pt x="2374" y="1322"/>
                      </a:lnTo>
                      <a:lnTo>
                        <a:pt x="2374" y="1302"/>
                      </a:lnTo>
                      <a:lnTo>
                        <a:pt x="2341" y="1302"/>
                      </a:lnTo>
                      <a:lnTo>
                        <a:pt x="2313" y="1302"/>
                      </a:lnTo>
                      <a:lnTo>
                        <a:pt x="2274" y="1302"/>
                      </a:lnTo>
                      <a:lnTo>
                        <a:pt x="2228" y="1302"/>
                      </a:lnTo>
                      <a:lnTo>
                        <a:pt x="2123" y="1302"/>
                      </a:lnTo>
                      <a:lnTo>
                        <a:pt x="2114" y="1302"/>
                      </a:lnTo>
                      <a:lnTo>
                        <a:pt x="2054" y="1302"/>
                      </a:lnTo>
                      <a:lnTo>
                        <a:pt x="2054" y="1308"/>
                      </a:lnTo>
                      <a:lnTo>
                        <a:pt x="2054" y="1353"/>
                      </a:lnTo>
                      <a:lnTo>
                        <a:pt x="2048" y="1353"/>
                      </a:lnTo>
                      <a:lnTo>
                        <a:pt x="2042" y="1361"/>
                      </a:lnTo>
                      <a:lnTo>
                        <a:pt x="2039" y="1369"/>
                      </a:lnTo>
                      <a:lnTo>
                        <a:pt x="2037" y="1380"/>
                      </a:lnTo>
                      <a:lnTo>
                        <a:pt x="2037" y="1388"/>
                      </a:lnTo>
                      <a:lnTo>
                        <a:pt x="2042" y="1391"/>
                      </a:lnTo>
                      <a:lnTo>
                        <a:pt x="2048" y="1388"/>
                      </a:lnTo>
                      <a:lnTo>
                        <a:pt x="2051" y="1394"/>
                      </a:lnTo>
                      <a:lnTo>
                        <a:pt x="2054" y="1405"/>
                      </a:lnTo>
                      <a:lnTo>
                        <a:pt x="2051" y="1410"/>
                      </a:lnTo>
                      <a:lnTo>
                        <a:pt x="2048" y="1410"/>
                      </a:lnTo>
                      <a:lnTo>
                        <a:pt x="2039" y="1422"/>
                      </a:lnTo>
                      <a:lnTo>
                        <a:pt x="2037" y="1427"/>
                      </a:lnTo>
                      <a:lnTo>
                        <a:pt x="2026" y="1430"/>
                      </a:lnTo>
                      <a:lnTo>
                        <a:pt x="2021" y="1438"/>
                      </a:lnTo>
                      <a:lnTo>
                        <a:pt x="2021" y="1440"/>
                      </a:lnTo>
                      <a:lnTo>
                        <a:pt x="2021" y="1446"/>
                      </a:lnTo>
                      <a:lnTo>
                        <a:pt x="2023" y="1460"/>
                      </a:lnTo>
                      <a:lnTo>
                        <a:pt x="2026" y="1463"/>
                      </a:lnTo>
                      <a:lnTo>
                        <a:pt x="2023" y="1465"/>
                      </a:lnTo>
                      <a:lnTo>
                        <a:pt x="2023" y="1468"/>
                      </a:lnTo>
                      <a:lnTo>
                        <a:pt x="2023" y="1473"/>
                      </a:lnTo>
                      <a:lnTo>
                        <a:pt x="2026" y="1473"/>
                      </a:lnTo>
                      <a:lnTo>
                        <a:pt x="2026" y="1479"/>
                      </a:lnTo>
                      <a:lnTo>
                        <a:pt x="2023" y="1479"/>
                      </a:lnTo>
                      <a:lnTo>
                        <a:pt x="2023" y="1482"/>
                      </a:lnTo>
                      <a:lnTo>
                        <a:pt x="2026" y="1485"/>
                      </a:lnTo>
                      <a:lnTo>
                        <a:pt x="2029" y="1482"/>
                      </a:lnTo>
                      <a:lnTo>
                        <a:pt x="2034" y="1485"/>
                      </a:lnTo>
                      <a:lnTo>
                        <a:pt x="2034" y="1488"/>
                      </a:lnTo>
                      <a:lnTo>
                        <a:pt x="2034" y="1493"/>
                      </a:lnTo>
                      <a:lnTo>
                        <a:pt x="2029" y="1499"/>
                      </a:lnTo>
                      <a:lnTo>
                        <a:pt x="2031" y="1501"/>
                      </a:lnTo>
                      <a:lnTo>
                        <a:pt x="2029" y="1509"/>
                      </a:lnTo>
                      <a:lnTo>
                        <a:pt x="2026" y="1515"/>
                      </a:lnTo>
                      <a:lnTo>
                        <a:pt x="2026" y="1524"/>
                      </a:lnTo>
                      <a:lnTo>
                        <a:pt x="2023" y="1532"/>
                      </a:lnTo>
                      <a:lnTo>
                        <a:pt x="2023" y="1534"/>
                      </a:lnTo>
                      <a:lnTo>
                        <a:pt x="2100" y="1534"/>
                      </a:lnTo>
                      <a:lnTo>
                        <a:pt x="2123" y="1534"/>
                      </a:lnTo>
                      <a:lnTo>
                        <a:pt x="2128" y="1534"/>
                      </a:lnTo>
                      <a:lnTo>
                        <a:pt x="2161" y="1534"/>
                      </a:lnTo>
                      <a:lnTo>
                        <a:pt x="2211" y="1534"/>
                      </a:lnTo>
                      <a:lnTo>
                        <a:pt x="2266" y="1532"/>
                      </a:lnTo>
                      <a:lnTo>
                        <a:pt x="2291" y="1532"/>
                      </a:lnTo>
                      <a:lnTo>
                        <a:pt x="2418" y="1532"/>
                      </a:lnTo>
                      <a:lnTo>
                        <a:pt x="2418" y="1534"/>
                      </a:lnTo>
                      <a:lnTo>
                        <a:pt x="2418" y="1537"/>
                      </a:lnTo>
                      <a:lnTo>
                        <a:pt x="2415" y="1540"/>
                      </a:lnTo>
                      <a:lnTo>
                        <a:pt x="2418" y="1542"/>
                      </a:lnTo>
                      <a:lnTo>
                        <a:pt x="2418" y="1545"/>
                      </a:lnTo>
                      <a:lnTo>
                        <a:pt x="2415" y="1545"/>
                      </a:lnTo>
                      <a:lnTo>
                        <a:pt x="2415" y="1548"/>
                      </a:lnTo>
                      <a:lnTo>
                        <a:pt x="2412" y="1551"/>
                      </a:lnTo>
                      <a:lnTo>
                        <a:pt x="2412" y="1548"/>
                      </a:lnTo>
                      <a:lnTo>
                        <a:pt x="2410" y="1548"/>
                      </a:lnTo>
                      <a:lnTo>
                        <a:pt x="2410" y="1551"/>
                      </a:lnTo>
                      <a:lnTo>
                        <a:pt x="2407" y="1548"/>
                      </a:lnTo>
                      <a:lnTo>
                        <a:pt x="2407" y="1551"/>
                      </a:lnTo>
                      <a:lnTo>
                        <a:pt x="2407" y="1554"/>
                      </a:lnTo>
                      <a:lnTo>
                        <a:pt x="2407" y="1557"/>
                      </a:lnTo>
                      <a:lnTo>
                        <a:pt x="2404" y="1560"/>
                      </a:lnTo>
                      <a:lnTo>
                        <a:pt x="2407" y="1562"/>
                      </a:lnTo>
                      <a:lnTo>
                        <a:pt x="2404" y="1562"/>
                      </a:lnTo>
                      <a:lnTo>
                        <a:pt x="2404" y="1565"/>
                      </a:lnTo>
                      <a:lnTo>
                        <a:pt x="2399" y="1568"/>
                      </a:lnTo>
                      <a:lnTo>
                        <a:pt x="2402" y="1570"/>
                      </a:lnTo>
                      <a:lnTo>
                        <a:pt x="2402" y="1573"/>
                      </a:lnTo>
                      <a:lnTo>
                        <a:pt x="2404" y="1573"/>
                      </a:lnTo>
                      <a:lnTo>
                        <a:pt x="2402" y="1576"/>
                      </a:lnTo>
                      <a:lnTo>
                        <a:pt x="2404" y="1578"/>
                      </a:lnTo>
                      <a:lnTo>
                        <a:pt x="2402" y="1581"/>
                      </a:lnTo>
                      <a:lnTo>
                        <a:pt x="2404" y="1581"/>
                      </a:lnTo>
                      <a:lnTo>
                        <a:pt x="2407" y="1584"/>
                      </a:lnTo>
                      <a:lnTo>
                        <a:pt x="2407" y="1586"/>
                      </a:lnTo>
                      <a:lnTo>
                        <a:pt x="2404" y="1590"/>
                      </a:lnTo>
                      <a:lnTo>
                        <a:pt x="2407" y="1590"/>
                      </a:lnTo>
                      <a:lnTo>
                        <a:pt x="2410" y="1595"/>
                      </a:lnTo>
                      <a:lnTo>
                        <a:pt x="2407" y="1595"/>
                      </a:lnTo>
                      <a:lnTo>
                        <a:pt x="2410" y="1598"/>
                      </a:lnTo>
                      <a:lnTo>
                        <a:pt x="2412" y="1601"/>
                      </a:lnTo>
                      <a:lnTo>
                        <a:pt x="2410" y="1601"/>
                      </a:lnTo>
                      <a:lnTo>
                        <a:pt x="2412" y="1609"/>
                      </a:lnTo>
                      <a:lnTo>
                        <a:pt x="2410" y="1617"/>
                      </a:lnTo>
                      <a:lnTo>
                        <a:pt x="2407" y="1617"/>
                      </a:lnTo>
                      <a:lnTo>
                        <a:pt x="2407" y="1620"/>
                      </a:lnTo>
                      <a:lnTo>
                        <a:pt x="2402" y="1622"/>
                      </a:lnTo>
                      <a:lnTo>
                        <a:pt x="2399" y="1629"/>
                      </a:lnTo>
                      <a:lnTo>
                        <a:pt x="2402" y="1631"/>
                      </a:lnTo>
                      <a:lnTo>
                        <a:pt x="2399" y="1634"/>
                      </a:lnTo>
                      <a:lnTo>
                        <a:pt x="2399" y="1639"/>
                      </a:lnTo>
                      <a:lnTo>
                        <a:pt x="2396" y="1642"/>
                      </a:lnTo>
                      <a:lnTo>
                        <a:pt x="2393" y="1650"/>
                      </a:lnTo>
                      <a:lnTo>
                        <a:pt x="2390" y="1650"/>
                      </a:lnTo>
                      <a:lnTo>
                        <a:pt x="2387" y="1655"/>
                      </a:lnTo>
                      <a:lnTo>
                        <a:pt x="2379" y="1670"/>
                      </a:lnTo>
                      <a:lnTo>
                        <a:pt x="2374" y="1672"/>
                      </a:lnTo>
                      <a:lnTo>
                        <a:pt x="2371" y="1675"/>
                      </a:lnTo>
                      <a:lnTo>
                        <a:pt x="2368" y="1678"/>
                      </a:lnTo>
                      <a:lnTo>
                        <a:pt x="2371" y="1688"/>
                      </a:lnTo>
                      <a:lnTo>
                        <a:pt x="2368" y="1698"/>
                      </a:lnTo>
                      <a:lnTo>
                        <a:pt x="2363" y="1700"/>
                      </a:lnTo>
                      <a:lnTo>
                        <a:pt x="2360" y="1706"/>
                      </a:lnTo>
                      <a:lnTo>
                        <a:pt x="2358" y="1708"/>
                      </a:lnTo>
                      <a:lnTo>
                        <a:pt x="2358" y="1716"/>
                      </a:lnTo>
                      <a:lnTo>
                        <a:pt x="2358" y="1722"/>
                      </a:lnTo>
                      <a:lnTo>
                        <a:pt x="2358" y="1724"/>
                      </a:lnTo>
                      <a:lnTo>
                        <a:pt x="2360" y="1727"/>
                      </a:lnTo>
                      <a:lnTo>
                        <a:pt x="2363" y="1733"/>
                      </a:lnTo>
                      <a:lnTo>
                        <a:pt x="2363" y="1739"/>
                      </a:lnTo>
                      <a:lnTo>
                        <a:pt x="2368" y="1739"/>
                      </a:lnTo>
                      <a:lnTo>
                        <a:pt x="2366" y="1741"/>
                      </a:lnTo>
                      <a:lnTo>
                        <a:pt x="2368" y="1744"/>
                      </a:lnTo>
                      <a:lnTo>
                        <a:pt x="2368" y="1741"/>
                      </a:lnTo>
                      <a:lnTo>
                        <a:pt x="2371" y="1744"/>
                      </a:lnTo>
                      <a:lnTo>
                        <a:pt x="2374" y="1741"/>
                      </a:lnTo>
                      <a:lnTo>
                        <a:pt x="2376" y="1744"/>
                      </a:lnTo>
                      <a:lnTo>
                        <a:pt x="2374" y="1747"/>
                      </a:lnTo>
                      <a:lnTo>
                        <a:pt x="2376" y="1747"/>
                      </a:lnTo>
                      <a:lnTo>
                        <a:pt x="2374" y="1750"/>
                      </a:lnTo>
                      <a:lnTo>
                        <a:pt x="2376" y="1750"/>
                      </a:lnTo>
                      <a:lnTo>
                        <a:pt x="2374" y="1752"/>
                      </a:lnTo>
                      <a:lnTo>
                        <a:pt x="2379" y="1752"/>
                      </a:lnTo>
                      <a:lnTo>
                        <a:pt x="2382" y="1752"/>
                      </a:lnTo>
                      <a:lnTo>
                        <a:pt x="2382" y="1755"/>
                      </a:lnTo>
                      <a:lnTo>
                        <a:pt x="2384" y="1758"/>
                      </a:lnTo>
                      <a:lnTo>
                        <a:pt x="2384" y="1755"/>
                      </a:lnTo>
                      <a:lnTo>
                        <a:pt x="2390" y="1755"/>
                      </a:lnTo>
                      <a:lnTo>
                        <a:pt x="2390" y="1760"/>
                      </a:lnTo>
                      <a:lnTo>
                        <a:pt x="2390" y="1764"/>
                      </a:lnTo>
                      <a:lnTo>
                        <a:pt x="2393" y="1764"/>
                      </a:lnTo>
                      <a:lnTo>
                        <a:pt x="2393" y="1760"/>
                      </a:lnTo>
                      <a:lnTo>
                        <a:pt x="2399" y="1758"/>
                      </a:lnTo>
                      <a:lnTo>
                        <a:pt x="2399" y="1760"/>
                      </a:lnTo>
                      <a:lnTo>
                        <a:pt x="2404" y="1760"/>
                      </a:lnTo>
                      <a:lnTo>
                        <a:pt x="2404" y="1764"/>
                      </a:lnTo>
                      <a:lnTo>
                        <a:pt x="2407" y="1764"/>
                      </a:lnTo>
                      <a:lnTo>
                        <a:pt x="2404" y="1764"/>
                      </a:lnTo>
                      <a:lnTo>
                        <a:pt x="2407" y="1767"/>
                      </a:lnTo>
                      <a:lnTo>
                        <a:pt x="2404" y="1769"/>
                      </a:lnTo>
                      <a:lnTo>
                        <a:pt x="2407" y="1772"/>
                      </a:lnTo>
                      <a:lnTo>
                        <a:pt x="2412" y="1767"/>
                      </a:lnTo>
                      <a:lnTo>
                        <a:pt x="2412" y="1764"/>
                      </a:lnTo>
                      <a:lnTo>
                        <a:pt x="2415" y="1767"/>
                      </a:lnTo>
                      <a:lnTo>
                        <a:pt x="2412" y="1772"/>
                      </a:lnTo>
                      <a:lnTo>
                        <a:pt x="2415" y="1769"/>
                      </a:lnTo>
                      <a:lnTo>
                        <a:pt x="2418" y="1775"/>
                      </a:lnTo>
                      <a:lnTo>
                        <a:pt x="2418" y="1777"/>
                      </a:lnTo>
                      <a:lnTo>
                        <a:pt x="2420" y="1775"/>
                      </a:lnTo>
                      <a:lnTo>
                        <a:pt x="2423" y="1775"/>
                      </a:lnTo>
                      <a:lnTo>
                        <a:pt x="2423" y="1780"/>
                      </a:lnTo>
                      <a:lnTo>
                        <a:pt x="2427" y="1777"/>
                      </a:lnTo>
                      <a:lnTo>
                        <a:pt x="2427" y="1780"/>
                      </a:lnTo>
                      <a:lnTo>
                        <a:pt x="2427" y="1783"/>
                      </a:lnTo>
                      <a:lnTo>
                        <a:pt x="2429" y="1783"/>
                      </a:lnTo>
                      <a:lnTo>
                        <a:pt x="2429" y="1788"/>
                      </a:lnTo>
                      <a:lnTo>
                        <a:pt x="2432" y="1791"/>
                      </a:lnTo>
                      <a:lnTo>
                        <a:pt x="2435" y="1788"/>
                      </a:lnTo>
                      <a:lnTo>
                        <a:pt x="2437" y="1785"/>
                      </a:lnTo>
                      <a:lnTo>
                        <a:pt x="2440" y="1791"/>
                      </a:lnTo>
                      <a:lnTo>
                        <a:pt x="2437" y="1791"/>
                      </a:lnTo>
                      <a:lnTo>
                        <a:pt x="2440" y="1791"/>
                      </a:lnTo>
                      <a:lnTo>
                        <a:pt x="2443" y="1793"/>
                      </a:lnTo>
                      <a:lnTo>
                        <a:pt x="2437" y="1796"/>
                      </a:lnTo>
                      <a:lnTo>
                        <a:pt x="2440" y="1800"/>
                      </a:lnTo>
                      <a:lnTo>
                        <a:pt x="2443" y="1796"/>
                      </a:lnTo>
                      <a:lnTo>
                        <a:pt x="2443" y="1805"/>
                      </a:lnTo>
                      <a:lnTo>
                        <a:pt x="2440" y="1808"/>
                      </a:lnTo>
                      <a:lnTo>
                        <a:pt x="2443" y="1808"/>
                      </a:lnTo>
                      <a:lnTo>
                        <a:pt x="2445" y="1808"/>
                      </a:lnTo>
                      <a:lnTo>
                        <a:pt x="2451" y="1810"/>
                      </a:lnTo>
                      <a:lnTo>
                        <a:pt x="2451" y="1816"/>
                      </a:lnTo>
                      <a:lnTo>
                        <a:pt x="2451" y="1819"/>
                      </a:lnTo>
                      <a:lnTo>
                        <a:pt x="2448" y="1819"/>
                      </a:lnTo>
                      <a:lnTo>
                        <a:pt x="2451" y="1821"/>
                      </a:lnTo>
                      <a:lnTo>
                        <a:pt x="2448" y="1824"/>
                      </a:lnTo>
                      <a:lnTo>
                        <a:pt x="2445" y="1829"/>
                      </a:lnTo>
                      <a:lnTo>
                        <a:pt x="2448" y="1833"/>
                      </a:lnTo>
                      <a:lnTo>
                        <a:pt x="2451" y="1833"/>
                      </a:lnTo>
                      <a:lnTo>
                        <a:pt x="2448" y="1833"/>
                      </a:lnTo>
                      <a:lnTo>
                        <a:pt x="2448" y="1838"/>
                      </a:lnTo>
                      <a:lnTo>
                        <a:pt x="2453" y="1838"/>
                      </a:lnTo>
                      <a:lnTo>
                        <a:pt x="2453" y="1841"/>
                      </a:lnTo>
                      <a:lnTo>
                        <a:pt x="2453" y="1844"/>
                      </a:lnTo>
                      <a:lnTo>
                        <a:pt x="2453" y="1846"/>
                      </a:lnTo>
                      <a:lnTo>
                        <a:pt x="2453" y="1849"/>
                      </a:lnTo>
                      <a:lnTo>
                        <a:pt x="2453" y="1852"/>
                      </a:lnTo>
                      <a:lnTo>
                        <a:pt x="2460" y="1854"/>
                      </a:lnTo>
                      <a:lnTo>
                        <a:pt x="2456" y="1857"/>
                      </a:lnTo>
                      <a:lnTo>
                        <a:pt x="2456" y="1860"/>
                      </a:lnTo>
                      <a:lnTo>
                        <a:pt x="2465" y="1857"/>
                      </a:lnTo>
                      <a:lnTo>
                        <a:pt x="2460" y="1862"/>
                      </a:lnTo>
                      <a:lnTo>
                        <a:pt x="2462" y="1871"/>
                      </a:lnTo>
                      <a:lnTo>
                        <a:pt x="2462" y="1874"/>
                      </a:lnTo>
                      <a:lnTo>
                        <a:pt x="2456" y="1874"/>
                      </a:lnTo>
                      <a:lnTo>
                        <a:pt x="2460" y="1879"/>
                      </a:lnTo>
                      <a:lnTo>
                        <a:pt x="2462" y="1879"/>
                      </a:lnTo>
                      <a:lnTo>
                        <a:pt x="2462" y="1882"/>
                      </a:lnTo>
                      <a:lnTo>
                        <a:pt x="2465" y="1882"/>
                      </a:lnTo>
                      <a:lnTo>
                        <a:pt x="2462" y="1885"/>
                      </a:lnTo>
                      <a:lnTo>
                        <a:pt x="2460" y="1885"/>
                      </a:lnTo>
                      <a:lnTo>
                        <a:pt x="2462" y="1887"/>
                      </a:lnTo>
                      <a:lnTo>
                        <a:pt x="2465" y="1887"/>
                      </a:lnTo>
                      <a:lnTo>
                        <a:pt x="2462" y="1893"/>
                      </a:lnTo>
                      <a:lnTo>
                        <a:pt x="2468" y="1890"/>
                      </a:lnTo>
                      <a:lnTo>
                        <a:pt x="2470" y="1890"/>
                      </a:lnTo>
                      <a:lnTo>
                        <a:pt x="2473" y="1896"/>
                      </a:lnTo>
                      <a:lnTo>
                        <a:pt x="2476" y="1896"/>
                      </a:lnTo>
                      <a:lnTo>
                        <a:pt x="2479" y="1898"/>
                      </a:lnTo>
                      <a:lnTo>
                        <a:pt x="2470" y="1901"/>
                      </a:lnTo>
                      <a:lnTo>
                        <a:pt x="2473" y="1905"/>
                      </a:lnTo>
                      <a:lnTo>
                        <a:pt x="2473" y="1907"/>
                      </a:lnTo>
                      <a:lnTo>
                        <a:pt x="2476" y="1905"/>
                      </a:lnTo>
                      <a:lnTo>
                        <a:pt x="2479" y="1907"/>
                      </a:lnTo>
                      <a:lnTo>
                        <a:pt x="2476" y="1910"/>
                      </a:lnTo>
                      <a:lnTo>
                        <a:pt x="2481" y="1913"/>
                      </a:lnTo>
                      <a:lnTo>
                        <a:pt x="2479" y="1915"/>
                      </a:lnTo>
                      <a:lnTo>
                        <a:pt x="2481" y="1918"/>
                      </a:lnTo>
                      <a:lnTo>
                        <a:pt x="2484" y="1915"/>
                      </a:lnTo>
                      <a:lnTo>
                        <a:pt x="2484" y="1918"/>
                      </a:lnTo>
                      <a:lnTo>
                        <a:pt x="2489" y="1921"/>
                      </a:lnTo>
                      <a:lnTo>
                        <a:pt x="2492" y="1923"/>
                      </a:lnTo>
                      <a:lnTo>
                        <a:pt x="2489" y="1926"/>
                      </a:lnTo>
                      <a:lnTo>
                        <a:pt x="2481" y="1929"/>
                      </a:lnTo>
                      <a:lnTo>
                        <a:pt x="2487" y="1929"/>
                      </a:lnTo>
                      <a:lnTo>
                        <a:pt x="2487" y="1931"/>
                      </a:lnTo>
                      <a:lnTo>
                        <a:pt x="2484" y="1931"/>
                      </a:lnTo>
                      <a:lnTo>
                        <a:pt x="2484" y="1934"/>
                      </a:lnTo>
                      <a:lnTo>
                        <a:pt x="2489" y="1931"/>
                      </a:lnTo>
                      <a:lnTo>
                        <a:pt x="2489" y="1934"/>
                      </a:lnTo>
                      <a:lnTo>
                        <a:pt x="2484" y="1938"/>
                      </a:lnTo>
                      <a:lnTo>
                        <a:pt x="2487" y="1940"/>
                      </a:lnTo>
                      <a:lnTo>
                        <a:pt x="2484" y="1940"/>
                      </a:lnTo>
                      <a:lnTo>
                        <a:pt x="2481" y="1940"/>
                      </a:lnTo>
                      <a:lnTo>
                        <a:pt x="2484" y="1943"/>
                      </a:lnTo>
                      <a:lnTo>
                        <a:pt x="2481" y="1943"/>
                      </a:lnTo>
                      <a:lnTo>
                        <a:pt x="2481" y="1946"/>
                      </a:lnTo>
                      <a:lnTo>
                        <a:pt x="2479" y="1943"/>
                      </a:lnTo>
                      <a:lnTo>
                        <a:pt x="2479" y="1946"/>
                      </a:lnTo>
                      <a:lnTo>
                        <a:pt x="2479" y="1943"/>
                      </a:lnTo>
                      <a:lnTo>
                        <a:pt x="2476" y="1946"/>
                      </a:lnTo>
                      <a:lnTo>
                        <a:pt x="2476" y="1948"/>
                      </a:lnTo>
                      <a:lnTo>
                        <a:pt x="2473" y="1948"/>
                      </a:lnTo>
                      <a:lnTo>
                        <a:pt x="2476" y="1951"/>
                      </a:lnTo>
                      <a:lnTo>
                        <a:pt x="2470" y="1948"/>
                      </a:lnTo>
                      <a:lnTo>
                        <a:pt x="2470" y="1946"/>
                      </a:lnTo>
                      <a:lnTo>
                        <a:pt x="2468" y="1946"/>
                      </a:lnTo>
                      <a:lnTo>
                        <a:pt x="2468" y="1954"/>
                      </a:lnTo>
                      <a:lnTo>
                        <a:pt x="2470" y="1954"/>
                      </a:lnTo>
                      <a:lnTo>
                        <a:pt x="2468" y="1956"/>
                      </a:lnTo>
                      <a:lnTo>
                        <a:pt x="2468" y="1954"/>
                      </a:lnTo>
                      <a:lnTo>
                        <a:pt x="2465" y="1956"/>
                      </a:lnTo>
                      <a:lnTo>
                        <a:pt x="2462" y="1956"/>
                      </a:lnTo>
                      <a:lnTo>
                        <a:pt x="2462" y="1959"/>
                      </a:lnTo>
                      <a:lnTo>
                        <a:pt x="2465" y="1959"/>
                      </a:lnTo>
                      <a:lnTo>
                        <a:pt x="2462" y="1962"/>
                      </a:lnTo>
                      <a:lnTo>
                        <a:pt x="2460" y="1959"/>
                      </a:lnTo>
                      <a:lnTo>
                        <a:pt x="2456" y="1962"/>
                      </a:lnTo>
                      <a:lnTo>
                        <a:pt x="2460" y="1965"/>
                      </a:lnTo>
                      <a:lnTo>
                        <a:pt x="2451" y="1962"/>
                      </a:lnTo>
                      <a:lnTo>
                        <a:pt x="2451" y="1965"/>
                      </a:lnTo>
                      <a:lnTo>
                        <a:pt x="2448" y="1965"/>
                      </a:lnTo>
                      <a:lnTo>
                        <a:pt x="2448" y="1967"/>
                      </a:lnTo>
                      <a:lnTo>
                        <a:pt x="2451" y="1967"/>
                      </a:lnTo>
                      <a:lnTo>
                        <a:pt x="2448" y="1967"/>
                      </a:lnTo>
                      <a:lnTo>
                        <a:pt x="2445" y="1965"/>
                      </a:lnTo>
                      <a:lnTo>
                        <a:pt x="2443" y="1967"/>
                      </a:lnTo>
                      <a:lnTo>
                        <a:pt x="2443" y="1965"/>
                      </a:lnTo>
                      <a:lnTo>
                        <a:pt x="2443" y="1974"/>
                      </a:lnTo>
                      <a:lnTo>
                        <a:pt x="2440" y="1974"/>
                      </a:lnTo>
                      <a:lnTo>
                        <a:pt x="2437" y="1970"/>
                      </a:lnTo>
                      <a:lnTo>
                        <a:pt x="2437" y="1974"/>
                      </a:lnTo>
                      <a:lnTo>
                        <a:pt x="2435" y="1970"/>
                      </a:lnTo>
                      <a:lnTo>
                        <a:pt x="2435" y="1979"/>
                      </a:lnTo>
                      <a:lnTo>
                        <a:pt x="2432" y="1974"/>
                      </a:lnTo>
                      <a:lnTo>
                        <a:pt x="2429" y="1979"/>
                      </a:lnTo>
                      <a:lnTo>
                        <a:pt x="2432" y="1982"/>
                      </a:lnTo>
                      <a:lnTo>
                        <a:pt x="2429" y="1982"/>
                      </a:lnTo>
                      <a:lnTo>
                        <a:pt x="2429" y="1984"/>
                      </a:lnTo>
                      <a:lnTo>
                        <a:pt x="2427" y="1987"/>
                      </a:lnTo>
                      <a:lnTo>
                        <a:pt x="2429" y="1992"/>
                      </a:lnTo>
                      <a:lnTo>
                        <a:pt x="2423" y="1990"/>
                      </a:lnTo>
                      <a:lnTo>
                        <a:pt x="2418" y="1992"/>
                      </a:lnTo>
                      <a:lnTo>
                        <a:pt x="2420" y="1995"/>
                      </a:lnTo>
                      <a:lnTo>
                        <a:pt x="2418" y="1998"/>
                      </a:lnTo>
                      <a:lnTo>
                        <a:pt x="2415" y="1992"/>
                      </a:lnTo>
                      <a:lnTo>
                        <a:pt x="2410" y="1995"/>
                      </a:lnTo>
                      <a:lnTo>
                        <a:pt x="2410" y="1992"/>
                      </a:lnTo>
                      <a:lnTo>
                        <a:pt x="2407" y="1995"/>
                      </a:lnTo>
                      <a:lnTo>
                        <a:pt x="2410" y="1998"/>
                      </a:lnTo>
                      <a:lnTo>
                        <a:pt x="2407" y="2000"/>
                      </a:lnTo>
                      <a:lnTo>
                        <a:pt x="2399" y="2000"/>
                      </a:lnTo>
                      <a:lnTo>
                        <a:pt x="2402" y="2003"/>
                      </a:lnTo>
                      <a:lnTo>
                        <a:pt x="2399" y="2006"/>
                      </a:lnTo>
                      <a:lnTo>
                        <a:pt x="2404" y="2009"/>
                      </a:lnTo>
                      <a:lnTo>
                        <a:pt x="2402" y="2009"/>
                      </a:lnTo>
                      <a:lnTo>
                        <a:pt x="2399" y="2009"/>
                      </a:lnTo>
                      <a:lnTo>
                        <a:pt x="2396" y="2009"/>
                      </a:lnTo>
                      <a:lnTo>
                        <a:pt x="2399" y="2012"/>
                      </a:lnTo>
                      <a:lnTo>
                        <a:pt x="2402" y="2015"/>
                      </a:lnTo>
                      <a:lnTo>
                        <a:pt x="2402" y="2017"/>
                      </a:lnTo>
                      <a:lnTo>
                        <a:pt x="2399" y="2017"/>
                      </a:lnTo>
                      <a:lnTo>
                        <a:pt x="2399" y="2015"/>
                      </a:lnTo>
                      <a:lnTo>
                        <a:pt x="2396" y="2017"/>
                      </a:lnTo>
                      <a:lnTo>
                        <a:pt x="2396" y="2020"/>
                      </a:lnTo>
                      <a:lnTo>
                        <a:pt x="2396" y="2023"/>
                      </a:lnTo>
                      <a:lnTo>
                        <a:pt x="2390" y="2023"/>
                      </a:lnTo>
                      <a:lnTo>
                        <a:pt x="2387" y="2023"/>
                      </a:lnTo>
                      <a:lnTo>
                        <a:pt x="2384" y="2025"/>
                      </a:lnTo>
                      <a:lnTo>
                        <a:pt x="2387" y="2031"/>
                      </a:lnTo>
                      <a:lnTo>
                        <a:pt x="2384" y="2031"/>
                      </a:lnTo>
                      <a:lnTo>
                        <a:pt x="2387" y="2034"/>
                      </a:lnTo>
                      <a:lnTo>
                        <a:pt x="2384" y="2036"/>
                      </a:lnTo>
                      <a:lnTo>
                        <a:pt x="2382" y="2034"/>
                      </a:lnTo>
                      <a:lnTo>
                        <a:pt x="2376" y="2034"/>
                      </a:lnTo>
                      <a:lnTo>
                        <a:pt x="2376" y="2036"/>
                      </a:lnTo>
                      <a:lnTo>
                        <a:pt x="2376" y="2039"/>
                      </a:lnTo>
                      <a:lnTo>
                        <a:pt x="2371" y="2039"/>
                      </a:lnTo>
                      <a:lnTo>
                        <a:pt x="2374" y="2043"/>
                      </a:lnTo>
                      <a:lnTo>
                        <a:pt x="2374" y="2045"/>
                      </a:lnTo>
                      <a:lnTo>
                        <a:pt x="2366" y="2048"/>
                      </a:lnTo>
                      <a:lnTo>
                        <a:pt x="2366" y="2051"/>
                      </a:lnTo>
                      <a:lnTo>
                        <a:pt x="2368" y="2051"/>
                      </a:lnTo>
                      <a:lnTo>
                        <a:pt x="2371" y="2053"/>
                      </a:lnTo>
                      <a:lnTo>
                        <a:pt x="2371" y="2056"/>
                      </a:lnTo>
                      <a:lnTo>
                        <a:pt x="2368" y="2059"/>
                      </a:lnTo>
                      <a:lnTo>
                        <a:pt x="2371" y="2064"/>
                      </a:lnTo>
                      <a:lnTo>
                        <a:pt x="2371" y="2067"/>
                      </a:lnTo>
                      <a:lnTo>
                        <a:pt x="2366" y="2064"/>
                      </a:lnTo>
                      <a:lnTo>
                        <a:pt x="2363" y="2067"/>
                      </a:lnTo>
                      <a:lnTo>
                        <a:pt x="2360" y="2067"/>
                      </a:lnTo>
                      <a:lnTo>
                        <a:pt x="2360" y="2069"/>
                      </a:lnTo>
                      <a:lnTo>
                        <a:pt x="2358" y="2069"/>
                      </a:lnTo>
                      <a:lnTo>
                        <a:pt x="2363" y="2075"/>
                      </a:lnTo>
                      <a:lnTo>
                        <a:pt x="2360" y="2078"/>
                      </a:lnTo>
                      <a:lnTo>
                        <a:pt x="2360" y="2075"/>
                      </a:lnTo>
                      <a:lnTo>
                        <a:pt x="2354" y="2075"/>
                      </a:lnTo>
                      <a:lnTo>
                        <a:pt x="2358" y="2078"/>
                      </a:lnTo>
                      <a:lnTo>
                        <a:pt x="2354" y="2081"/>
                      </a:lnTo>
                      <a:lnTo>
                        <a:pt x="2351" y="2075"/>
                      </a:lnTo>
                      <a:lnTo>
                        <a:pt x="2343" y="2078"/>
                      </a:lnTo>
                      <a:lnTo>
                        <a:pt x="2343" y="2075"/>
                      </a:lnTo>
                      <a:lnTo>
                        <a:pt x="2341" y="2075"/>
                      </a:lnTo>
                      <a:lnTo>
                        <a:pt x="2341" y="2072"/>
                      </a:lnTo>
                      <a:lnTo>
                        <a:pt x="2335" y="2069"/>
                      </a:lnTo>
                      <a:lnTo>
                        <a:pt x="2335" y="2067"/>
                      </a:lnTo>
                      <a:lnTo>
                        <a:pt x="2335" y="2072"/>
                      </a:lnTo>
                      <a:lnTo>
                        <a:pt x="2338" y="2072"/>
                      </a:lnTo>
                      <a:lnTo>
                        <a:pt x="2330" y="2078"/>
                      </a:lnTo>
                      <a:lnTo>
                        <a:pt x="2333" y="2081"/>
                      </a:lnTo>
                      <a:lnTo>
                        <a:pt x="2333" y="2089"/>
                      </a:lnTo>
                      <a:lnTo>
                        <a:pt x="2330" y="2092"/>
                      </a:lnTo>
                      <a:lnTo>
                        <a:pt x="2327" y="2089"/>
                      </a:lnTo>
                      <a:lnTo>
                        <a:pt x="2327" y="2092"/>
                      </a:lnTo>
                      <a:lnTo>
                        <a:pt x="2327" y="2094"/>
                      </a:lnTo>
                      <a:lnTo>
                        <a:pt x="2324" y="2094"/>
                      </a:lnTo>
                      <a:lnTo>
                        <a:pt x="2327" y="2097"/>
                      </a:lnTo>
                      <a:lnTo>
                        <a:pt x="2327" y="2100"/>
                      </a:lnTo>
                      <a:lnTo>
                        <a:pt x="2330" y="2100"/>
                      </a:lnTo>
                      <a:lnTo>
                        <a:pt x="2330" y="2102"/>
                      </a:lnTo>
                      <a:lnTo>
                        <a:pt x="2324" y="2102"/>
                      </a:lnTo>
                      <a:lnTo>
                        <a:pt x="2327" y="2105"/>
                      </a:lnTo>
                      <a:lnTo>
                        <a:pt x="2327" y="2108"/>
                      </a:lnTo>
                      <a:lnTo>
                        <a:pt x="2330" y="2108"/>
                      </a:lnTo>
                      <a:lnTo>
                        <a:pt x="2330" y="2112"/>
                      </a:lnTo>
                      <a:lnTo>
                        <a:pt x="2330" y="2117"/>
                      </a:lnTo>
                      <a:lnTo>
                        <a:pt x="2324" y="2117"/>
                      </a:lnTo>
                      <a:lnTo>
                        <a:pt x="2321" y="2122"/>
                      </a:lnTo>
                      <a:lnTo>
                        <a:pt x="2324" y="2122"/>
                      </a:lnTo>
                      <a:lnTo>
                        <a:pt x="2333" y="2125"/>
                      </a:lnTo>
                      <a:lnTo>
                        <a:pt x="2335" y="2130"/>
                      </a:lnTo>
                      <a:lnTo>
                        <a:pt x="2338" y="2133"/>
                      </a:lnTo>
                      <a:lnTo>
                        <a:pt x="2338" y="2138"/>
                      </a:lnTo>
                      <a:lnTo>
                        <a:pt x="2338" y="2147"/>
                      </a:lnTo>
                      <a:lnTo>
                        <a:pt x="2338" y="2150"/>
                      </a:lnTo>
                      <a:lnTo>
                        <a:pt x="2341" y="2150"/>
                      </a:lnTo>
                      <a:lnTo>
                        <a:pt x="2343" y="2153"/>
                      </a:lnTo>
                      <a:lnTo>
                        <a:pt x="2349" y="2144"/>
                      </a:lnTo>
                      <a:lnTo>
                        <a:pt x="2351" y="2155"/>
                      </a:lnTo>
                      <a:lnTo>
                        <a:pt x="2354" y="2155"/>
                      </a:lnTo>
                      <a:lnTo>
                        <a:pt x="2358" y="2155"/>
                      </a:lnTo>
                      <a:lnTo>
                        <a:pt x="2360" y="2153"/>
                      </a:lnTo>
                      <a:lnTo>
                        <a:pt x="2374" y="2150"/>
                      </a:lnTo>
                      <a:lnTo>
                        <a:pt x="2379" y="2147"/>
                      </a:lnTo>
                      <a:lnTo>
                        <a:pt x="2384" y="2147"/>
                      </a:lnTo>
                      <a:lnTo>
                        <a:pt x="2390" y="2150"/>
                      </a:lnTo>
                      <a:lnTo>
                        <a:pt x="2399" y="2153"/>
                      </a:lnTo>
                      <a:lnTo>
                        <a:pt x="2407" y="2150"/>
                      </a:lnTo>
                      <a:lnTo>
                        <a:pt x="2412" y="2153"/>
                      </a:lnTo>
                      <a:lnTo>
                        <a:pt x="2415" y="2158"/>
                      </a:lnTo>
                      <a:lnTo>
                        <a:pt x="2418" y="2163"/>
                      </a:lnTo>
                      <a:lnTo>
                        <a:pt x="2427" y="2171"/>
                      </a:lnTo>
                      <a:lnTo>
                        <a:pt x="2432" y="2180"/>
                      </a:lnTo>
                      <a:lnTo>
                        <a:pt x="2435" y="2186"/>
                      </a:lnTo>
                      <a:lnTo>
                        <a:pt x="2435" y="2191"/>
                      </a:lnTo>
                      <a:lnTo>
                        <a:pt x="2435" y="2199"/>
                      </a:lnTo>
                      <a:lnTo>
                        <a:pt x="2429" y="2199"/>
                      </a:lnTo>
                      <a:lnTo>
                        <a:pt x="2429" y="2205"/>
                      </a:lnTo>
                      <a:lnTo>
                        <a:pt x="2429" y="2207"/>
                      </a:lnTo>
                      <a:lnTo>
                        <a:pt x="2432" y="2207"/>
                      </a:lnTo>
                      <a:lnTo>
                        <a:pt x="2432" y="2210"/>
                      </a:lnTo>
                      <a:lnTo>
                        <a:pt x="2432" y="2213"/>
                      </a:lnTo>
                      <a:lnTo>
                        <a:pt x="2427" y="2219"/>
                      </a:lnTo>
                      <a:lnTo>
                        <a:pt x="2420" y="2219"/>
                      </a:lnTo>
                      <a:lnTo>
                        <a:pt x="2420" y="2222"/>
                      </a:lnTo>
                      <a:lnTo>
                        <a:pt x="2418" y="2222"/>
                      </a:lnTo>
                      <a:lnTo>
                        <a:pt x="2415" y="2224"/>
                      </a:lnTo>
                      <a:lnTo>
                        <a:pt x="2415" y="2230"/>
                      </a:lnTo>
                      <a:lnTo>
                        <a:pt x="2412" y="2235"/>
                      </a:lnTo>
                      <a:lnTo>
                        <a:pt x="2407" y="2241"/>
                      </a:lnTo>
                      <a:lnTo>
                        <a:pt x="2404" y="2243"/>
                      </a:lnTo>
                      <a:lnTo>
                        <a:pt x="2404" y="2246"/>
                      </a:lnTo>
                      <a:lnTo>
                        <a:pt x="2407" y="2249"/>
                      </a:lnTo>
                      <a:lnTo>
                        <a:pt x="2407" y="2252"/>
                      </a:lnTo>
                      <a:lnTo>
                        <a:pt x="2404" y="2255"/>
                      </a:lnTo>
                      <a:lnTo>
                        <a:pt x="2404" y="2258"/>
                      </a:lnTo>
                      <a:lnTo>
                        <a:pt x="2399" y="2260"/>
                      </a:lnTo>
                      <a:lnTo>
                        <a:pt x="2399" y="2263"/>
                      </a:lnTo>
                      <a:lnTo>
                        <a:pt x="2402" y="2266"/>
                      </a:lnTo>
                      <a:lnTo>
                        <a:pt x="2399" y="2268"/>
                      </a:lnTo>
                      <a:lnTo>
                        <a:pt x="2396" y="2268"/>
                      </a:lnTo>
                      <a:lnTo>
                        <a:pt x="2402" y="2271"/>
                      </a:lnTo>
                      <a:lnTo>
                        <a:pt x="2399" y="2271"/>
                      </a:lnTo>
                      <a:lnTo>
                        <a:pt x="2396" y="2274"/>
                      </a:lnTo>
                      <a:lnTo>
                        <a:pt x="2393" y="2276"/>
                      </a:lnTo>
                      <a:lnTo>
                        <a:pt x="2390" y="2279"/>
                      </a:lnTo>
                      <a:lnTo>
                        <a:pt x="2393" y="2282"/>
                      </a:lnTo>
                      <a:lnTo>
                        <a:pt x="2396" y="2288"/>
                      </a:lnTo>
                      <a:lnTo>
                        <a:pt x="2396" y="2291"/>
                      </a:lnTo>
                      <a:lnTo>
                        <a:pt x="2396" y="2293"/>
                      </a:lnTo>
                      <a:lnTo>
                        <a:pt x="2399" y="2296"/>
                      </a:lnTo>
                      <a:lnTo>
                        <a:pt x="2396" y="2301"/>
                      </a:lnTo>
                      <a:lnTo>
                        <a:pt x="2399" y="2304"/>
                      </a:lnTo>
                      <a:lnTo>
                        <a:pt x="2396" y="2304"/>
                      </a:lnTo>
                      <a:lnTo>
                        <a:pt x="2399" y="2307"/>
                      </a:lnTo>
                      <a:lnTo>
                        <a:pt x="2402" y="2307"/>
                      </a:lnTo>
                      <a:lnTo>
                        <a:pt x="2404" y="2310"/>
                      </a:lnTo>
                      <a:lnTo>
                        <a:pt x="2402" y="2312"/>
                      </a:lnTo>
                      <a:lnTo>
                        <a:pt x="2404" y="2312"/>
                      </a:lnTo>
                      <a:lnTo>
                        <a:pt x="2402" y="2315"/>
                      </a:lnTo>
                      <a:lnTo>
                        <a:pt x="2404" y="2318"/>
                      </a:lnTo>
                      <a:lnTo>
                        <a:pt x="2402" y="2318"/>
                      </a:lnTo>
                      <a:lnTo>
                        <a:pt x="2404" y="2320"/>
                      </a:lnTo>
                      <a:lnTo>
                        <a:pt x="2404" y="2324"/>
                      </a:lnTo>
                      <a:lnTo>
                        <a:pt x="2407" y="2324"/>
                      </a:lnTo>
                      <a:lnTo>
                        <a:pt x="2407" y="2329"/>
                      </a:lnTo>
                      <a:lnTo>
                        <a:pt x="2415" y="2335"/>
                      </a:lnTo>
                      <a:lnTo>
                        <a:pt x="2415" y="2340"/>
                      </a:lnTo>
                      <a:lnTo>
                        <a:pt x="2412" y="2340"/>
                      </a:lnTo>
                      <a:lnTo>
                        <a:pt x="2412" y="2343"/>
                      </a:lnTo>
                      <a:lnTo>
                        <a:pt x="2412" y="2348"/>
                      </a:lnTo>
                      <a:lnTo>
                        <a:pt x="2415" y="2348"/>
                      </a:lnTo>
                      <a:lnTo>
                        <a:pt x="2415" y="2351"/>
                      </a:lnTo>
                      <a:lnTo>
                        <a:pt x="2420" y="2353"/>
                      </a:lnTo>
                      <a:lnTo>
                        <a:pt x="2423" y="2357"/>
                      </a:lnTo>
                      <a:lnTo>
                        <a:pt x="2420" y="2360"/>
                      </a:lnTo>
                      <a:lnTo>
                        <a:pt x="2423" y="2362"/>
                      </a:lnTo>
                      <a:lnTo>
                        <a:pt x="2420" y="2362"/>
                      </a:lnTo>
                      <a:lnTo>
                        <a:pt x="2423" y="2362"/>
                      </a:lnTo>
                      <a:lnTo>
                        <a:pt x="2427" y="2368"/>
                      </a:lnTo>
                      <a:lnTo>
                        <a:pt x="2427" y="2373"/>
                      </a:lnTo>
                      <a:lnTo>
                        <a:pt x="2423" y="2376"/>
                      </a:lnTo>
                      <a:lnTo>
                        <a:pt x="2420" y="2376"/>
                      </a:lnTo>
                      <a:lnTo>
                        <a:pt x="2418" y="2376"/>
                      </a:lnTo>
                      <a:lnTo>
                        <a:pt x="2420" y="2381"/>
                      </a:lnTo>
                      <a:lnTo>
                        <a:pt x="2415" y="2379"/>
                      </a:lnTo>
                      <a:lnTo>
                        <a:pt x="2412" y="2379"/>
                      </a:lnTo>
                      <a:lnTo>
                        <a:pt x="2404" y="2384"/>
                      </a:lnTo>
                      <a:lnTo>
                        <a:pt x="2402" y="2387"/>
                      </a:lnTo>
                      <a:lnTo>
                        <a:pt x="2396" y="2384"/>
                      </a:lnTo>
                      <a:lnTo>
                        <a:pt x="2396" y="2389"/>
                      </a:lnTo>
                      <a:lnTo>
                        <a:pt x="2399" y="2389"/>
                      </a:lnTo>
                      <a:lnTo>
                        <a:pt x="2399" y="2393"/>
                      </a:lnTo>
                      <a:lnTo>
                        <a:pt x="2393" y="2396"/>
                      </a:lnTo>
                      <a:lnTo>
                        <a:pt x="2393" y="2398"/>
                      </a:lnTo>
                      <a:lnTo>
                        <a:pt x="2387" y="2398"/>
                      </a:lnTo>
                      <a:lnTo>
                        <a:pt x="2384" y="2401"/>
                      </a:lnTo>
                      <a:lnTo>
                        <a:pt x="2382" y="2398"/>
                      </a:lnTo>
                      <a:lnTo>
                        <a:pt x="2382" y="2404"/>
                      </a:lnTo>
                      <a:lnTo>
                        <a:pt x="2376" y="2406"/>
                      </a:lnTo>
                      <a:lnTo>
                        <a:pt x="2382" y="2406"/>
                      </a:lnTo>
                      <a:lnTo>
                        <a:pt x="2382" y="2409"/>
                      </a:lnTo>
                      <a:lnTo>
                        <a:pt x="2376" y="2409"/>
                      </a:lnTo>
                      <a:lnTo>
                        <a:pt x="2374" y="2412"/>
                      </a:lnTo>
                      <a:lnTo>
                        <a:pt x="2374" y="2409"/>
                      </a:lnTo>
                      <a:lnTo>
                        <a:pt x="2368" y="2409"/>
                      </a:lnTo>
                      <a:lnTo>
                        <a:pt x="2366" y="2414"/>
                      </a:lnTo>
                      <a:lnTo>
                        <a:pt x="2368" y="2417"/>
                      </a:lnTo>
                      <a:lnTo>
                        <a:pt x="2368" y="2420"/>
                      </a:lnTo>
                      <a:lnTo>
                        <a:pt x="2366" y="2420"/>
                      </a:lnTo>
                      <a:lnTo>
                        <a:pt x="2363" y="2417"/>
                      </a:lnTo>
                      <a:lnTo>
                        <a:pt x="2360" y="2417"/>
                      </a:lnTo>
                      <a:lnTo>
                        <a:pt x="2354" y="2422"/>
                      </a:lnTo>
                      <a:lnTo>
                        <a:pt x="2351" y="2422"/>
                      </a:lnTo>
                      <a:lnTo>
                        <a:pt x="2351" y="2425"/>
                      </a:lnTo>
                      <a:lnTo>
                        <a:pt x="2346" y="2422"/>
                      </a:lnTo>
                      <a:lnTo>
                        <a:pt x="2346" y="2425"/>
                      </a:lnTo>
                      <a:lnTo>
                        <a:pt x="2343" y="2429"/>
                      </a:lnTo>
                      <a:lnTo>
                        <a:pt x="2346" y="2431"/>
                      </a:lnTo>
                      <a:lnTo>
                        <a:pt x="2343" y="2431"/>
                      </a:lnTo>
                      <a:lnTo>
                        <a:pt x="2341" y="2434"/>
                      </a:lnTo>
                      <a:lnTo>
                        <a:pt x="2338" y="2431"/>
                      </a:lnTo>
                      <a:lnTo>
                        <a:pt x="2333" y="2434"/>
                      </a:lnTo>
                      <a:lnTo>
                        <a:pt x="2333" y="2439"/>
                      </a:lnTo>
                      <a:lnTo>
                        <a:pt x="2327" y="2442"/>
                      </a:lnTo>
                      <a:lnTo>
                        <a:pt x="2327" y="2445"/>
                      </a:lnTo>
                      <a:lnTo>
                        <a:pt x="2327" y="2448"/>
                      </a:lnTo>
                      <a:lnTo>
                        <a:pt x="2324" y="2445"/>
                      </a:lnTo>
                      <a:lnTo>
                        <a:pt x="2324" y="2442"/>
                      </a:lnTo>
                      <a:lnTo>
                        <a:pt x="2324" y="2434"/>
                      </a:lnTo>
                      <a:lnTo>
                        <a:pt x="2324" y="2431"/>
                      </a:lnTo>
                      <a:lnTo>
                        <a:pt x="2321" y="2431"/>
                      </a:lnTo>
                      <a:lnTo>
                        <a:pt x="2315" y="2437"/>
                      </a:lnTo>
                      <a:lnTo>
                        <a:pt x="2313" y="2437"/>
                      </a:lnTo>
                      <a:lnTo>
                        <a:pt x="2310" y="2442"/>
                      </a:lnTo>
                      <a:lnTo>
                        <a:pt x="2307" y="2445"/>
                      </a:lnTo>
                      <a:lnTo>
                        <a:pt x="2302" y="2445"/>
                      </a:lnTo>
                      <a:lnTo>
                        <a:pt x="2307" y="2448"/>
                      </a:lnTo>
                      <a:lnTo>
                        <a:pt x="2305" y="2448"/>
                      </a:lnTo>
                      <a:lnTo>
                        <a:pt x="2302" y="2448"/>
                      </a:lnTo>
                      <a:lnTo>
                        <a:pt x="2297" y="2453"/>
                      </a:lnTo>
                      <a:lnTo>
                        <a:pt x="2297" y="2456"/>
                      </a:lnTo>
                      <a:lnTo>
                        <a:pt x="2297" y="2458"/>
                      </a:lnTo>
                      <a:lnTo>
                        <a:pt x="2297" y="2462"/>
                      </a:lnTo>
                      <a:lnTo>
                        <a:pt x="2294" y="2458"/>
                      </a:lnTo>
                      <a:lnTo>
                        <a:pt x="2294" y="2456"/>
                      </a:lnTo>
                      <a:lnTo>
                        <a:pt x="2289" y="2458"/>
                      </a:lnTo>
                      <a:lnTo>
                        <a:pt x="2291" y="2465"/>
                      </a:lnTo>
                      <a:lnTo>
                        <a:pt x="2285" y="2467"/>
                      </a:lnTo>
                      <a:lnTo>
                        <a:pt x="2282" y="2470"/>
                      </a:lnTo>
                      <a:lnTo>
                        <a:pt x="2285" y="2473"/>
                      </a:lnTo>
                      <a:lnTo>
                        <a:pt x="2289" y="2478"/>
                      </a:lnTo>
                      <a:lnTo>
                        <a:pt x="2294" y="2481"/>
                      </a:lnTo>
                      <a:lnTo>
                        <a:pt x="2289" y="2486"/>
                      </a:lnTo>
                      <a:lnTo>
                        <a:pt x="2289" y="2489"/>
                      </a:lnTo>
                      <a:lnTo>
                        <a:pt x="2285" y="2489"/>
                      </a:lnTo>
                      <a:lnTo>
                        <a:pt x="2280" y="2491"/>
                      </a:lnTo>
                      <a:lnTo>
                        <a:pt x="2280" y="2489"/>
                      </a:lnTo>
                      <a:lnTo>
                        <a:pt x="2277" y="2486"/>
                      </a:lnTo>
                      <a:lnTo>
                        <a:pt x="2274" y="2486"/>
                      </a:lnTo>
                      <a:lnTo>
                        <a:pt x="2269" y="2500"/>
                      </a:lnTo>
                      <a:lnTo>
                        <a:pt x="2266" y="2500"/>
                      </a:lnTo>
                      <a:lnTo>
                        <a:pt x="2264" y="2500"/>
                      </a:lnTo>
                      <a:lnTo>
                        <a:pt x="2264" y="2503"/>
                      </a:lnTo>
                      <a:lnTo>
                        <a:pt x="2258" y="2508"/>
                      </a:lnTo>
                      <a:lnTo>
                        <a:pt x="2255" y="2508"/>
                      </a:lnTo>
                      <a:lnTo>
                        <a:pt x="2252" y="2508"/>
                      </a:lnTo>
                      <a:lnTo>
                        <a:pt x="2252" y="2503"/>
                      </a:lnTo>
                      <a:lnTo>
                        <a:pt x="2241" y="2503"/>
                      </a:lnTo>
                      <a:lnTo>
                        <a:pt x="2244" y="2508"/>
                      </a:lnTo>
                      <a:lnTo>
                        <a:pt x="2241" y="2508"/>
                      </a:lnTo>
                      <a:lnTo>
                        <a:pt x="2238" y="2511"/>
                      </a:lnTo>
                      <a:lnTo>
                        <a:pt x="2236" y="2516"/>
                      </a:lnTo>
                      <a:lnTo>
                        <a:pt x="2238" y="2519"/>
                      </a:lnTo>
                      <a:lnTo>
                        <a:pt x="2238" y="2522"/>
                      </a:lnTo>
                      <a:lnTo>
                        <a:pt x="2233" y="2522"/>
                      </a:lnTo>
                      <a:lnTo>
                        <a:pt x="2230" y="2525"/>
                      </a:lnTo>
                      <a:lnTo>
                        <a:pt x="2225" y="2527"/>
                      </a:lnTo>
                      <a:lnTo>
                        <a:pt x="2222" y="2525"/>
                      </a:lnTo>
                      <a:lnTo>
                        <a:pt x="2220" y="2525"/>
                      </a:lnTo>
                      <a:lnTo>
                        <a:pt x="2216" y="2522"/>
                      </a:lnTo>
                      <a:lnTo>
                        <a:pt x="2220" y="2519"/>
                      </a:lnTo>
                      <a:lnTo>
                        <a:pt x="2216" y="2519"/>
                      </a:lnTo>
                      <a:lnTo>
                        <a:pt x="2213" y="2516"/>
                      </a:lnTo>
                      <a:lnTo>
                        <a:pt x="2211" y="2519"/>
                      </a:lnTo>
                      <a:lnTo>
                        <a:pt x="2205" y="2522"/>
                      </a:lnTo>
                      <a:lnTo>
                        <a:pt x="2205" y="2527"/>
                      </a:lnTo>
                      <a:lnTo>
                        <a:pt x="2203" y="2534"/>
                      </a:lnTo>
                      <a:lnTo>
                        <a:pt x="2205" y="2536"/>
                      </a:lnTo>
                      <a:lnTo>
                        <a:pt x="2205" y="2539"/>
                      </a:lnTo>
                      <a:lnTo>
                        <a:pt x="2203" y="2539"/>
                      </a:lnTo>
                      <a:lnTo>
                        <a:pt x="2197" y="2536"/>
                      </a:lnTo>
                      <a:lnTo>
                        <a:pt x="2195" y="2534"/>
                      </a:lnTo>
                      <a:lnTo>
                        <a:pt x="2192" y="2536"/>
                      </a:lnTo>
                      <a:lnTo>
                        <a:pt x="2192" y="2539"/>
                      </a:lnTo>
                      <a:lnTo>
                        <a:pt x="2189" y="2542"/>
                      </a:lnTo>
                      <a:lnTo>
                        <a:pt x="2192" y="2544"/>
                      </a:lnTo>
                      <a:lnTo>
                        <a:pt x="2192" y="2547"/>
                      </a:lnTo>
                      <a:lnTo>
                        <a:pt x="2189" y="2550"/>
                      </a:lnTo>
                      <a:lnTo>
                        <a:pt x="2187" y="2550"/>
                      </a:lnTo>
                      <a:lnTo>
                        <a:pt x="2183" y="2547"/>
                      </a:lnTo>
                      <a:lnTo>
                        <a:pt x="2180" y="2550"/>
                      </a:lnTo>
                      <a:lnTo>
                        <a:pt x="2169" y="2544"/>
                      </a:lnTo>
                      <a:lnTo>
                        <a:pt x="2167" y="2547"/>
                      </a:lnTo>
                      <a:lnTo>
                        <a:pt x="2164" y="2555"/>
                      </a:lnTo>
                      <a:lnTo>
                        <a:pt x="2161" y="2555"/>
                      </a:lnTo>
                      <a:lnTo>
                        <a:pt x="2156" y="2558"/>
                      </a:lnTo>
                      <a:lnTo>
                        <a:pt x="2153" y="2560"/>
                      </a:lnTo>
                      <a:lnTo>
                        <a:pt x="2151" y="2558"/>
                      </a:lnTo>
                      <a:lnTo>
                        <a:pt x="2151" y="2550"/>
                      </a:lnTo>
                      <a:lnTo>
                        <a:pt x="2147" y="2550"/>
                      </a:lnTo>
                      <a:lnTo>
                        <a:pt x="2144" y="2550"/>
                      </a:lnTo>
                      <a:lnTo>
                        <a:pt x="2144" y="2544"/>
                      </a:lnTo>
                      <a:lnTo>
                        <a:pt x="2144" y="2539"/>
                      </a:lnTo>
                      <a:lnTo>
                        <a:pt x="2144" y="2536"/>
                      </a:lnTo>
                      <a:lnTo>
                        <a:pt x="2136" y="2542"/>
                      </a:lnTo>
                      <a:lnTo>
                        <a:pt x="2134" y="2542"/>
                      </a:lnTo>
                      <a:lnTo>
                        <a:pt x="2131" y="2539"/>
                      </a:lnTo>
                      <a:lnTo>
                        <a:pt x="2131" y="2536"/>
                      </a:lnTo>
                      <a:lnTo>
                        <a:pt x="2125" y="2534"/>
                      </a:lnTo>
                      <a:lnTo>
                        <a:pt x="2120" y="2531"/>
                      </a:lnTo>
                      <a:lnTo>
                        <a:pt x="2117" y="2525"/>
                      </a:lnTo>
                      <a:lnTo>
                        <a:pt x="2114" y="2522"/>
                      </a:lnTo>
                      <a:lnTo>
                        <a:pt x="2111" y="2522"/>
                      </a:lnTo>
                      <a:lnTo>
                        <a:pt x="2108" y="2527"/>
                      </a:lnTo>
                      <a:lnTo>
                        <a:pt x="2106" y="2531"/>
                      </a:lnTo>
                      <a:lnTo>
                        <a:pt x="2100" y="2531"/>
                      </a:lnTo>
                      <a:lnTo>
                        <a:pt x="2098" y="2531"/>
                      </a:lnTo>
                      <a:lnTo>
                        <a:pt x="2090" y="2527"/>
                      </a:lnTo>
                      <a:lnTo>
                        <a:pt x="2084" y="2525"/>
                      </a:lnTo>
                      <a:lnTo>
                        <a:pt x="2075" y="2522"/>
                      </a:lnTo>
                      <a:lnTo>
                        <a:pt x="2075" y="2516"/>
                      </a:lnTo>
                      <a:lnTo>
                        <a:pt x="2070" y="2511"/>
                      </a:lnTo>
                      <a:lnTo>
                        <a:pt x="2070" y="2506"/>
                      </a:lnTo>
                      <a:lnTo>
                        <a:pt x="2065" y="2506"/>
                      </a:lnTo>
                      <a:lnTo>
                        <a:pt x="2056" y="2503"/>
                      </a:lnTo>
                      <a:lnTo>
                        <a:pt x="2045" y="2503"/>
                      </a:lnTo>
                      <a:lnTo>
                        <a:pt x="2042" y="2500"/>
                      </a:lnTo>
                      <a:lnTo>
                        <a:pt x="2042" y="2494"/>
                      </a:lnTo>
                      <a:lnTo>
                        <a:pt x="2031" y="2494"/>
                      </a:lnTo>
                      <a:lnTo>
                        <a:pt x="2029" y="2489"/>
                      </a:lnTo>
                      <a:lnTo>
                        <a:pt x="2026" y="2489"/>
                      </a:lnTo>
                      <a:lnTo>
                        <a:pt x="2023" y="2489"/>
                      </a:lnTo>
                      <a:lnTo>
                        <a:pt x="2018" y="2494"/>
                      </a:lnTo>
                      <a:lnTo>
                        <a:pt x="2006" y="2503"/>
                      </a:lnTo>
                      <a:lnTo>
                        <a:pt x="2006" y="2506"/>
                      </a:lnTo>
                      <a:lnTo>
                        <a:pt x="2012" y="2508"/>
                      </a:lnTo>
                      <a:lnTo>
                        <a:pt x="2012" y="2511"/>
                      </a:lnTo>
                      <a:lnTo>
                        <a:pt x="2009" y="2511"/>
                      </a:lnTo>
                      <a:lnTo>
                        <a:pt x="2004" y="2511"/>
                      </a:lnTo>
                      <a:lnTo>
                        <a:pt x="2001" y="2506"/>
                      </a:lnTo>
                      <a:lnTo>
                        <a:pt x="1998" y="2506"/>
                      </a:lnTo>
                      <a:lnTo>
                        <a:pt x="1996" y="2506"/>
                      </a:lnTo>
                      <a:lnTo>
                        <a:pt x="1993" y="2503"/>
                      </a:lnTo>
                      <a:lnTo>
                        <a:pt x="1988" y="2506"/>
                      </a:lnTo>
                      <a:lnTo>
                        <a:pt x="1973" y="2506"/>
                      </a:lnTo>
                      <a:lnTo>
                        <a:pt x="1970" y="2506"/>
                      </a:lnTo>
                      <a:lnTo>
                        <a:pt x="1970" y="2500"/>
                      </a:lnTo>
                      <a:lnTo>
                        <a:pt x="1968" y="2500"/>
                      </a:lnTo>
                      <a:lnTo>
                        <a:pt x="1965" y="2500"/>
                      </a:lnTo>
                      <a:lnTo>
                        <a:pt x="1960" y="2503"/>
                      </a:lnTo>
                      <a:lnTo>
                        <a:pt x="1954" y="2500"/>
                      </a:lnTo>
                      <a:lnTo>
                        <a:pt x="1940" y="2508"/>
                      </a:lnTo>
                      <a:lnTo>
                        <a:pt x="1937" y="2506"/>
                      </a:lnTo>
                      <a:lnTo>
                        <a:pt x="1940" y="2500"/>
                      </a:lnTo>
                      <a:lnTo>
                        <a:pt x="1937" y="2498"/>
                      </a:lnTo>
                      <a:lnTo>
                        <a:pt x="1935" y="2498"/>
                      </a:lnTo>
                      <a:lnTo>
                        <a:pt x="1927" y="2503"/>
                      </a:lnTo>
                      <a:lnTo>
                        <a:pt x="1921" y="2498"/>
                      </a:lnTo>
                      <a:lnTo>
                        <a:pt x="1913" y="2498"/>
                      </a:lnTo>
                      <a:lnTo>
                        <a:pt x="1909" y="2494"/>
                      </a:lnTo>
                      <a:lnTo>
                        <a:pt x="1909" y="2489"/>
                      </a:lnTo>
                      <a:lnTo>
                        <a:pt x="1907" y="2486"/>
                      </a:lnTo>
                      <a:lnTo>
                        <a:pt x="1899" y="2486"/>
                      </a:lnTo>
                      <a:lnTo>
                        <a:pt x="1896" y="2489"/>
                      </a:lnTo>
                      <a:lnTo>
                        <a:pt x="1893" y="2489"/>
                      </a:lnTo>
                      <a:lnTo>
                        <a:pt x="1877" y="2486"/>
                      </a:lnTo>
                      <a:lnTo>
                        <a:pt x="1874" y="2489"/>
                      </a:lnTo>
                      <a:lnTo>
                        <a:pt x="1874" y="2491"/>
                      </a:lnTo>
                      <a:lnTo>
                        <a:pt x="1874" y="2494"/>
                      </a:lnTo>
                      <a:lnTo>
                        <a:pt x="1868" y="2494"/>
                      </a:lnTo>
                      <a:lnTo>
                        <a:pt x="1863" y="2494"/>
                      </a:lnTo>
                      <a:lnTo>
                        <a:pt x="1858" y="2494"/>
                      </a:lnTo>
                      <a:lnTo>
                        <a:pt x="1852" y="2498"/>
                      </a:lnTo>
                      <a:lnTo>
                        <a:pt x="1847" y="2494"/>
                      </a:lnTo>
                      <a:lnTo>
                        <a:pt x="1838" y="2498"/>
                      </a:lnTo>
                      <a:lnTo>
                        <a:pt x="1830" y="2494"/>
                      </a:lnTo>
                      <a:lnTo>
                        <a:pt x="1822" y="2500"/>
                      </a:lnTo>
                      <a:lnTo>
                        <a:pt x="1816" y="2498"/>
                      </a:lnTo>
                      <a:lnTo>
                        <a:pt x="1811" y="2500"/>
                      </a:lnTo>
                      <a:lnTo>
                        <a:pt x="1805" y="2508"/>
                      </a:lnTo>
                      <a:lnTo>
                        <a:pt x="1799" y="2508"/>
                      </a:lnTo>
                      <a:lnTo>
                        <a:pt x="1797" y="2494"/>
                      </a:lnTo>
                      <a:lnTo>
                        <a:pt x="1794" y="2491"/>
                      </a:lnTo>
                      <a:lnTo>
                        <a:pt x="1781" y="2489"/>
                      </a:lnTo>
                      <a:lnTo>
                        <a:pt x="1778" y="2483"/>
                      </a:lnTo>
                      <a:lnTo>
                        <a:pt x="1766" y="2483"/>
                      </a:lnTo>
                      <a:lnTo>
                        <a:pt x="1763" y="2478"/>
                      </a:lnTo>
                      <a:lnTo>
                        <a:pt x="1755" y="2478"/>
                      </a:lnTo>
                      <a:lnTo>
                        <a:pt x="1747" y="2486"/>
                      </a:lnTo>
                      <a:lnTo>
                        <a:pt x="1742" y="2489"/>
                      </a:lnTo>
                      <a:lnTo>
                        <a:pt x="1739" y="2491"/>
                      </a:lnTo>
                      <a:lnTo>
                        <a:pt x="1736" y="2491"/>
                      </a:lnTo>
                      <a:lnTo>
                        <a:pt x="1736" y="2500"/>
                      </a:lnTo>
                      <a:lnTo>
                        <a:pt x="1733" y="2500"/>
                      </a:lnTo>
                      <a:lnTo>
                        <a:pt x="1730" y="2506"/>
                      </a:lnTo>
                      <a:lnTo>
                        <a:pt x="1728" y="2506"/>
                      </a:lnTo>
                      <a:lnTo>
                        <a:pt x="1720" y="2503"/>
                      </a:lnTo>
                      <a:lnTo>
                        <a:pt x="1712" y="2508"/>
                      </a:lnTo>
                      <a:lnTo>
                        <a:pt x="1712" y="2514"/>
                      </a:lnTo>
                      <a:lnTo>
                        <a:pt x="1709" y="2519"/>
                      </a:lnTo>
                      <a:lnTo>
                        <a:pt x="1697" y="2525"/>
                      </a:lnTo>
                      <a:lnTo>
                        <a:pt x="1697" y="2522"/>
                      </a:lnTo>
                      <a:lnTo>
                        <a:pt x="1692" y="2522"/>
                      </a:lnTo>
                      <a:lnTo>
                        <a:pt x="1689" y="2519"/>
                      </a:lnTo>
                      <a:lnTo>
                        <a:pt x="1684" y="2519"/>
                      </a:lnTo>
                      <a:lnTo>
                        <a:pt x="1684" y="2516"/>
                      </a:lnTo>
                      <a:lnTo>
                        <a:pt x="1686" y="2514"/>
                      </a:lnTo>
                      <a:lnTo>
                        <a:pt x="1686" y="2511"/>
                      </a:lnTo>
                      <a:lnTo>
                        <a:pt x="1678" y="2511"/>
                      </a:lnTo>
                      <a:lnTo>
                        <a:pt x="1667" y="2519"/>
                      </a:lnTo>
                      <a:lnTo>
                        <a:pt x="1664" y="2522"/>
                      </a:lnTo>
                      <a:lnTo>
                        <a:pt x="1653" y="2525"/>
                      </a:lnTo>
                      <a:lnTo>
                        <a:pt x="1645" y="2522"/>
                      </a:lnTo>
                      <a:lnTo>
                        <a:pt x="1642" y="2525"/>
                      </a:lnTo>
                      <a:lnTo>
                        <a:pt x="1642" y="2527"/>
                      </a:lnTo>
                      <a:lnTo>
                        <a:pt x="1651" y="2534"/>
                      </a:lnTo>
                      <a:lnTo>
                        <a:pt x="1651" y="2536"/>
                      </a:lnTo>
                      <a:lnTo>
                        <a:pt x="1651" y="2539"/>
                      </a:lnTo>
                      <a:lnTo>
                        <a:pt x="1648" y="2542"/>
                      </a:lnTo>
                      <a:lnTo>
                        <a:pt x="1642" y="2544"/>
                      </a:lnTo>
                      <a:lnTo>
                        <a:pt x="1637" y="2550"/>
                      </a:lnTo>
                      <a:lnTo>
                        <a:pt x="1631" y="2560"/>
                      </a:lnTo>
                      <a:lnTo>
                        <a:pt x="1628" y="2569"/>
                      </a:lnTo>
                      <a:lnTo>
                        <a:pt x="1620" y="2572"/>
                      </a:lnTo>
                      <a:lnTo>
                        <a:pt x="1617" y="2572"/>
                      </a:lnTo>
                      <a:lnTo>
                        <a:pt x="1615" y="2575"/>
                      </a:lnTo>
                      <a:lnTo>
                        <a:pt x="1612" y="2577"/>
                      </a:lnTo>
                      <a:lnTo>
                        <a:pt x="1609" y="2585"/>
                      </a:lnTo>
                      <a:lnTo>
                        <a:pt x="1607" y="2588"/>
                      </a:lnTo>
                      <a:lnTo>
                        <a:pt x="1598" y="2585"/>
                      </a:lnTo>
                      <a:lnTo>
                        <a:pt x="1595" y="2585"/>
                      </a:lnTo>
                      <a:lnTo>
                        <a:pt x="1590" y="2599"/>
                      </a:lnTo>
                      <a:lnTo>
                        <a:pt x="1582" y="2608"/>
                      </a:lnTo>
                      <a:lnTo>
                        <a:pt x="1579" y="2616"/>
                      </a:lnTo>
                      <a:lnTo>
                        <a:pt x="1576" y="2619"/>
                      </a:lnTo>
                      <a:lnTo>
                        <a:pt x="1568" y="2621"/>
                      </a:lnTo>
                      <a:lnTo>
                        <a:pt x="1562" y="2619"/>
                      </a:lnTo>
                      <a:lnTo>
                        <a:pt x="1559" y="2619"/>
                      </a:lnTo>
                      <a:lnTo>
                        <a:pt x="1554" y="2605"/>
                      </a:lnTo>
                      <a:lnTo>
                        <a:pt x="1535" y="2585"/>
                      </a:lnTo>
                      <a:lnTo>
                        <a:pt x="1531" y="2577"/>
                      </a:lnTo>
                      <a:lnTo>
                        <a:pt x="1531" y="2572"/>
                      </a:lnTo>
                      <a:lnTo>
                        <a:pt x="1531" y="2563"/>
                      </a:lnTo>
                      <a:lnTo>
                        <a:pt x="1531" y="2560"/>
                      </a:lnTo>
                      <a:lnTo>
                        <a:pt x="1529" y="2558"/>
                      </a:lnTo>
                      <a:lnTo>
                        <a:pt x="1526" y="2558"/>
                      </a:lnTo>
                      <a:lnTo>
                        <a:pt x="1518" y="2555"/>
                      </a:lnTo>
                      <a:lnTo>
                        <a:pt x="1513" y="2558"/>
                      </a:lnTo>
                      <a:lnTo>
                        <a:pt x="1510" y="2558"/>
                      </a:lnTo>
                      <a:lnTo>
                        <a:pt x="1507" y="2560"/>
                      </a:lnTo>
                      <a:lnTo>
                        <a:pt x="1510" y="2572"/>
                      </a:lnTo>
                      <a:lnTo>
                        <a:pt x="1507" y="2575"/>
                      </a:lnTo>
                      <a:lnTo>
                        <a:pt x="1507" y="2577"/>
                      </a:lnTo>
                      <a:lnTo>
                        <a:pt x="1505" y="2577"/>
                      </a:lnTo>
                      <a:lnTo>
                        <a:pt x="1502" y="2580"/>
                      </a:lnTo>
                      <a:lnTo>
                        <a:pt x="1495" y="2577"/>
                      </a:lnTo>
                      <a:lnTo>
                        <a:pt x="1474" y="2580"/>
                      </a:lnTo>
                      <a:lnTo>
                        <a:pt x="1466" y="2583"/>
                      </a:lnTo>
                      <a:lnTo>
                        <a:pt x="1466" y="2585"/>
                      </a:lnTo>
                      <a:lnTo>
                        <a:pt x="1462" y="2588"/>
                      </a:lnTo>
                      <a:lnTo>
                        <a:pt x="1471" y="2596"/>
                      </a:lnTo>
                      <a:lnTo>
                        <a:pt x="1469" y="2603"/>
                      </a:lnTo>
                      <a:lnTo>
                        <a:pt x="1466" y="2603"/>
                      </a:lnTo>
                      <a:lnTo>
                        <a:pt x="1457" y="2596"/>
                      </a:lnTo>
                      <a:lnTo>
                        <a:pt x="1454" y="2596"/>
                      </a:lnTo>
                      <a:lnTo>
                        <a:pt x="1449" y="2596"/>
                      </a:lnTo>
                      <a:lnTo>
                        <a:pt x="1444" y="2599"/>
                      </a:lnTo>
                      <a:lnTo>
                        <a:pt x="1436" y="2605"/>
                      </a:lnTo>
                      <a:lnTo>
                        <a:pt x="1430" y="2608"/>
                      </a:lnTo>
                      <a:lnTo>
                        <a:pt x="1426" y="2608"/>
                      </a:lnTo>
                      <a:lnTo>
                        <a:pt x="1421" y="2605"/>
                      </a:lnTo>
                      <a:lnTo>
                        <a:pt x="1416" y="2608"/>
                      </a:lnTo>
                      <a:lnTo>
                        <a:pt x="1413" y="2613"/>
                      </a:lnTo>
                      <a:lnTo>
                        <a:pt x="1410" y="2619"/>
                      </a:lnTo>
                      <a:lnTo>
                        <a:pt x="1408" y="2619"/>
                      </a:lnTo>
                      <a:lnTo>
                        <a:pt x="1405" y="2619"/>
                      </a:lnTo>
                      <a:lnTo>
                        <a:pt x="1397" y="2616"/>
                      </a:lnTo>
                      <a:lnTo>
                        <a:pt x="1388" y="2616"/>
                      </a:lnTo>
                      <a:lnTo>
                        <a:pt x="1383" y="2611"/>
                      </a:lnTo>
                      <a:lnTo>
                        <a:pt x="1377" y="2611"/>
                      </a:lnTo>
                      <a:lnTo>
                        <a:pt x="1375" y="2608"/>
                      </a:lnTo>
                      <a:lnTo>
                        <a:pt x="1372" y="2605"/>
                      </a:lnTo>
                      <a:lnTo>
                        <a:pt x="1369" y="2605"/>
                      </a:lnTo>
                      <a:lnTo>
                        <a:pt x="1361" y="2611"/>
                      </a:lnTo>
                      <a:lnTo>
                        <a:pt x="1349" y="2611"/>
                      </a:lnTo>
                      <a:lnTo>
                        <a:pt x="1333" y="2608"/>
                      </a:lnTo>
                      <a:lnTo>
                        <a:pt x="1331" y="2603"/>
                      </a:lnTo>
                      <a:lnTo>
                        <a:pt x="1316" y="2603"/>
                      </a:lnTo>
                      <a:lnTo>
                        <a:pt x="1311" y="2603"/>
                      </a:lnTo>
                      <a:lnTo>
                        <a:pt x="1308" y="2605"/>
                      </a:lnTo>
                      <a:lnTo>
                        <a:pt x="1303" y="2619"/>
                      </a:lnTo>
                      <a:lnTo>
                        <a:pt x="1298" y="2624"/>
                      </a:lnTo>
                      <a:lnTo>
                        <a:pt x="1289" y="2632"/>
                      </a:lnTo>
                      <a:lnTo>
                        <a:pt x="1255" y="2627"/>
                      </a:lnTo>
                      <a:lnTo>
                        <a:pt x="1242" y="2636"/>
                      </a:lnTo>
                      <a:lnTo>
                        <a:pt x="1234" y="2636"/>
                      </a:lnTo>
                      <a:lnTo>
                        <a:pt x="1219" y="2632"/>
                      </a:lnTo>
                      <a:lnTo>
                        <a:pt x="1211" y="2636"/>
                      </a:lnTo>
                      <a:lnTo>
                        <a:pt x="1206" y="2638"/>
                      </a:lnTo>
                      <a:lnTo>
                        <a:pt x="1203" y="2641"/>
                      </a:lnTo>
                      <a:lnTo>
                        <a:pt x="1198" y="2644"/>
                      </a:lnTo>
                      <a:lnTo>
                        <a:pt x="1193" y="2649"/>
                      </a:lnTo>
                      <a:lnTo>
                        <a:pt x="1178" y="2668"/>
                      </a:lnTo>
                      <a:lnTo>
                        <a:pt x="1170" y="2690"/>
                      </a:lnTo>
                      <a:lnTo>
                        <a:pt x="1168" y="2693"/>
                      </a:lnTo>
                      <a:lnTo>
                        <a:pt x="1162" y="2693"/>
                      </a:lnTo>
                      <a:lnTo>
                        <a:pt x="1153" y="2696"/>
                      </a:lnTo>
                      <a:lnTo>
                        <a:pt x="1150" y="2698"/>
                      </a:lnTo>
                      <a:lnTo>
                        <a:pt x="1150" y="2701"/>
                      </a:lnTo>
                      <a:lnTo>
                        <a:pt x="1142" y="2724"/>
                      </a:lnTo>
                      <a:lnTo>
                        <a:pt x="1134" y="2734"/>
                      </a:lnTo>
                      <a:lnTo>
                        <a:pt x="1132" y="2734"/>
                      </a:lnTo>
                      <a:lnTo>
                        <a:pt x="1121" y="2741"/>
                      </a:lnTo>
                      <a:lnTo>
                        <a:pt x="1115" y="2743"/>
                      </a:lnTo>
                      <a:lnTo>
                        <a:pt x="1115" y="2749"/>
                      </a:lnTo>
                      <a:lnTo>
                        <a:pt x="1121" y="2762"/>
                      </a:lnTo>
                      <a:lnTo>
                        <a:pt x="1117" y="2770"/>
                      </a:lnTo>
                      <a:lnTo>
                        <a:pt x="1121" y="2773"/>
                      </a:lnTo>
                      <a:lnTo>
                        <a:pt x="1121" y="2784"/>
                      </a:lnTo>
                      <a:lnTo>
                        <a:pt x="1109" y="2801"/>
                      </a:lnTo>
                      <a:lnTo>
                        <a:pt x="1104" y="2812"/>
                      </a:lnTo>
                      <a:lnTo>
                        <a:pt x="1101" y="2812"/>
                      </a:lnTo>
                      <a:lnTo>
                        <a:pt x="1101" y="2815"/>
                      </a:lnTo>
                      <a:lnTo>
                        <a:pt x="1091" y="2820"/>
                      </a:lnTo>
                      <a:lnTo>
                        <a:pt x="1084" y="2826"/>
                      </a:lnTo>
                      <a:lnTo>
                        <a:pt x="1060" y="2826"/>
                      </a:lnTo>
                      <a:lnTo>
                        <a:pt x="1055" y="2826"/>
                      </a:lnTo>
                      <a:lnTo>
                        <a:pt x="1048" y="2826"/>
                      </a:lnTo>
                      <a:lnTo>
                        <a:pt x="1046" y="2828"/>
                      </a:lnTo>
                      <a:lnTo>
                        <a:pt x="1048" y="2836"/>
                      </a:lnTo>
                      <a:lnTo>
                        <a:pt x="1046" y="2842"/>
                      </a:lnTo>
                      <a:lnTo>
                        <a:pt x="1024" y="2848"/>
                      </a:lnTo>
                      <a:lnTo>
                        <a:pt x="1022" y="2853"/>
                      </a:lnTo>
                      <a:lnTo>
                        <a:pt x="1022" y="2859"/>
                      </a:lnTo>
                      <a:lnTo>
                        <a:pt x="1022" y="2862"/>
                      </a:lnTo>
                      <a:lnTo>
                        <a:pt x="1019" y="2867"/>
                      </a:lnTo>
                      <a:lnTo>
                        <a:pt x="1010" y="2878"/>
                      </a:lnTo>
                      <a:lnTo>
                        <a:pt x="1002" y="2878"/>
                      </a:lnTo>
                      <a:lnTo>
                        <a:pt x="991" y="2889"/>
                      </a:lnTo>
                      <a:lnTo>
                        <a:pt x="986" y="2897"/>
                      </a:lnTo>
                      <a:lnTo>
                        <a:pt x="986" y="2900"/>
                      </a:lnTo>
                      <a:lnTo>
                        <a:pt x="983" y="2905"/>
                      </a:lnTo>
                      <a:lnTo>
                        <a:pt x="983" y="2913"/>
                      </a:lnTo>
                      <a:lnTo>
                        <a:pt x="977" y="2922"/>
                      </a:lnTo>
                      <a:lnTo>
                        <a:pt x="974" y="2933"/>
                      </a:lnTo>
                      <a:lnTo>
                        <a:pt x="969" y="2939"/>
                      </a:lnTo>
                      <a:lnTo>
                        <a:pt x="969" y="2941"/>
                      </a:lnTo>
                      <a:lnTo>
                        <a:pt x="966" y="2947"/>
                      </a:lnTo>
                      <a:lnTo>
                        <a:pt x="969" y="2950"/>
                      </a:lnTo>
                      <a:lnTo>
                        <a:pt x="983" y="2961"/>
                      </a:lnTo>
                      <a:lnTo>
                        <a:pt x="988" y="2969"/>
                      </a:lnTo>
                      <a:lnTo>
                        <a:pt x="988" y="2972"/>
                      </a:lnTo>
                      <a:lnTo>
                        <a:pt x="983" y="2977"/>
                      </a:lnTo>
                      <a:lnTo>
                        <a:pt x="979" y="2977"/>
                      </a:lnTo>
                      <a:lnTo>
                        <a:pt x="955" y="2969"/>
                      </a:lnTo>
                      <a:lnTo>
                        <a:pt x="941" y="2964"/>
                      </a:lnTo>
                      <a:lnTo>
                        <a:pt x="941" y="2961"/>
                      </a:lnTo>
                      <a:lnTo>
                        <a:pt x="938" y="2958"/>
                      </a:lnTo>
                      <a:lnTo>
                        <a:pt x="935" y="2956"/>
                      </a:lnTo>
                      <a:lnTo>
                        <a:pt x="930" y="2950"/>
                      </a:lnTo>
                      <a:lnTo>
                        <a:pt x="922" y="2950"/>
                      </a:lnTo>
                      <a:lnTo>
                        <a:pt x="922" y="2941"/>
                      </a:lnTo>
                      <a:lnTo>
                        <a:pt x="914" y="2941"/>
                      </a:lnTo>
                      <a:lnTo>
                        <a:pt x="917" y="2939"/>
                      </a:lnTo>
                      <a:lnTo>
                        <a:pt x="914" y="2936"/>
                      </a:lnTo>
                      <a:lnTo>
                        <a:pt x="910" y="2939"/>
                      </a:lnTo>
                      <a:lnTo>
                        <a:pt x="902" y="2936"/>
                      </a:lnTo>
                      <a:lnTo>
                        <a:pt x="908" y="2933"/>
                      </a:lnTo>
                      <a:lnTo>
                        <a:pt x="908" y="2930"/>
                      </a:lnTo>
                      <a:lnTo>
                        <a:pt x="905" y="2928"/>
                      </a:lnTo>
                      <a:lnTo>
                        <a:pt x="902" y="2920"/>
                      </a:lnTo>
                      <a:lnTo>
                        <a:pt x="900" y="2920"/>
                      </a:lnTo>
                      <a:lnTo>
                        <a:pt x="900" y="2913"/>
                      </a:lnTo>
                      <a:lnTo>
                        <a:pt x="894" y="2908"/>
                      </a:lnTo>
                      <a:lnTo>
                        <a:pt x="892" y="2905"/>
                      </a:lnTo>
                      <a:lnTo>
                        <a:pt x="889" y="2908"/>
                      </a:lnTo>
                      <a:lnTo>
                        <a:pt x="889" y="2905"/>
                      </a:lnTo>
                      <a:lnTo>
                        <a:pt x="881" y="2900"/>
                      </a:lnTo>
                      <a:lnTo>
                        <a:pt x="881" y="2897"/>
                      </a:lnTo>
                      <a:lnTo>
                        <a:pt x="877" y="2897"/>
                      </a:lnTo>
                      <a:lnTo>
                        <a:pt x="872" y="2897"/>
                      </a:lnTo>
                      <a:lnTo>
                        <a:pt x="869" y="2895"/>
                      </a:lnTo>
                      <a:lnTo>
                        <a:pt x="864" y="2895"/>
                      </a:lnTo>
                      <a:lnTo>
                        <a:pt x="858" y="2889"/>
                      </a:lnTo>
                      <a:lnTo>
                        <a:pt x="848" y="2889"/>
                      </a:lnTo>
                      <a:lnTo>
                        <a:pt x="841" y="2887"/>
                      </a:lnTo>
                      <a:lnTo>
                        <a:pt x="839" y="2881"/>
                      </a:lnTo>
                      <a:lnTo>
                        <a:pt x="833" y="2881"/>
                      </a:lnTo>
                      <a:lnTo>
                        <a:pt x="833" y="2878"/>
                      </a:lnTo>
                      <a:lnTo>
                        <a:pt x="831" y="2881"/>
                      </a:lnTo>
                      <a:lnTo>
                        <a:pt x="828" y="2878"/>
                      </a:lnTo>
                      <a:lnTo>
                        <a:pt x="825" y="2878"/>
                      </a:lnTo>
                      <a:lnTo>
                        <a:pt x="823" y="2878"/>
                      </a:lnTo>
                      <a:lnTo>
                        <a:pt x="823" y="2881"/>
                      </a:lnTo>
                      <a:lnTo>
                        <a:pt x="817" y="2881"/>
                      </a:lnTo>
                      <a:lnTo>
                        <a:pt x="815" y="2884"/>
                      </a:lnTo>
                      <a:lnTo>
                        <a:pt x="812" y="2881"/>
                      </a:lnTo>
                      <a:lnTo>
                        <a:pt x="803" y="2878"/>
                      </a:lnTo>
                      <a:lnTo>
                        <a:pt x="803" y="2872"/>
                      </a:lnTo>
                      <a:lnTo>
                        <a:pt x="800" y="2875"/>
                      </a:lnTo>
                      <a:lnTo>
                        <a:pt x="798" y="2872"/>
                      </a:lnTo>
                      <a:lnTo>
                        <a:pt x="795" y="2870"/>
                      </a:lnTo>
                      <a:lnTo>
                        <a:pt x="792" y="2870"/>
                      </a:lnTo>
                      <a:lnTo>
                        <a:pt x="792" y="2862"/>
                      </a:lnTo>
                      <a:lnTo>
                        <a:pt x="781" y="2862"/>
                      </a:lnTo>
                      <a:lnTo>
                        <a:pt x="775" y="2859"/>
                      </a:lnTo>
                      <a:lnTo>
                        <a:pt x="767" y="2862"/>
                      </a:lnTo>
                      <a:lnTo>
                        <a:pt x="767" y="2859"/>
                      </a:lnTo>
                      <a:lnTo>
                        <a:pt x="764" y="2856"/>
                      </a:lnTo>
                      <a:lnTo>
                        <a:pt x="764" y="2853"/>
                      </a:lnTo>
                      <a:lnTo>
                        <a:pt x="764" y="2851"/>
                      </a:lnTo>
                      <a:lnTo>
                        <a:pt x="756" y="2851"/>
                      </a:lnTo>
                      <a:lnTo>
                        <a:pt x="754" y="2848"/>
                      </a:lnTo>
                      <a:lnTo>
                        <a:pt x="751" y="2848"/>
                      </a:lnTo>
                      <a:lnTo>
                        <a:pt x="751" y="2845"/>
                      </a:lnTo>
                      <a:lnTo>
                        <a:pt x="748" y="2845"/>
                      </a:lnTo>
                      <a:lnTo>
                        <a:pt x="751" y="2842"/>
                      </a:lnTo>
                      <a:lnTo>
                        <a:pt x="748" y="2842"/>
                      </a:lnTo>
                      <a:lnTo>
                        <a:pt x="746" y="2839"/>
                      </a:lnTo>
                      <a:lnTo>
                        <a:pt x="743" y="2839"/>
                      </a:lnTo>
                      <a:lnTo>
                        <a:pt x="736" y="2839"/>
                      </a:lnTo>
                      <a:lnTo>
                        <a:pt x="734" y="2836"/>
                      </a:lnTo>
                      <a:lnTo>
                        <a:pt x="731" y="2836"/>
                      </a:lnTo>
                      <a:lnTo>
                        <a:pt x="728" y="2839"/>
                      </a:lnTo>
                      <a:lnTo>
                        <a:pt x="723" y="2834"/>
                      </a:lnTo>
                      <a:lnTo>
                        <a:pt x="720" y="2836"/>
                      </a:lnTo>
                      <a:lnTo>
                        <a:pt x="715" y="2836"/>
                      </a:lnTo>
                      <a:lnTo>
                        <a:pt x="712" y="2834"/>
                      </a:lnTo>
                      <a:lnTo>
                        <a:pt x="712" y="2831"/>
                      </a:lnTo>
                      <a:lnTo>
                        <a:pt x="710" y="2831"/>
                      </a:lnTo>
                      <a:lnTo>
                        <a:pt x="701" y="2828"/>
                      </a:lnTo>
                      <a:lnTo>
                        <a:pt x="695" y="2828"/>
                      </a:lnTo>
                      <a:lnTo>
                        <a:pt x="693" y="2828"/>
                      </a:lnTo>
                      <a:lnTo>
                        <a:pt x="690" y="2826"/>
                      </a:lnTo>
                      <a:lnTo>
                        <a:pt x="682" y="2826"/>
                      </a:lnTo>
                      <a:lnTo>
                        <a:pt x="682" y="2823"/>
                      </a:lnTo>
                      <a:lnTo>
                        <a:pt x="677" y="2823"/>
                      </a:lnTo>
                      <a:lnTo>
                        <a:pt x="674" y="2826"/>
                      </a:lnTo>
                      <a:lnTo>
                        <a:pt x="667" y="2828"/>
                      </a:lnTo>
                      <a:lnTo>
                        <a:pt x="667" y="2826"/>
                      </a:lnTo>
                      <a:lnTo>
                        <a:pt x="662" y="2826"/>
                      </a:lnTo>
                      <a:lnTo>
                        <a:pt x="657" y="2823"/>
                      </a:lnTo>
                      <a:lnTo>
                        <a:pt x="654" y="2823"/>
                      </a:lnTo>
                      <a:lnTo>
                        <a:pt x="649" y="2826"/>
                      </a:lnTo>
                      <a:lnTo>
                        <a:pt x="634" y="2818"/>
                      </a:lnTo>
                      <a:lnTo>
                        <a:pt x="632" y="2820"/>
                      </a:lnTo>
                      <a:lnTo>
                        <a:pt x="626" y="2815"/>
                      </a:lnTo>
                      <a:lnTo>
                        <a:pt x="629" y="2815"/>
                      </a:lnTo>
                      <a:lnTo>
                        <a:pt x="626" y="2812"/>
                      </a:lnTo>
                      <a:lnTo>
                        <a:pt x="624" y="2815"/>
                      </a:lnTo>
                      <a:lnTo>
                        <a:pt x="621" y="2815"/>
                      </a:lnTo>
                      <a:lnTo>
                        <a:pt x="618" y="2810"/>
                      </a:lnTo>
                      <a:lnTo>
                        <a:pt x="616" y="2812"/>
                      </a:lnTo>
                      <a:lnTo>
                        <a:pt x="616" y="2810"/>
                      </a:lnTo>
                      <a:lnTo>
                        <a:pt x="613" y="2810"/>
                      </a:lnTo>
                      <a:lnTo>
                        <a:pt x="613" y="2806"/>
                      </a:lnTo>
                      <a:lnTo>
                        <a:pt x="616" y="2806"/>
                      </a:lnTo>
                      <a:lnTo>
                        <a:pt x="613" y="2806"/>
                      </a:lnTo>
                      <a:lnTo>
                        <a:pt x="608" y="2806"/>
                      </a:lnTo>
                      <a:lnTo>
                        <a:pt x="601" y="2801"/>
                      </a:lnTo>
                      <a:lnTo>
                        <a:pt x="599" y="2803"/>
                      </a:lnTo>
                      <a:lnTo>
                        <a:pt x="593" y="2801"/>
                      </a:lnTo>
                      <a:lnTo>
                        <a:pt x="596" y="2801"/>
                      </a:lnTo>
                      <a:lnTo>
                        <a:pt x="590" y="2798"/>
                      </a:lnTo>
                      <a:lnTo>
                        <a:pt x="593" y="2798"/>
                      </a:lnTo>
                      <a:lnTo>
                        <a:pt x="582" y="2793"/>
                      </a:lnTo>
                      <a:lnTo>
                        <a:pt x="574" y="2793"/>
                      </a:lnTo>
                      <a:lnTo>
                        <a:pt x="574" y="2790"/>
                      </a:lnTo>
                      <a:lnTo>
                        <a:pt x="577" y="2787"/>
                      </a:lnTo>
                      <a:lnTo>
                        <a:pt x="574" y="2787"/>
                      </a:lnTo>
                      <a:lnTo>
                        <a:pt x="572" y="2787"/>
                      </a:lnTo>
                      <a:lnTo>
                        <a:pt x="572" y="2790"/>
                      </a:lnTo>
                      <a:lnTo>
                        <a:pt x="568" y="2790"/>
                      </a:lnTo>
                      <a:lnTo>
                        <a:pt x="563" y="2784"/>
                      </a:lnTo>
                      <a:lnTo>
                        <a:pt x="563" y="2782"/>
                      </a:lnTo>
                      <a:lnTo>
                        <a:pt x="560" y="2782"/>
                      </a:lnTo>
                      <a:lnTo>
                        <a:pt x="557" y="2776"/>
                      </a:lnTo>
                      <a:lnTo>
                        <a:pt x="555" y="2776"/>
                      </a:lnTo>
                      <a:lnTo>
                        <a:pt x="555" y="2773"/>
                      </a:lnTo>
                      <a:lnTo>
                        <a:pt x="552" y="2767"/>
                      </a:lnTo>
                      <a:lnTo>
                        <a:pt x="547" y="2767"/>
                      </a:lnTo>
                      <a:lnTo>
                        <a:pt x="544" y="2762"/>
                      </a:lnTo>
                      <a:lnTo>
                        <a:pt x="541" y="2762"/>
                      </a:lnTo>
                      <a:lnTo>
                        <a:pt x="541" y="2759"/>
                      </a:lnTo>
                      <a:lnTo>
                        <a:pt x="536" y="2759"/>
                      </a:lnTo>
                      <a:lnTo>
                        <a:pt x="532" y="2757"/>
                      </a:lnTo>
                      <a:lnTo>
                        <a:pt x="532" y="2759"/>
                      </a:lnTo>
                      <a:lnTo>
                        <a:pt x="530" y="2759"/>
                      </a:lnTo>
                      <a:lnTo>
                        <a:pt x="527" y="2759"/>
                      </a:lnTo>
                      <a:lnTo>
                        <a:pt x="524" y="2757"/>
                      </a:lnTo>
                      <a:lnTo>
                        <a:pt x="521" y="2754"/>
                      </a:lnTo>
                      <a:lnTo>
                        <a:pt x="524" y="2759"/>
                      </a:lnTo>
                      <a:lnTo>
                        <a:pt x="521" y="2759"/>
                      </a:lnTo>
                      <a:lnTo>
                        <a:pt x="519" y="2759"/>
                      </a:lnTo>
                      <a:lnTo>
                        <a:pt x="516" y="2757"/>
                      </a:lnTo>
                      <a:lnTo>
                        <a:pt x="511" y="2757"/>
                      </a:lnTo>
                      <a:lnTo>
                        <a:pt x="511" y="2754"/>
                      </a:lnTo>
                      <a:lnTo>
                        <a:pt x="508" y="2757"/>
                      </a:lnTo>
                      <a:lnTo>
                        <a:pt x="505" y="2759"/>
                      </a:lnTo>
                      <a:lnTo>
                        <a:pt x="503" y="2762"/>
                      </a:lnTo>
                      <a:lnTo>
                        <a:pt x="503" y="2759"/>
                      </a:lnTo>
                      <a:lnTo>
                        <a:pt x="505" y="2757"/>
                      </a:lnTo>
                      <a:lnTo>
                        <a:pt x="503" y="2754"/>
                      </a:lnTo>
                      <a:lnTo>
                        <a:pt x="499" y="2754"/>
                      </a:lnTo>
                      <a:lnTo>
                        <a:pt x="494" y="2751"/>
                      </a:lnTo>
                      <a:lnTo>
                        <a:pt x="494" y="2754"/>
                      </a:lnTo>
                      <a:lnTo>
                        <a:pt x="494" y="2751"/>
                      </a:lnTo>
                      <a:lnTo>
                        <a:pt x="491" y="2749"/>
                      </a:lnTo>
                      <a:lnTo>
                        <a:pt x="488" y="2749"/>
                      </a:lnTo>
                      <a:lnTo>
                        <a:pt x="486" y="2746"/>
                      </a:lnTo>
                      <a:lnTo>
                        <a:pt x="483" y="2749"/>
                      </a:lnTo>
                      <a:lnTo>
                        <a:pt x="478" y="2749"/>
                      </a:lnTo>
                      <a:lnTo>
                        <a:pt x="475" y="2746"/>
                      </a:lnTo>
                      <a:lnTo>
                        <a:pt x="472" y="2746"/>
                      </a:lnTo>
                      <a:lnTo>
                        <a:pt x="472" y="2743"/>
                      </a:lnTo>
                      <a:lnTo>
                        <a:pt x="475" y="2743"/>
                      </a:lnTo>
                      <a:lnTo>
                        <a:pt x="472" y="2743"/>
                      </a:lnTo>
                      <a:lnTo>
                        <a:pt x="467" y="2737"/>
                      </a:lnTo>
                      <a:lnTo>
                        <a:pt x="470" y="2737"/>
                      </a:lnTo>
                      <a:lnTo>
                        <a:pt x="467" y="2734"/>
                      </a:lnTo>
                      <a:lnTo>
                        <a:pt x="467" y="2729"/>
                      </a:lnTo>
                      <a:lnTo>
                        <a:pt x="463" y="2726"/>
                      </a:lnTo>
                      <a:lnTo>
                        <a:pt x="463" y="2729"/>
                      </a:lnTo>
                      <a:lnTo>
                        <a:pt x="458" y="2726"/>
                      </a:lnTo>
                      <a:lnTo>
                        <a:pt x="455" y="2726"/>
                      </a:lnTo>
                      <a:lnTo>
                        <a:pt x="452" y="2724"/>
                      </a:lnTo>
                      <a:lnTo>
                        <a:pt x="450" y="2724"/>
                      </a:lnTo>
                      <a:lnTo>
                        <a:pt x="447" y="2721"/>
                      </a:lnTo>
                      <a:lnTo>
                        <a:pt x="444" y="2718"/>
                      </a:lnTo>
                      <a:lnTo>
                        <a:pt x="442" y="2718"/>
                      </a:lnTo>
                      <a:lnTo>
                        <a:pt x="442" y="2713"/>
                      </a:lnTo>
                      <a:lnTo>
                        <a:pt x="439" y="2710"/>
                      </a:lnTo>
                      <a:lnTo>
                        <a:pt x="439" y="2707"/>
                      </a:lnTo>
                      <a:lnTo>
                        <a:pt x="436" y="2707"/>
                      </a:lnTo>
                      <a:lnTo>
                        <a:pt x="436" y="2704"/>
                      </a:lnTo>
                      <a:lnTo>
                        <a:pt x="434" y="2704"/>
                      </a:lnTo>
                      <a:lnTo>
                        <a:pt x="427" y="2707"/>
                      </a:lnTo>
                      <a:lnTo>
                        <a:pt x="427" y="2704"/>
                      </a:lnTo>
                      <a:lnTo>
                        <a:pt x="425" y="2707"/>
                      </a:lnTo>
                      <a:lnTo>
                        <a:pt x="425" y="2704"/>
                      </a:lnTo>
                      <a:lnTo>
                        <a:pt x="419" y="2701"/>
                      </a:lnTo>
                      <a:lnTo>
                        <a:pt x="409" y="2701"/>
                      </a:lnTo>
                      <a:lnTo>
                        <a:pt x="403" y="2696"/>
                      </a:lnTo>
                      <a:lnTo>
                        <a:pt x="403" y="2698"/>
                      </a:lnTo>
                      <a:lnTo>
                        <a:pt x="397" y="2696"/>
                      </a:lnTo>
                      <a:lnTo>
                        <a:pt x="389" y="2696"/>
                      </a:lnTo>
                      <a:lnTo>
                        <a:pt x="389" y="2701"/>
                      </a:lnTo>
                      <a:lnTo>
                        <a:pt x="384" y="2701"/>
                      </a:lnTo>
                      <a:lnTo>
                        <a:pt x="378" y="2698"/>
                      </a:lnTo>
                      <a:lnTo>
                        <a:pt x="373" y="2696"/>
                      </a:lnTo>
                      <a:lnTo>
                        <a:pt x="373" y="2693"/>
                      </a:lnTo>
                      <a:lnTo>
                        <a:pt x="370" y="2693"/>
                      </a:lnTo>
                      <a:lnTo>
                        <a:pt x="370" y="2690"/>
                      </a:lnTo>
                      <a:lnTo>
                        <a:pt x="365" y="2690"/>
                      </a:lnTo>
                      <a:lnTo>
                        <a:pt x="367" y="2690"/>
                      </a:lnTo>
                      <a:lnTo>
                        <a:pt x="367" y="2685"/>
                      </a:lnTo>
                      <a:lnTo>
                        <a:pt x="358" y="2685"/>
                      </a:lnTo>
                      <a:lnTo>
                        <a:pt x="361" y="2682"/>
                      </a:lnTo>
                      <a:lnTo>
                        <a:pt x="356" y="2682"/>
                      </a:lnTo>
                      <a:lnTo>
                        <a:pt x="356" y="2680"/>
                      </a:lnTo>
                      <a:lnTo>
                        <a:pt x="348" y="2672"/>
                      </a:lnTo>
                      <a:lnTo>
                        <a:pt x="348" y="2668"/>
                      </a:lnTo>
                      <a:lnTo>
                        <a:pt x="342" y="2665"/>
                      </a:lnTo>
                      <a:lnTo>
                        <a:pt x="342" y="2663"/>
                      </a:lnTo>
                      <a:lnTo>
                        <a:pt x="342" y="2660"/>
                      </a:lnTo>
                      <a:lnTo>
                        <a:pt x="337" y="2657"/>
                      </a:lnTo>
                      <a:lnTo>
                        <a:pt x="337" y="2655"/>
                      </a:lnTo>
                      <a:lnTo>
                        <a:pt x="328" y="2638"/>
                      </a:lnTo>
                      <a:lnTo>
                        <a:pt x="317" y="2638"/>
                      </a:lnTo>
                      <a:lnTo>
                        <a:pt x="306" y="2632"/>
                      </a:lnTo>
                      <a:lnTo>
                        <a:pt x="298" y="2629"/>
                      </a:lnTo>
                      <a:lnTo>
                        <a:pt x="298" y="2627"/>
                      </a:lnTo>
                      <a:lnTo>
                        <a:pt x="292" y="2624"/>
                      </a:lnTo>
                      <a:lnTo>
                        <a:pt x="284" y="2624"/>
                      </a:lnTo>
                      <a:lnTo>
                        <a:pt x="284" y="2627"/>
                      </a:lnTo>
                      <a:lnTo>
                        <a:pt x="279" y="2629"/>
                      </a:lnTo>
                      <a:lnTo>
                        <a:pt x="271" y="2636"/>
                      </a:lnTo>
                      <a:lnTo>
                        <a:pt x="268" y="2638"/>
                      </a:lnTo>
                      <a:lnTo>
                        <a:pt x="256" y="2638"/>
                      </a:lnTo>
                      <a:lnTo>
                        <a:pt x="251" y="2641"/>
                      </a:lnTo>
                      <a:lnTo>
                        <a:pt x="248" y="2638"/>
                      </a:lnTo>
                      <a:lnTo>
                        <a:pt x="235" y="2636"/>
                      </a:lnTo>
                      <a:lnTo>
                        <a:pt x="232" y="2636"/>
                      </a:lnTo>
                      <a:lnTo>
                        <a:pt x="218" y="2641"/>
                      </a:lnTo>
                      <a:lnTo>
                        <a:pt x="212" y="2638"/>
                      </a:lnTo>
                      <a:lnTo>
                        <a:pt x="204" y="2638"/>
                      </a:lnTo>
                      <a:lnTo>
                        <a:pt x="199" y="2636"/>
                      </a:lnTo>
                      <a:lnTo>
                        <a:pt x="190" y="2636"/>
                      </a:lnTo>
                      <a:lnTo>
                        <a:pt x="179" y="2629"/>
                      </a:lnTo>
                      <a:lnTo>
                        <a:pt x="174" y="2632"/>
                      </a:lnTo>
                      <a:lnTo>
                        <a:pt x="168" y="2629"/>
                      </a:lnTo>
                      <a:lnTo>
                        <a:pt x="166" y="2629"/>
                      </a:lnTo>
                      <a:lnTo>
                        <a:pt x="166" y="2627"/>
                      </a:lnTo>
                      <a:lnTo>
                        <a:pt x="154" y="2621"/>
                      </a:lnTo>
                      <a:lnTo>
                        <a:pt x="138" y="2619"/>
                      </a:lnTo>
                      <a:lnTo>
                        <a:pt x="138" y="2611"/>
                      </a:lnTo>
                      <a:lnTo>
                        <a:pt x="135" y="2608"/>
                      </a:lnTo>
                      <a:lnTo>
                        <a:pt x="127" y="2608"/>
                      </a:lnTo>
                      <a:lnTo>
                        <a:pt x="130" y="2603"/>
                      </a:lnTo>
                      <a:lnTo>
                        <a:pt x="127" y="2596"/>
                      </a:lnTo>
                      <a:lnTo>
                        <a:pt x="121" y="2591"/>
                      </a:lnTo>
                      <a:lnTo>
                        <a:pt x="121" y="2585"/>
                      </a:lnTo>
                      <a:lnTo>
                        <a:pt x="118" y="2580"/>
                      </a:lnTo>
                      <a:lnTo>
                        <a:pt x="118" y="2577"/>
                      </a:lnTo>
                      <a:lnTo>
                        <a:pt x="127" y="2567"/>
                      </a:lnTo>
                      <a:lnTo>
                        <a:pt x="138" y="2563"/>
                      </a:lnTo>
                      <a:lnTo>
                        <a:pt x="141" y="2555"/>
                      </a:lnTo>
                      <a:lnTo>
                        <a:pt x="143" y="2550"/>
                      </a:lnTo>
                      <a:lnTo>
                        <a:pt x="151" y="2544"/>
                      </a:lnTo>
                      <a:lnTo>
                        <a:pt x="154" y="2534"/>
                      </a:lnTo>
                      <a:lnTo>
                        <a:pt x="154" y="2531"/>
                      </a:lnTo>
                      <a:lnTo>
                        <a:pt x="158" y="2527"/>
                      </a:lnTo>
                      <a:lnTo>
                        <a:pt x="160" y="2527"/>
                      </a:lnTo>
                      <a:lnTo>
                        <a:pt x="168" y="2527"/>
                      </a:lnTo>
                      <a:lnTo>
                        <a:pt x="184" y="2525"/>
                      </a:lnTo>
                      <a:lnTo>
                        <a:pt x="190" y="2514"/>
                      </a:lnTo>
                      <a:lnTo>
                        <a:pt x="199" y="2506"/>
                      </a:lnTo>
                      <a:lnTo>
                        <a:pt x="202" y="2498"/>
                      </a:lnTo>
                      <a:lnTo>
                        <a:pt x="199" y="2494"/>
                      </a:lnTo>
                      <a:lnTo>
                        <a:pt x="199" y="2491"/>
                      </a:lnTo>
                      <a:lnTo>
                        <a:pt x="190" y="2486"/>
                      </a:lnTo>
                      <a:lnTo>
                        <a:pt x="184" y="2483"/>
                      </a:lnTo>
                      <a:lnTo>
                        <a:pt x="176" y="2481"/>
                      </a:lnTo>
                      <a:lnTo>
                        <a:pt x="174" y="2481"/>
                      </a:lnTo>
                      <a:lnTo>
                        <a:pt x="154" y="2481"/>
                      </a:lnTo>
                      <a:lnTo>
                        <a:pt x="135" y="2475"/>
                      </a:lnTo>
                      <a:lnTo>
                        <a:pt x="125" y="2475"/>
                      </a:lnTo>
                      <a:lnTo>
                        <a:pt x="110" y="2478"/>
                      </a:lnTo>
                      <a:lnTo>
                        <a:pt x="97" y="2486"/>
                      </a:lnTo>
                      <a:lnTo>
                        <a:pt x="94" y="2498"/>
                      </a:lnTo>
                      <a:lnTo>
                        <a:pt x="91" y="2498"/>
                      </a:lnTo>
                      <a:lnTo>
                        <a:pt x="85" y="2494"/>
                      </a:lnTo>
                      <a:lnTo>
                        <a:pt x="74" y="2494"/>
                      </a:lnTo>
                      <a:lnTo>
                        <a:pt x="61" y="2481"/>
                      </a:lnTo>
                      <a:lnTo>
                        <a:pt x="61" y="2465"/>
                      </a:lnTo>
                      <a:lnTo>
                        <a:pt x="58" y="2453"/>
                      </a:lnTo>
                      <a:lnTo>
                        <a:pt x="58" y="2442"/>
                      </a:lnTo>
                      <a:lnTo>
                        <a:pt x="49" y="2417"/>
                      </a:lnTo>
                      <a:lnTo>
                        <a:pt x="49" y="2409"/>
                      </a:lnTo>
                      <a:lnTo>
                        <a:pt x="47" y="2393"/>
                      </a:lnTo>
                      <a:lnTo>
                        <a:pt x="44" y="2384"/>
                      </a:lnTo>
                      <a:lnTo>
                        <a:pt x="47" y="2379"/>
                      </a:lnTo>
                      <a:lnTo>
                        <a:pt x="52" y="2376"/>
                      </a:lnTo>
                      <a:lnTo>
                        <a:pt x="56" y="2373"/>
                      </a:lnTo>
                      <a:lnTo>
                        <a:pt x="66" y="2373"/>
                      </a:lnTo>
                      <a:lnTo>
                        <a:pt x="69" y="2373"/>
                      </a:lnTo>
                      <a:lnTo>
                        <a:pt x="72" y="2370"/>
                      </a:lnTo>
                      <a:lnTo>
                        <a:pt x="74" y="2368"/>
                      </a:lnTo>
                      <a:lnTo>
                        <a:pt x="74" y="2343"/>
                      </a:lnTo>
                      <a:lnTo>
                        <a:pt x="72" y="2337"/>
                      </a:lnTo>
                      <a:lnTo>
                        <a:pt x="69" y="2335"/>
                      </a:lnTo>
                      <a:lnTo>
                        <a:pt x="64" y="2324"/>
                      </a:lnTo>
                      <a:lnTo>
                        <a:pt x="49" y="2315"/>
                      </a:lnTo>
                      <a:lnTo>
                        <a:pt x="52" y="2307"/>
                      </a:lnTo>
                      <a:lnTo>
                        <a:pt x="49" y="2304"/>
                      </a:lnTo>
                      <a:lnTo>
                        <a:pt x="49" y="2301"/>
                      </a:lnTo>
                      <a:lnTo>
                        <a:pt x="47" y="2299"/>
                      </a:lnTo>
                      <a:lnTo>
                        <a:pt x="44" y="2296"/>
                      </a:lnTo>
                      <a:lnTo>
                        <a:pt x="47" y="2282"/>
                      </a:lnTo>
                      <a:lnTo>
                        <a:pt x="44" y="2276"/>
                      </a:lnTo>
                      <a:lnTo>
                        <a:pt x="44" y="2274"/>
                      </a:lnTo>
                      <a:lnTo>
                        <a:pt x="38" y="2268"/>
                      </a:lnTo>
                      <a:lnTo>
                        <a:pt x="36" y="2263"/>
                      </a:lnTo>
                      <a:lnTo>
                        <a:pt x="38" y="2260"/>
                      </a:lnTo>
                      <a:lnTo>
                        <a:pt x="33" y="2255"/>
                      </a:lnTo>
                      <a:lnTo>
                        <a:pt x="36" y="2252"/>
                      </a:lnTo>
                      <a:lnTo>
                        <a:pt x="33" y="2252"/>
                      </a:lnTo>
                      <a:lnTo>
                        <a:pt x="30" y="2246"/>
                      </a:lnTo>
                      <a:lnTo>
                        <a:pt x="28" y="2246"/>
                      </a:lnTo>
                      <a:lnTo>
                        <a:pt x="25" y="2243"/>
                      </a:lnTo>
                      <a:lnTo>
                        <a:pt x="22" y="2241"/>
                      </a:lnTo>
                      <a:lnTo>
                        <a:pt x="22" y="2238"/>
                      </a:lnTo>
                      <a:lnTo>
                        <a:pt x="16" y="2235"/>
                      </a:lnTo>
                      <a:lnTo>
                        <a:pt x="13" y="2233"/>
                      </a:lnTo>
                      <a:lnTo>
                        <a:pt x="13" y="2235"/>
                      </a:lnTo>
                      <a:lnTo>
                        <a:pt x="5" y="2230"/>
                      </a:lnTo>
                      <a:lnTo>
                        <a:pt x="8" y="2227"/>
                      </a:lnTo>
                      <a:lnTo>
                        <a:pt x="5" y="2224"/>
                      </a:lnTo>
                      <a:lnTo>
                        <a:pt x="5" y="2222"/>
                      </a:lnTo>
                      <a:lnTo>
                        <a:pt x="3" y="2222"/>
                      </a:lnTo>
                      <a:lnTo>
                        <a:pt x="5" y="2219"/>
                      </a:lnTo>
                      <a:lnTo>
                        <a:pt x="5" y="2215"/>
                      </a:lnTo>
                      <a:lnTo>
                        <a:pt x="3" y="2213"/>
                      </a:lnTo>
                      <a:lnTo>
                        <a:pt x="5" y="2210"/>
                      </a:lnTo>
                      <a:lnTo>
                        <a:pt x="3" y="2210"/>
                      </a:lnTo>
                      <a:lnTo>
                        <a:pt x="3" y="2205"/>
                      </a:lnTo>
                      <a:lnTo>
                        <a:pt x="0" y="2199"/>
                      </a:lnTo>
                      <a:lnTo>
                        <a:pt x="0" y="2194"/>
                      </a:lnTo>
                      <a:lnTo>
                        <a:pt x="3" y="2191"/>
                      </a:lnTo>
                      <a:lnTo>
                        <a:pt x="0" y="2191"/>
                      </a:lnTo>
                      <a:lnTo>
                        <a:pt x="3" y="2189"/>
                      </a:lnTo>
                      <a:lnTo>
                        <a:pt x="3" y="2186"/>
                      </a:lnTo>
                      <a:lnTo>
                        <a:pt x="5" y="2183"/>
                      </a:lnTo>
                      <a:lnTo>
                        <a:pt x="5" y="2180"/>
                      </a:lnTo>
                      <a:lnTo>
                        <a:pt x="5" y="2177"/>
                      </a:lnTo>
                      <a:lnTo>
                        <a:pt x="5" y="2174"/>
                      </a:lnTo>
                      <a:lnTo>
                        <a:pt x="5" y="2171"/>
                      </a:lnTo>
                      <a:lnTo>
                        <a:pt x="5" y="2169"/>
                      </a:lnTo>
                      <a:lnTo>
                        <a:pt x="3" y="2166"/>
                      </a:lnTo>
                      <a:lnTo>
                        <a:pt x="5" y="2163"/>
                      </a:lnTo>
                      <a:lnTo>
                        <a:pt x="3" y="2161"/>
                      </a:lnTo>
                      <a:lnTo>
                        <a:pt x="3" y="2155"/>
                      </a:lnTo>
                      <a:lnTo>
                        <a:pt x="5" y="2155"/>
                      </a:lnTo>
                      <a:lnTo>
                        <a:pt x="3" y="2155"/>
                      </a:lnTo>
                      <a:lnTo>
                        <a:pt x="3" y="2153"/>
                      </a:lnTo>
                      <a:lnTo>
                        <a:pt x="5" y="2147"/>
                      </a:lnTo>
                      <a:lnTo>
                        <a:pt x="5" y="2144"/>
                      </a:lnTo>
                      <a:lnTo>
                        <a:pt x="5" y="2147"/>
                      </a:lnTo>
                      <a:lnTo>
                        <a:pt x="5" y="2141"/>
                      </a:lnTo>
                      <a:close/>
                    </a:path>
                  </a:pathLst>
                </a:custGeom>
                <a:grpFill/>
                <a:ln w="12700" cap="flat" cmpd="sng" algn="ctr">
                  <a:solidFill>
                    <a:schemeClr val="bg1">
                      <a:lumMod val="85000"/>
                    </a:schemeClr>
                  </a:solidFill>
                  <a:prstDash val="solid"/>
                  <a:round/>
                  <a:headEnd type="none" w="med" len="med"/>
                  <a:tailEnd type="none" w="med" len="med"/>
                </a:ln>
              </p:spPr>
            </p:sp>
            <p:sp>
              <p:nvSpPr>
                <p:cNvPr id="48" name="ee4p_BR_9"/>
                <p:cNvSpPr>
                  <a:spLocks noEditPoints="1"/>
                </p:cNvSpPr>
                <p:nvPr>
                  <p:custDataLst>
                    <p:tags r:id="rId10"/>
                  </p:custDataLst>
                </p:nvPr>
              </p:nvSpPr>
              <p:spPr bwMode="auto">
                <a:xfrm>
                  <a:off x="5167734" y="2288634"/>
                  <a:ext cx="726870" cy="1079689"/>
                </a:xfrm>
                <a:custGeom>
                  <a:avLst/>
                  <a:gdLst/>
                  <a:ahLst/>
                  <a:cxnLst>
                    <a:cxn ang="0">
                      <a:pos x="560" y="1327"/>
                    </a:cxn>
                    <a:cxn ang="0">
                      <a:pos x="676" y="1164"/>
                    </a:cxn>
                    <a:cxn ang="0">
                      <a:pos x="731" y="996"/>
                    </a:cxn>
                    <a:cxn ang="0">
                      <a:pos x="814" y="896"/>
                    </a:cxn>
                    <a:cxn ang="0">
                      <a:pos x="866" y="759"/>
                    </a:cxn>
                    <a:cxn ang="0">
                      <a:pos x="919" y="635"/>
                    </a:cxn>
                    <a:cxn ang="0">
                      <a:pos x="1024" y="386"/>
                    </a:cxn>
                    <a:cxn ang="0">
                      <a:pos x="1062" y="85"/>
                    </a:cxn>
                    <a:cxn ang="0">
                      <a:pos x="1123" y="39"/>
                    </a:cxn>
                    <a:cxn ang="0">
                      <a:pos x="1159" y="55"/>
                    </a:cxn>
                    <a:cxn ang="0">
                      <a:pos x="1187" y="61"/>
                    </a:cxn>
                    <a:cxn ang="0">
                      <a:pos x="1244" y="44"/>
                    </a:cxn>
                    <a:cxn ang="0">
                      <a:pos x="1244" y="102"/>
                    </a:cxn>
                    <a:cxn ang="0">
                      <a:pos x="1261" y="133"/>
                    </a:cxn>
                    <a:cxn ang="0">
                      <a:pos x="1297" y="100"/>
                    </a:cxn>
                    <a:cxn ang="0">
                      <a:pos x="1320" y="146"/>
                    </a:cxn>
                    <a:cxn ang="0">
                      <a:pos x="1344" y="207"/>
                    </a:cxn>
                    <a:cxn ang="0">
                      <a:pos x="1380" y="130"/>
                    </a:cxn>
                    <a:cxn ang="0">
                      <a:pos x="1364" y="221"/>
                    </a:cxn>
                    <a:cxn ang="0">
                      <a:pos x="1380" y="284"/>
                    </a:cxn>
                    <a:cxn ang="0">
                      <a:pos x="1474" y="207"/>
                    </a:cxn>
                    <a:cxn ang="0">
                      <a:pos x="1494" y="154"/>
                    </a:cxn>
                    <a:cxn ang="0">
                      <a:pos x="1584" y="154"/>
                    </a:cxn>
                    <a:cxn ang="0">
                      <a:pos x="1617" y="246"/>
                    </a:cxn>
                    <a:cxn ang="0">
                      <a:pos x="1645" y="254"/>
                    </a:cxn>
                    <a:cxn ang="0">
                      <a:pos x="1606" y="320"/>
                    </a:cxn>
                    <a:cxn ang="0">
                      <a:pos x="1678" y="325"/>
                    </a:cxn>
                    <a:cxn ang="0">
                      <a:pos x="1722" y="381"/>
                    </a:cxn>
                    <a:cxn ang="0">
                      <a:pos x="1764" y="571"/>
                    </a:cxn>
                    <a:cxn ang="0">
                      <a:pos x="1888" y="596"/>
                    </a:cxn>
                    <a:cxn ang="0">
                      <a:pos x="2432" y="637"/>
                    </a:cxn>
                    <a:cxn ang="0">
                      <a:pos x="2700" y="690"/>
                    </a:cxn>
                    <a:cxn ang="0">
                      <a:pos x="2746" y="919"/>
                    </a:cxn>
                    <a:cxn ang="0">
                      <a:pos x="2511" y="1057"/>
                    </a:cxn>
                    <a:cxn ang="0">
                      <a:pos x="2391" y="1432"/>
                    </a:cxn>
                    <a:cxn ang="0">
                      <a:pos x="2355" y="1843"/>
                    </a:cxn>
                    <a:cxn ang="0">
                      <a:pos x="2399" y="2187"/>
                    </a:cxn>
                    <a:cxn ang="0">
                      <a:pos x="2136" y="2414"/>
                    </a:cxn>
                    <a:cxn ang="0">
                      <a:pos x="1865" y="2442"/>
                    </a:cxn>
                    <a:cxn ang="0">
                      <a:pos x="1568" y="2670"/>
                    </a:cxn>
                    <a:cxn ang="0">
                      <a:pos x="1330" y="2806"/>
                    </a:cxn>
                    <a:cxn ang="0">
                      <a:pos x="1242" y="3074"/>
                    </a:cxn>
                    <a:cxn ang="0">
                      <a:pos x="1123" y="3308"/>
                    </a:cxn>
                    <a:cxn ang="0">
                      <a:pos x="1200" y="3539"/>
                    </a:cxn>
                    <a:cxn ang="0">
                      <a:pos x="1146" y="3833"/>
                    </a:cxn>
                    <a:cxn ang="0">
                      <a:pos x="858" y="3642"/>
                    </a:cxn>
                    <a:cxn ang="0">
                      <a:pos x="773" y="3413"/>
                    </a:cxn>
                    <a:cxn ang="0">
                      <a:pos x="707" y="3311"/>
                    </a:cxn>
                    <a:cxn ang="0">
                      <a:pos x="748" y="3164"/>
                    </a:cxn>
                    <a:cxn ang="0">
                      <a:pos x="839" y="3056"/>
                    </a:cxn>
                    <a:cxn ang="0">
                      <a:pos x="806" y="2889"/>
                    </a:cxn>
                    <a:cxn ang="0">
                      <a:pos x="666" y="2894"/>
                    </a:cxn>
                    <a:cxn ang="0">
                      <a:pos x="582" y="2767"/>
                    </a:cxn>
                    <a:cxn ang="0">
                      <a:pos x="414" y="2585"/>
                    </a:cxn>
                    <a:cxn ang="0">
                      <a:pos x="538" y="2092"/>
                    </a:cxn>
                    <a:cxn ang="0">
                      <a:pos x="74" y="1765"/>
                    </a:cxn>
                    <a:cxn ang="0">
                      <a:pos x="1629" y="264"/>
                    </a:cxn>
                    <a:cxn ang="0">
                      <a:pos x="1556" y="138"/>
                    </a:cxn>
                    <a:cxn ang="0">
                      <a:pos x="1614" y="218"/>
                    </a:cxn>
                    <a:cxn ang="0">
                      <a:pos x="1929" y="566"/>
                    </a:cxn>
                    <a:cxn ang="0">
                      <a:pos x="1493" y="144"/>
                    </a:cxn>
                    <a:cxn ang="0">
                      <a:pos x="1537" y="141"/>
                    </a:cxn>
                    <a:cxn ang="0">
                      <a:pos x="1612" y="202"/>
                    </a:cxn>
                  </a:cxnLst>
                  <a:rect l="0" t="0" r="r" b="b"/>
                  <a:pathLst>
                    <a:path w="2830" h="3859">
                      <a:moveTo>
                        <a:pt x="0" y="1801"/>
                      </a:moveTo>
                      <a:lnTo>
                        <a:pt x="79" y="1736"/>
                      </a:lnTo>
                      <a:lnTo>
                        <a:pt x="119" y="1708"/>
                      </a:lnTo>
                      <a:lnTo>
                        <a:pt x="122" y="1703"/>
                      </a:lnTo>
                      <a:lnTo>
                        <a:pt x="130" y="1696"/>
                      </a:lnTo>
                      <a:lnTo>
                        <a:pt x="127" y="1691"/>
                      </a:lnTo>
                      <a:lnTo>
                        <a:pt x="130" y="1688"/>
                      </a:lnTo>
                      <a:lnTo>
                        <a:pt x="132" y="1688"/>
                      </a:lnTo>
                      <a:lnTo>
                        <a:pt x="135" y="1691"/>
                      </a:lnTo>
                      <a:lnTo>
                        <a:pt x="143" y="1686"/>
                      </a:lnTo>
                      <a:lnTo>
                        <a:pt x="221" y="1625"/>
                      </a:lnTo>
                      <a:lnTo>
                        <a:pt x="226" y="1619"/>
                      </a:lnTo>
                      <a:lnTo>
                        <a:pt x="273" y="1581"/>
                      </a:lnTo>
                      <a:lnTo>
                        <a:pt x="281" y="1575"/>
                      </a:lnTo>
                      <a:lnTo>
                        <a:pt x="295" y="1565"/>
                      </a:lnTo>
                      <a:lnTo>
                        <a:pt x="329" y="1537"/>
                      </a:lnTo>
                      <a:lnTo>
                        <a:pt x="381" y="1496"/>
                      </a:lnTo>
                      <a:lnTo>
                        <a:pt x="386" y="1487"/>
                      </a:lnTo>
                      <a:lnTo>
                        <a:pt x="392" y="1481"/>
                      </a:lnTo>
                      <a:lnTo>
                        <a:pt x="400" y="1484"/>
                      </a:lnTo>
                      <a:lnTo>
                        <a:pt x="406" y="1484"/>
                      </a:lnTo>
                      <a:lnTo>
                        <a:pt x="408" y="1489"/>
                      </a:lnTo>
                      <a:lnTo>
                        <a:pt x="411" y="1487"/>
                      </a:lnTo>
                      <a:lnTo>
                        <a:pt x="416" y="1489"/>
                      </a:lnTo>
                      <a:lnTo>
                        <a:pt x="422" y="1489"/>
                      </a:lnTo>
                      <a:lnTo>
                        <a:pt x="428" y="1489"/>
                      </a:lnTo>
                      <a:lnTo>
                        <a:pt x="436" y="1493"/>
                      </a:lnTo>
                      <a:lnTo>
                        <a:pt x="447" y="1484"/>
                      </a:lnTo>
                      <a:lnTo>
                        <a:pt x="452" y="1476"/>
                      </a:lnTo>
                      <a:lnTo>
                        <a:pt x="459" y="1473"/>
                      </a:lnTo>
                      <a:lnTo>
                        <a:pt x="464" y="1471"/>
                      </a:lnTo>
                      <a:lnTo>
                        <a:pt x="467" y="1468"/>
                      </a:lnTo>
                      <a:lnTo>
                        <a:pt x="477" y="1453"/>
                      </a:lnTo>
                      <a:lnTo>
                        <a:pt x="483" y="1437"/>
                      </a:lnTo>
                      <a:lnTo>
                        <a:pt x="497" y="1424"/>
                      </a:lnTo>
                      <a:lnTo>
                        <a:pt x="502" y="1415"/>
                      </a:lnTo>
                      <a:lnTo>
                        <a:pt x="508" y="1407"/>
                      </a:lnTo>
                      <a:lnTo>
                        <a:pt x="508" y="1401"/>
                      </a:lnTo>
                      <a:lnTo>
                        <a:pt x="513" y="1396"/>
                      </a:lnTo>
                      <a:lnTo>
                        <a:pt x="513" y="1391"/>
                      </a:lnTo>
                      <a:lnTo>
                        <a:pt x="519" y="1384"/>
                      </a:lnTo>
                      <a:lnTo>
                        <a:pt x="516" y="1384"/>
                      </a:lnTo>
                      <a:lnTo>
                        <a:pt x="519" y="1379"/>
                      </a:lnTo>
                      <a:lnTo>
                        <a:pt x="519" y="1374"/>
                      </a:lnTo>
                      <a:lnTo>
                        <a:pt x="521" y="1371"/>
                      </a:lnTo>
                      <a:lnTo>
                        <a:pt x="519" y="1368"/>
                      </a:lnTo>
                      <a:lnTo>
                        <a:pt x="530" y="1363"/>
                      </a:lnTo>
                      <a:lnTo>
                        <a:pt x="533" y="1358"/>
                      </a:lnTo>
                      <a:lnTo>
                        <a:pt x="536" y="1358"/>
                      </a:lnTo>
                      <a:lnTo>
                        <a:pt x="538" y="1358"/>
                      </a:lnTo>
                      <a:lnTo>
                        <a:pt x="538" y="1352"/>
                      </a:lnTo>
                      <a:lnTo>
                        <a:pt x="544" y="1355"/>
                      </a:lnTo>
                      <a:lnTo>
                        <a:pt x="546" y="1349"/>
                      </a:lnTo>
                      <a:lnTo>
                        <a:pt x="549" y="1349"/>
                      </a:lnTo>
                      <a:lnTo>
                        <a:pt x="554" y="1341"/>
                      </a:lnTo>
                      <a:lnTo>
                        <a:pt x="557" y="1341"/>
                      </a:lnTo>
                      <a:lnTo>
                        <a:pt x="560" y="1341"/>
                      </a:lnTo>
                      <a:lnTo>
                        <a:pt x="557" y="1330"/>
                      </a:lnTo>
                      <a:lnTo>
                        <a:pt x="560" y="1330"/>
                      </a:lnTo>
                      <a:lnTo>
                        <a:pt x="560" y="1327"/>
                      </a:lnTo>
                      <a:lnTo>
                        <a:pt x="563" y="1324"/>
                      </a:lnTo>
                      <a:lnTo>
                        <a:pt x="563" y="1319"/>
                      </a:lnTo>
                      <a:lnTo>
                        <a:pt x="566" y="1315"/>
                      </a:lnTo>
                      <a:lnTo>
                        <a:pt x="563" y="1313"/>
                      </a:lnTo>
                      <a:lnTo>
                        <a:pt x="569" y="1310"/>
                      </a:lnTo>
                      <a:lnTo>
                        <a:pt x="571" y="1313"/>
                      </a:lnTo>
                      <a:lnTo>
                        <a:pt x="574" y="1310"/>
                      </a:lnTo>
                      <a:lnTo>
                        <a:pt x="574" y="1307"/>
                      </a:lnTo>
                      <a:lnTo>
                        <a:pt x="571" y="1302"/>
                      </a:lnTo>
                      <a:lnTo>
                        <a:pt x="574" y="1299"/>
                      </a:lnTo>
                      <a:lnTo>
                        <a:pt x="571" y="1297"/>
                      </a:lnTo>
                      <a:lnTo>
                        <a:pt x="571" y="1291"/>
                      </a:lnTo>
                      <a:lnTo>
                        <a:pt x="569" y="1286"/>
                      </a:lnTo>
                      <a:lnTo>
                        <a:pt x="571" y="1283"/>
                      </a:lnTo>
                      <a:lnTo>
                        <a:pt x="571" y="1280"/>
                      </a:lnTo>
                      <a:lnTo>
                        <a:pt x="577" y="1274"/>
                      </a:lnTo>
                      <a:lnTo>
                        <a:pt x="577" y="1272"/>
                      </a:lnTo>
                      <a:lnTo>
                        <a:pt x="577" y="1266"/>
                      </a:lnTo>
                      <a:lnTo>
                        <a:pt x="579" y="1266"/>
                      </a:lnTo>
                      <a:lnTo>
                        <a:pt x="579" y="1261"/>
                      </a:lnTo>
                      <a:lnTo>
                        <a:pt x="582" y="1258"/>
                      </a:lnTo>
                      <a:lnTo>
                        <a:pt x="588" y="1258"/>
                      </a:lnTo>
                      <a:lnTo>
                        <a:pt x="585" y="1261"/>
                      </a:lnTo>
                      <a:lnTo>
                        <a:pt x="588" y="1261"/>
                      </a:lnTo>
                      <a:lnTo>
                        <a:pt x="588" y="1258"/>
                      </a:lnTo>
                      <a:lnTo>
                        <a:pt x="593" y="1258"/>
                      </a:lnTo>
                      <a:lnTo>
                        <a:pt x="593" y="1255"/>
                      </a:lnTo>
                      <a:lnTo>
                        <a:pt x="597" y="1255"/>
                      </a:lnTo>
                      <a:lnTo>
                        <a:pt x="597" y="1253"/>
                      </a:lnTo>
                      <a:lnTo>
                        <a:pt x="599" y="1250"/>
                      </a:lnTo>
                      <a:lnTo>
                        <a:pt x="605" y="1250"/>
                      </a:lnTo>
                      <a:lnTo>
                        <a:pt x="605" y="1247"/>
                      </a:lnTo>
                      <a:lnTo>
                        <a:pt x="613" y="1241"/>
                      </a:lnTo>
                      <a:lnTo>
                        <a:pt x="615" y="1236"/>
                      </a:lnTo>
                      <a:lnTo>
                        <a:pt x="621" y="1236"/>
                      </a:lnTo>
                      <a:lnTo>
                        <a:pt x="623" y="1236"/>
                      </a:lnTo>
                      <a:lnTo>
                        <a:pt x="626" y="1230"/>
                      </a:lnTo>
                      <a:lnTo>
                        <a:pt x="630" y="1230"/>
                      </a:lnTo>
                      <a:lnTo>
                        <a:pt x="632" y="1225"/>
                      </a:lnTo>
                      <a:lnTo>
                        <a:pt x="635" y="1228"/>
                      </a:lnTo>
                      <a:lnTo>
                        <a:pt x="635" y="1222"/>
                      </a:lnTo>
                      <a:lnTo>
                        <a:pt x="638" y="1222"/>
                      </a:lnTo>
                      <a:lnTo>
                        <a:pt x="638" y="1220"/>
                      </a:lnTo>
                      <a:lnTo>
                        <a:pt x="638" y="1214"/>
                      </a:lnTo>
                      <a:lnTo>
                        <a:pt x="640" y="1214"/>
                      </a:lnTo>
                      <a:lnTo>
                        <a:pt x="643" y="1212"/>
                      </a:lnTo>
                      <a:lnTo>
                        <a:pt x="643" y="1203"/>
                      </a:lnTo>
                      <a:lnTo>
                        <a:pt x="648" y="1200"/>
                      </a:lnTo>
                      <a:lnTo>
                        <a:pt x="654" y="1195"/>
                      </a:lnTo>
                      <a:lnTo>
                        <a:pt x="656" y="1197"/>
                      </a:lnTo>
                      <a:lnTo>
                        <a:pt x="656" y="1195"/>
                      </a:lnTo>
                      <a:lnTo>
                        <a:pt x="656" y="1186"/>
                      </a:lnTo>
                      <a:lnTo>
                        <a:pt x="659" y="1186"/>
                      </a:lnTo>
                      <a:lnTo>
                        <a:pt x="662" y="1186"/>
                      </a:lnTo>
                      <a:lnTo>
                        <a:pt x="666" y="1186"/>
                      </a:lnTo>
                      <a:lnTo>
                        <a:pt x="668" y="1186"/>
                      </a:lnTo>
                      <a:lnTo>
                        <a:pt x="671" y="1178"/>
                      </a:lnTo>
                      <a:lnTo>
                        <a:pt x="676" y="1175"/>
                      </a:lnTo>
                      <a:lnTo>
                        <a:pt x="679" y="1169"/>
                      </a:lnTo>
                      <a:lnTo>
                        <a:pt x="676" y="1164"/>
                      </a:lnTo>
                      <a:lnTo>
                        <a:pt x="682" y="1161"/>
                      </a:lnTo>
                      <a:lnTo>
                        <a:pt x="682" y="1159"/>
                      </a:lnTo>
                      <a:lnTo>
                        <a:pt x="682" y="1153"/>
                      </a:lnTo>
                      <a:lnTo>
                        <a:pt x="687" y="1151"/>
                      </a:lnTo>
                      <a:lnTo>
                        <a:pt x="687" y="1148"/>
                      </a:lnTo>
                      <a:lnTo>
                        <a:pt x="687" y="1143"/>
                      </a:lnTo>
                      <a:lnTo>
                        <a:pt x="687" y="1136"/>
                      </a:lnTo>
                      <a:lnTo>
                        <a:pt x="690" y="1131"/>
                      </a:lnTo>
                      <a:lnTo>
                        <a:pt x="690" y="1126"/>
                      </a:lnTo>
                      <a:lnTo>
                        <a:pt x="687" y="1123"/>
                      </a:lnTo>
                      <a:lnTo>
                        <a:pt x="692" y="1120"/>
                      </a:lnTo>
                      <a:lnTo>
                        <a:pt x="692" y="1115"/>
                      </a:lnTo>
                      <a:lnTo>
                        <a:pt x="690" y="1103"/>
                      </a:lnTo>
                      <a:lnTo>
                        <a:pt x="699" y="1098"/>
                      </a:lnTo>
                      <a:lnTo>
                        <a:pt x="695" y="1095"/>
                      </a:lnTo>
                      <a:lnTo>
                        <a:pt x="692" y="1098"/>
                      </a:lnTo>
                      <a:lnTo>
                        <a:pt x="692" y="1095"/>
                      </a:lnTo>
                      <a:lnTo>
                        <a:pt x="692" y="1092"/>
                      </a:lnTo>
                      <a:lnTo>
                        <a:pt x="690" y="1090"/>
                      </a:lnTo>
                      <a:lnTo>
                        <a:pt x="692" y="1090"/>
                      </a:lnTo>
                      <a:lnTo>
                        <a:pt x="695" y="1087"/>
                      </a:lnTo>
                      <a:lnTo>
                        <a:pt x="692" y="1084"/>
                      </a:lnTo>
                      <a:lnTo>
                        <a:pt x="695" y="1084"/>
                      </a:lnTo>
                      <a:lnTo>
                        <a:pt x="692" y="1084"/>
                      </a:lnTo>
                      <a:lnTo>
                        <a:pt x="695" y="1082"/>
                      </a:lnTo>
                      <a:lnTo>
                        <a:pt x="692" y="1079"/>
                      </a:lnTo>
                      <a:lnTo>
                        <a:pt x="695" y="1076"/>
                      </a:lnTo>
                      <a:lnTo>
                        <a:pt x="699" y="1070"/>
                      </a:lnTo>
                      <a:lnTo>
                        <a:pt x="701" y="1070"/>
                      </a:lnTo>
                      <a:lnTo>
                        <a:pt x="699" y="1065"/>
                      </a:lnTo>
                      <a:lnTo>
                        <a:pt x="701" y="1062"/>
                      </a:lnTo>
                      <a:lnTo>
                        <a:pt x="699" y="1059"/>
                      </a:lnTo>
                      <a:lnTo>
                        <a:pt x="699" y="1057"/>
                      </a:lnTo>
                      <a:lnTo>
                        <a:pt x="699" y="1054"/>
                      </a:lnTo>
                      <a:lnTo>
                        <a:pt x="701" y="1054"/>
                      </a:lnTo>
                      <a:lnTo>
                        <a:pt x="704" y="1054"/>
                      </a:lnTo>
                      <a:lnTo>
                        <a:pt x="704" y="1049"/>
                      </a:lnTo>
                      <a:lnTo>
                        <a:pt x="709" y="1046"/>
                      </a:lnTo>
                      <a:lnTo>
                        <a:pt x="709" y="1043"/>
                      </a:lnTo>
                      <a:lnTo>
                        <a:pt x="715" y="1043"/>
                      </a:lnTo>
                      <a:lnTo>
                        <a:pt x="717" y="1040"/>
                      </a:lnTo>
                      <a:lnTo>
                        <a:pt x="723" y="1038"/>
                      </a:lnTo>
                      <a:lnTo>
                        <a:pt x="720" y="1034"/>
                      </a:lnTo>
                      <a:lnTo>
                        <a:pt x="725" y="1034"/>
                      </a:lnTo>
                      <a:lnTo>
                        <a:pt x="720" y="1026"/>
                      </a:lnTo>
                      <a:lnTo>
                        <a:pt x="720" y="1023"/>
                      </a:lnTo>
                      <a:lnTo>
                        <a:pt x="725" y="1023"/>
                      </a:lnTo>
                      <a:lnTo>
                        <a:pt x="725" y="1026"/>
                      </a:lnTo>
                      <a:lnTo>
                        <a:pt x="728" y="1026"/>
                      </a:lnTo>
                      <a:lnTo>
                        <a:pt x="725" y="1015"/>
                      </a:lnTo>
                      <a:lnTo>
                        <a:pt x="735" y="1018"/>
                      </a:lnTo>
                      <a:lnTo>
                        <a:pt x="735" y="1013"/>
                      </a:lnTo>
                      <a:lnTo>
                        <a:pt x="731" y="1013"/>
                      </a:lnTo>
                      <a:lnTo>
                        <a:pt x="731" y="1010"/>
                      </a:lnTo>
                      <a:lnTo>
                        <a:pt x="735" y="1010"/>
                      </a:lnTo>
                      <a:lnTo>
                        <a:pt x="731" y="1007"/>
                      </a:lnTo>
                      <a:lnTo>
                        <a:pt x="737" y="1007"/>
                      </a:lnTo>
                      <a:lnTo>
                        <a:pt x="735" y="1001"/>
                      </a:lnTo>
                      <a:lnTo>
                        <a:pt x="731" y="1001"/>
                      </a:lnTo>
                      <a:lnTo>
                        <a:pt x="731" y="996"/>
                      </a:lnTo>
                      <a:lnTo>
                        <a:pt x="735" y="996"/>
                      </a:lnTo>
                      <a:lnTo>
                        <a:pt x="735" y="993"/>
                      </a:lnTo>
                      <a:lnTo>
                        <a:pt x="735" y="996"/>
                      </a:lnTo>
                      <a:lnTo>
                        <a:pt x="737" y="993"/>
                      </a:lnTo>
                      <a:lnTo>
                        <a:pt x="735" y="988"/>
                      </a:lnTo>
                      <a:lnTo>
                        <a:pt x="735" y="985"/>
                      </a:lnTo>
                      <a:lnTo>
                        <a:pt x="735" y="982"/>
                      </a:lnTo>
                      <a:lnTo>
                        <a:pt x="737" y="982"/>
                      </a:lnTo>
                      <a:lnTo>
                        <a:pt x="737" y="974"/>
                      </a:lnTo>
                      <a:lnTo>
                        <a:pt x="740" y="977"/>
                      </a:lnTo>
                      <a:lnTo>
                        <a:pt x="743" y="974"/>
                      </a:lnTo>
                      <a:lnTo>
                        <a:pt x="745" y="971"/>
                      </a:lnTo>
                      <a:lnTo>
                        <a:pt x="743" y="971"/>
                      </a:lnTo>
                      <a:lnTo>
                        <a:pt x="745" y="971"/>
                      </a:lnTo>
                      <a:lnTo>
                        <a:pt x="748" y="969"/>
                      </a:lnTo>
                      <a:lnTo>
                        <a:pt x="751" y="971"/>
                      </a:lnTo>
                      <a:lnTo>
                        <a:pt x="751" y="969"/>
                      </a:lnTo>
                      <a:lnTo>
                        <a:pt x="753" y="969"/>
                      </a:lnTo>
                      <a:lnTo>
                        <a:pt x="753" y="965"/>
                      </a:lnTo>
                      <a:lnTo>
                        <a:pt x="751" y="965"/>
                      </a:lnTo>
                      <a:lnTo>
                        <a:pt x="756" y="960"/>
                      </a:lnTo>
                      <a:lnTo>
                        <a:pt x="759" y="957"/>
                      </a:lnTo>
                      <a:lnTo>
                        <a:pt x="761" y="960"/>
                      </a:lnTo>
                      <a:lnTo>
                        <a:pt x="761" y="962"/>
                      </a:lnTo>
                      <a:lnTo>
                        <a:pt x="768" y="960"/>
                      </a:lnTo>
                      <a:lnTo>
                        <a:pt x="768" y="957"/>
                      </a:lnTo>
                      <a:lnTo>
                        <a:pt x="764" y="954"/>
                      </a:lnTo>
                      <a:lnTo>
                        <a:pt x="768" y="954"/>
                      </a:lnTo>
                      <a:lnTo>
                        <a:pt x="770" y="960"/>
                      </a:lnTo>
                      <a:lnTo>
                        <a:pt x="773" y="960"/>
                      </a:lnTo>
                      <a:lnTo>
                        <a:pt x="773" y="957"/>
                      </a:lnTo>
                      <a:lnTo>
                        <a:pt x="773" y="952"/>
                      </a:lnTo>
                      <a:lnTo>
                        <a:pt x="778" y="954"/>
                      </a:lnTo>
                      <a:lnTo>
                        <a:pt x="781" y="949"/>
                      </a:lnTo>
                      <a:lnTo>
                        <a:pt x="784" y="949"/>
                      </a:lnTo>
                      <a:lnTo>
                        <a:pt x="789" y="949"/>
                      </a:lnTo>
                      <a:lnTo>
                        <a:pt x="789" y="944"/>
                      </a:lnTo>
                      <a:lnTo>
                        <a:pt x="784" y="941"/>
                      </a:lnTo>
                      <a:lnTo>
                        <a:pt x="789" y="936"/>
                      </a:lnTo>
                      <a:lnTo>
                        <a:pt x="784" y="929"/>
                      </a:lnTo>
                      <a:lnTo>
                        <a:pt x="786" y="929"/>
                      </a:lnTo>
                      <a:lnTo>
                        <a:pt x="789" y="929"/>
                      </a:lnTo>
                      <a:lnTo>
                        <a:pt x="792" y="929"/>
                      </a:lnTo>
                      <a:lnTo>
                        <a:pt x="792" y="919"/>
                      </a:lnTo>
                      <a:lnTo>
                        <a:pt x="794" y="916"/>
                      </a:lnTo>
                      <a:lnTo>
                        <a:pt x="797" y="919"/>
                      </a:lnTo>
                      <a:lnTo>
                        <a:pt x="800" y="919"/>
                      </a:lnTo>
                      <a:lnTo>
                        <a:pt x="803" y="913"/>
                      </a:lnTo>
                      <a:lnTo>
                        <a:pt x="800" y="910"/>
                      </a:lnTo>
                      <a:lnTo>
                        <a:pt x="803" y="908"/>
                      </a:lnTo>
                      <a:lnTo>
                        <a:pt x="809" y="908"/>
                      </a:lnTo>
                      <a:lnTo>
                        <a:pt x="812" y="910"/>
                      </a:lnTo>
                      <a:lnTo>
                        <a:pt x="812" y="908"/>
                      </a:lnTo>
                      <a:lnTo>
                        <a:pt x="812" y="905"/>
                      </a:lnTo>
                      <a:lnTo>
                        <a:pt x="806" y="902"/>
                      </a:lnTo>
                      <a:lnTo>
                        <a:pt x="812" y="900"/>
                      </a:lnTo>
                      <a:lnTo>
                        <a:pt x="812" y="896"/>
                      </a:lnTo>
                      <a:lnTo>
                        <a:pt x="803" y="891"/>
                      </a:lnTo>
                      <a:lnTo>
                        <a:pt x="809" y="891"/>
                      </a:lnTo>
                      <a:lnTo>
                        <a:pt x="814" y="896"/>
                      </a:lnTo>
                      <a:lnTo>
                        <a:pt x="817" y="893"/>
                      </a:lnTo>
                      <a:lnTo>
                        <a:pt x="814" y="885"/>
                      </a:lnTo>
                      <a:lnTo>
                        <a:pt x="820" y="885"/>
                      </a:lnTo>
                      <a:lnTo>
                        <a:pt x="822" y="885"/>
                      </a:lnTo>
                      <a:lnTo>
                        <a:pt x="825" y="880"/>
                      </a:lnTo>
                      <a:lnTo>
                        <a:pt x="822" y="877"/>
                      </a:lnTo>
                      <a:lnTo>
                        <a:pt x="822" y="872"/>
                      </a:lnTo>
                      <a:lnTo>
                        <a:pt x="817" y="875"/>
                      </a:lnTo>
                      <a:lnTo>
                        <a:pt x="814" y="869"/>
                      </a:lnTo>
                      <a:lnTo>
                        <a:pt x="817" y="869"/>
                      </a:lnTo>
                      <a:lnTo>
                        <a:pt x="820" y="869"/>
                      </a:lnTo>
                      <a:lnTo>
                        <a:pt x="822" y="869"/>
                      </a:lnTo>
                      <a:lnTo>
                        <a:pt x="825" y="864"/>
                      </a:lnTo>
                      <a:lnTo>
                        <a:pt x="828" y="864"/>
                      </a:lnTo>
                      <a:lnTo>
                        <a:pt x="828" y="872"/>
                      </a:lnTo>
                      <a:lnTo>
                        <a:pt x="830" y="872"/>
                      </a:lnTo>
                      <a:lnTo>
                        <a:pt x="833" y="869"/>
                      </a:lnTo>
                      <a:lnTo>
                        <a:pt x="830" y="858"/>
                      </a:lnTo>
                      <a:lnTo>
                        <a:pt x="839" y="855"/>
                      </a:lnTo>
                      <a:lnTo>
                        <a:pt x="842" y="858"/>
                      </a:lnTo>
                      <a:lnTo>
                        <a:pt x="842" y="850"/>
                      </a:lnTo>
                      <a:lnTo>
                        <a:pt x="845" y="847"/>
                      </a:lnTo>
                      <a:lnTo>
                        <a:pt x="842" y="841"/>
                      </a:lnTo>
                      <a:lnTo>
                        <a:pt x="842" y="833"/>
                      </a:lnTo>
                      <a:lnTo>
                        <a:pt x="847" y="831"/>
                      </a:lnTo>
                      <a:lnTo>
                        <a:pt x="845" y="828"/>
                      </a:lnTo>
                      <a:lnTo>
                        <a:pt x="850" y="822"/>
                      </a:lnTo>
                      <a:lnTo>
                        <a:pt x="845" y="819"/>
                      </a:lnTo>
                      <a:lnTo>
                        <a:pt x="845" y="816"/>
                      </a:lnTo>
                      <a:lnTo>
                        <a:pt x="847" y="814"/>
                      </a:lnTo>
                      <a:lnTo>
                        <a:pt x="853" y="816"/>
                      </a:lnTo>
                      <a:lnTo>
                        <a:pt x="855" y="811"/>
                      </a:lnTo>
                      <a:lnTo>
                        <a:pt x="853" y="808"/>
                      </a:lnTo>
                      <a:lnTo>
                        <a:pt x="850" y="808"/>
                      </a:lnTo>
                      <a:lnTo>
                        <a:pt x="850" y="806"/>
                      </a:lnTo>
                      <a:lnTo>
                        <a:pt x="855" y="806"/>
                      </a:lnTo>
                      <a:lnTo>
                        <a:pt x="855" y="803"/>
                      </a:lnTo>
                      <a:lnTo>
                        <a:pt x="853" y="800"/>
                      </a:lnTo>
                      <a:lnTo>
                        <a:pt x="847" y="800"/>
                      </a:lnTo>
                      <a:lnTo>
                        <a:pt x="847" y="795"/>
                      </a:lnTo>
                      <a:lnTo>
                        <a:pt x="847" y="791"/>
                      </a:lnTo>
                      <a:lnTo>
                        <a:pt x="853" y="789"/>
                      </a:lnTo>
                      <a:lnTo>
                        <a:pt x="853" y="786"/>
                      </a:lnTo>
                      <a:lnTo>
                        <a:pt x="850" y="783"/>
                      </a:lnTo>
                      <a:lnTo>
                        <a:pt x="847" y="778"/>
                      </a:lnTo>
                      <a:lnTo>
                        <a:pt x="850" y="778"/>
                      </a:lnTo>
                      <a:lnTo>
                        <a:pt x="845" y="772"/>
                      </a:lnTo>
                      <a:lnTo>
                        <a:pt x="842" y="772"/>
                      </a:lnTo>
                      <a:lnTo>
                        <a:pt x="842" y="770"/>
                      </a:lnTo>
                      <a:lnTo>
                        <a:pt x="847" y="767"/>
                      </a:lnTo>
                      <a:lnTo>
                        <a:pt x="853" y="767"/>
                      </a:lnTo>
                      <a:lnTo>
                        <a:pt x="855" y="770"/>
                      </a:lnTo>
                      <a:lnTo>
                        <a:pt x="858" y="767"/>
                      </a:lnTo>
                      <a:lnTo>
                        <a:pt x="861" y="764"/>
                      </a:lnTo>
                      <a:lnTo>
                        <a:pt x="858" y="764"/>
                      </a:lnTo>
                      <a:lnTo>
                        <a:pt x="858" y="762"/>
                      </a:lnTo>
                      <a:lnTo>
                        <a:pt x="861" y="759"/>
                      </a:lnTo>
                      <a:lnTo>
                        <a:pt x="858" y="755"/>
                      </a:lnTo>
                      <a:lnTo>
                        <a:pt x="861" y="755"/>
                      </a:lnTo>
                      <a:lnTo>
                        <a:pt x="866" y="759"/>
                      </a:lnTo>
                      <a:lnTo>
                        <a:pt x="873" y="755"/>
                      </a:lnTo>
                      <a:lnTo>
                        <a:pt x="869" y="753"/>
                      </a:lnTo>
                      <a:lnTo>
                        <a:pt x="869" y="750"/>
                      </a:lnTo>
                      <a:lnTo>
                        <a:pt x="866" y="750"/>
                      </a:lnTo>
                      <a:lnTo>
                        <a:pt x="869" y="747"/>
                      </a:lnTo>
                      <a:lnTo>
                        <a:pt x="875" y="747"/>
                      </a:lnTo>
                      <a:lnTo>
                        <a:pt x="881" y="753"/>
                      </a:lnTo>
                      <a:lnTo>
                        <a:pt x="883" y="750"/>
                      </a:lnTo>
                      <a:lnTo>
                        <a:pt x="886" y="750"/>
                      </a:lnTo>
                      <a:lnTo>
                        <a:pt x="881" y="747"/>
                      </a:lnTo>
                      <a:lnTo>
                        <a:pt x="883" y="747"/>
                      </a:lnTo>
                      <a:lnTo>
                        <a:pt x="883" y="745"/>
                      </a:lnTo>
                      <a:lnTo>
                        <a:pt x="878" y="747"/>
                      </a:lnTo>
                      <a:lnTo>
                        <a:pt x="878" y="745"/>
                      </a:lnTo>
                      <a:lnTo>
                        <a:pt x="881" y="745"/>
                      </a:lnTo>
                      <a:lnTo>
                        <a:pt x="878" y="742"/>
                      </a:lnTo>
                      <a:lnTo>
                        <a:pt x="875" y="742"/>
                      </a:lnTo>
                      <a:lnTo>
                        <a:pt x="875" y="739"/>
                      </a:lnTo>
                      <a:lnTo>
                        <a:pt x="875" y="731"/>
                      </a:lnTo>
                      <a:lnTo>
                        <a:pt x="875" y="729"/>
                      </a:lnTo>
                      <a:lnTo>
                        <a:pt x="873" y="729"/>
                      </a:lnTo>
                      <a:lnTo>
                        <a:pt x="873" y="731"/>
                      </a:lnTo>
                      <a:lnTo>
                        <a:pt x="869" y="734"/>
                      </a:lnTo>
                      <a:lnTo>
                        <a:pt x="864" y="737"/>
                      </a:lnTo>
                      <a:lnTo>
                        <a:pt x="861" y="731"/>
                      </a:lnTo>
                      <a:lnTo>
                        <a:pt x="861" y="726"/>
                      </a:lnTo>
                      <a:lnTo>
                        <a:pt x="861" y="720"/>
                      </a:lnTo>
                      <a:lnTo>
                        <a:pt x="861" y="714"/>
                      </a:lnTo>
                      <a:lnTo>
                        <a:pt x="858" y="714"/>
                      </a:lnTo>
                      <a:lnTo>
                        <a:pt x="855" y="717"/>
                      </a:lnTo>
                      <a:lnTo>
                        <a:pt x="853" y="709"/>
                      </a:lnTo>
                      <a:lnTo>
                        <a:pt x="853" y="706"/>
                      </a:lnTo>
                      <a:lnTo>
                        <a:pt x="853" y="704"/>
                      </a:lnTo>
                      <a:lnTo>
                        <a:pt x="847" y="706"/>
                      </a:lnTo>
                      <a:lnTo>
                        <a:pt x="847" y="704"/>
                      </a:lnTo>
                      <a:lnTo>
                        <a:pt x="845" y="698"/>
                      </a:lnTo>
                      <a:lnTo>
                        <a:pt x="850" y="690"/>
                      </a:lnTo>
                      <a:lnTo>
                        <a:pt x="855" y="686"/>
                      </a:lnTo>
                      <a:lnTo>
                        <a:pt x="855" y="684"/>
                      </a:lnTo>
                      <a:lnTo>
                        <a:pt x="861" y="686"/>
                      </a:lnTo>
                      <a:lnTo>
                        <a:pt x="861" y="684"/>
                      </a:lnTo>
                      <a:lnTo>
                        <a:pt x="861" y="681"/>
                      </a:lnTo>
                      <a:lnTo>
                        <a:pt x="866" y="678"/>
                      </a:lnTo>
                      <a:lnTo>
                        <a:pt x="866" y="676"/>
                      </a:lnTo>
                      <a:lnTo>
                        <a:pt x="866" y="670"/>
                      </a:lnTo>
                      <a:lnTo>
                        <a:pt x="869" y="668"/>
                      </a:lnTo>
                      <a:lnTo>
                        <a:pt x="873" y="668"/>
                      </a:lnTo>
                      <a:lnTo>
                        <a:pt x="878" y="678"/>
                      </a:lnTo>
                      <a:lnTo>
                        <a:pt x="881" y="676"/>
                      </a:lnTo>
                      <a:lnTo>
                        <a:pt x="881" y="665"/>
                      </a:lnTo>
                      <a:lnTo>
                        <a:pt x="886" y="662"/>
                      </a:lnTo>
                      <a:lnTo>
                        <a:pt x="889" y="662"/>
                      </a:lnTo>
                      <a:lnTo>
                        <a:pt x="894" y="662"/>
                      </a:lnTo>
                      <a:lnTo>
                        <a:pt x="899" y="660"/>
                      </a:lnTo>
                      <a:lnTo>
                        <a:pt x="914" y="657"/>
                      </a:lnTo>
                      <a:lnTo>
                        <a:pt x="911" y="645"/>
                      </a:lnTo>
                      <a:lnTo>
                        <a:pt x="916" y="643"/>
                      </a:lnTo>
                      <a:lnTo>
                        <a:pt x="919" y="643"/>
                      </a:lnTo>
                      <a:lnTo>
                        <a:pt x="922" y="637"/>
                      </a:lnTo>
                      <a:lnTo>
                        <a:pt x="919" y="635"/>
                      </a:lnTo>
                      <a:lnTo>
                        <a:pt x="916" y="632"/>
                      </a:lnTo>
                      <a:lnTo>
                        <a:pt x="916" y="626"/>
                      </a:lnTo>
                      <a:lnTo>
                        <a:pt x="919" y="624"/>
                      </a:lnTo>
                      <a:lnTo>
                        <a:pt x="922" y="624"/>
                      </a:lnTo>
                      <a:lnTo>
                        <a:pt x="924" y="626"/>
                      </a:lnTo>
                      <a:lnTo>
                        <a:pt x="930" y="626"/>
                      </a:lnTo>
                      <a:lnTo>
                        <a:pt x="950" y="621"/>
                      </a:lnTo>
                      <a:lnTo>
                        <a:pt x="950" y="617"/>
                      </a:lnTo>
                      <a:lnTo>
                        <a:pt x="944" y="615"/>
                      </a:lnTo>
                      <a:lnTo>
                        <a:pt x="942" y="612"/>
                      </a:lnTo>
                      <a:lnTo>
                        <a:pt x="944" y="607"/>
                      </a:lnTo>
                      <a:lnTo>
                        <a:pt x="942" y="601"/>
                      </a:lnTo>
                      <a:lnTo>
                        <a:pt x="942" y="596"/>
                      </a:lnTo>
                      <a:lnTo>
                        <a:pt x="944" y="591"/>
                      </a:lnTo>
                      <a:lnTo>
                        <a:pt x="942" y="591"/>
                      </a:lnTo>
                      <a:lnTo>
                        <a:pt x="942" y="588"/>
                      </a:lnTo>
                      <a:lnTo>
                        <a:pt x="942" y="579"/>
                      </a:lnTo>
                      <a:lnTo>
                        <a:pt x="942" y="571"/>
                      </a:lnTo>
                      <a:lnTo>
                        <a:pt x="947" y="566"/>
                      </a:lnTo>
                      <a:lnTo>
                        <a:pt x="950" y="560"/>
                      </a:lnTo>
                      <a:lnTo>
                        <a:pt x="952" y="555"/>
                      </a:lnTo>
                      <a:lnTo>
                        <a:pt x="952" y="552"/>
                      </a:lnTo>
                      <a:lnTo>
                        <a:pt x="947" y="549"/>
                      </a:lnTo>
                      <a:lnTo>
                        <a:pt x="938" y="560"/>
                      </a:lnTo>
                      <a:lnTo>
                        <a:pt x="935" y="560"/>
                      </a:lnTo>
                      <a:lnTo>
                        <a:pt x="930" y="557"/>
                      </a:lnTo>
                      <a:lnTo>
                        <a:pt x="930" y="555"/>
                      </a:lnTo>
                      <a:lnTo>
                        <a:pt x="930" y="549"/>
                      </a:lnTo>
                      <a:lnTo>
                        <a:pt x="942" y="540"/>
                      </a:lnTo>
                      <a:lnTo>
                        <a:pt x="944" y="538"/>
                      </a:lnTo>
                      <a:lnTo>
                        <a:pt x="944" y="532"/>
                      </a:lnTo>
                      <a:lnTo>
                        <a:pt x="944" y="524"/>
                      </a:lnTo>
                      <a:lnTo>
                        <a:pt x="947" y="522"/>
                      </a:lnTo>
                      <a:lnTo>
                        <a:pt x="950" y="507"/>
                      </a:lnTo>
                      <a:lnTo>
                        <a:pt x="944" y="502"/>
                      </a:lnTo>
                      <a:lnTo>
                        <a:pt x="944" y="499"/>
                      </a:lnTo>
                      <a:lnTo>
                        <a:pt x="952" y="496"/>
                      </a:lnTo>
                      <a:lnTo>
                        <a:pt x="955" y="502"/>
                      </a:lnTo>
                      <a:lnTo>
                        <a:pt x="960" y="505"/>
                      </a:lnTo>
                      <a:lnTo>
                        <a:pt x="966" y="502"/>
                      </a:lnTo>
                      <a:lnTo>
                        <a:pt x="968" y="494"/>
                      </a:lnTo>
                      <a:lnTo>
                        <a:pt x="975" y="494"/>
                      </a:lnTo>
                      <a:lnTo>
                        <a:pt x="980" y="491"/>
                      </a:lnTo>
                      <a:lnTo>
                        <a:pt x="980" y="489"/>
                      </a:lnTo>
                      <a:lnTo>
                        <a:pt x="985" y="477"/>
                      </a:lnTo>
                      <a:lnTo>
                        <a:pt x="991" y="471"/>
                      </a:lnTo>
                      <a:lnTo>
                        <a:pt x="999" y="469"/>
                      </a:lnTo>
                      <a:lnTo>
                        <a:pt x="1004" y="463"/>
                      </a:lnTo>
                      <a:lnTo>
                        <a:pt x="999" y="461"/>
                      </a:lnTo>
                      <a:lnTo>
                        <a:pt x="999" y="458"/>
                      </a:lnTo>
                      <a:lnTo>
                        <a:pt x="1008" y="450"/>
                      </a:lnTo>
                      <a:lnTo>
                        <a:pt x="1011" y="447"/>
                      </a:lnTo>
                      <a:lnTo>
                        <a:pt x="1011" y="438"/>
                      </a:lnTo>
                      <a:lnTo>
                        <a:pt x="1008" y="433"/>
                      </a:lnTo>
                      <a:lnTo>
                        <a:pt x="1008" y="425"/>
                      </a:lnTo>
                      <a:lnTo>
                        <a:pt x="1011" y="419"/>
                      </a:lnTo>
                      <a:lnTo>
                        <a:pt x="1013" y="417"/>
                      </a:lnTo>
                      <a:lnTo>
                        <a:pt x="1019" y="409"/>
                      </a:lnTo>
                      <a:lnTo>
                        <a:pt x="1019" y="400"/>
                      </a:lnTo>
                      <a:lnTo>
                        <a:pt x="1024" y="386"/>
                      </a:lnTo>
                      <a:lnTo>
                        <a:pt x="1029" y="361"/>
                      </a:lnTo>
                      <a:lnTo>
                        <a:pt x="1027" y="350"/>
                      </a:lnTo>
                      <a:lnTo>
                        <a:pt x="1021" y="350"/>
                      </a:lnTo>
                      <a:lnTo>
                        <a:pt x="1021" y="348"/>
                      </a:lnTo>
                      <a:lnTo>
                        <a:pt x="1035" y="328"/>
                      </a:lnTo>
                      <a:lnTo>
                        <a:pt x="1032" y="323"/>
                      </a:lnTo>
                      <a:lnTo>
                        <a:pt x="1029" y="320"/>
                      </a:lnTo>
                      <a:lnTo>
                        <a:pt x="1027" y="315"/>
                      </a:lnTo>
                      <a:lnTo>
                        <a:pt x="1013" y="312"/>
                      </a:lnTo>
                      <a:lnTo>
                        <a:pt x="1004" y="315"/>
                      </a:lnTo>
                      <a:lnTo>
                        <a:pt x="1002" y="315"/>
                      </a:lnTo>
                      <a:lnTo>
                        <a:pt x="999" y="312"/>
                      </a:lnTo>
                      <a:lnTo>
                        <a:pt x="993" y="317"/>
                      </a:lnTo>
                      <a:lnTo>
                        <a:pt x="991" y="315"/>
                      </a:lnTo>
                      <a:lnTo>
                        <a:pt x="988" y="300"/>
                      </a:lnTo>
                      <a:lnTo>
                        <a:pt x="991" y="290"/>
                      </a:lnTo>
                      <a:lnTo>
                        <a:pt x="993" y="287"/>
                      </a:lnTo>
                      <a:lnTo>
                        <a:pt x="996" y="284"/>
                      </a:lnTo>
                      <a:lnTo>
                        <a:pt x="1002" y="284"/>
                      </a:lnTo>
                      <a:lnTo>
                        <a:pt x="1013" y="284"/>
                      </a:lnTo>
                      <a:lnTo>
                        <a:pt x="1021" y="281"/>
                      </a:lnTo>
                      <a:lnTo>
                        <a:pt x="1027" y="284"/>
                      </a:lnTo>
                      <a:lnTo>
                        <a:pt x="1029" y="284"/>
                      </a:lnTo>
                      <a:lnTo>
                        <a:pt x="1032" y="284"/>
                      </a:lnTo>
                      <a:lnTo>
                        <a:pt x="1035" y="281"/>
                      </a:lnTo>
                      <a:lnTo>
                        <a:pt x="1035" y="279"/>
                      </a:lnTo>
                      <a:lnTo>
                        <a:pt x="1037" y="276"/>
                      </a:lnTo>
                      <a:lnTo>
                        <a:pt x="1040" y="276"/>
                      </a:lnTo>
                      <a:lnTo>
                        <a:pt x="1049" y="273"/>
                      </a:lnTo>
                      <a:lnTo>
                        <a:pt x="1054" y="267"/>
                      </a:lnTo>
                      <a:lnTo>
                        <a:pt x="1057" y="262"/>
                      </a:lnTo>
                      <a:lnTo>
                        <a:pt x="1057" y="256"/>
                      </a:lnTo>
                      <a:lnTo>
                        <a:pt x="1054" y="254"/>
                      </a:lnTo>
                      <a:lnTo>
                        <a:pt x="1054" y="251"/>
                      </a:lnTo>
                      <a:lnTo>
                        <a:pt x="1054" y="243"/>
                      </a:lnTo>
                      <a:lnTo>
                        <a:pt x="1060" y="235"/>
                      </a:lnTo>
                      <a:lnTo>
                        <a:pt x="1060" y="231"/>
                      </a:lnTo>
                      <a:lnTo>
                        <a:pt x="1057" y="229"/>
                      </a:lnTo>
                      <a:lnTo>
                        <a:pt x="1057" y="226"/>
                      </a:lnTo>
                      <a:lnTo>
                        <a:pt x="1065" y="223"/>
                      </a:lnTo>
                      <a:lnTo>
                        <a:pt x="1060" y="198"/>
                      </a:lnTo>
                      <a:lnTo>
                        <a:pt x="1060" y="193"/>
                      </a:lnTo>
                      <a:lnTo>
                        <a:pt x="1054" y="187"/>
                      </a:lnTo>
                      <a:lnTo>
                        <a:pt x="1052" y="185"/>
                      </a:lnTo>
                      <a:lnTo>
                        <a:pt x="1046" y="179"/>
                      </a:lnTo>
                      <a:lnTo>
                        <a:pt x="1062" y="166"/>
                      </a:lnTo>
                      <a:lnTo>
                        <a:pt x="1062" y="162"/>
                      </a:lnTo>
                      <a:lnTo>
                        <a:pt x="1054" y="157"/>
                      </a:lnTo>
                      <a:lnTo>
                        <a:pt x="1065" y="149"/>
                      </a:lnTo>
                      <a:lnTo>
                        <a:pt x="1068" y="138"/>
                      </a:lnTo>
                      <a:lnTo>
                        <a:pt x="1070" y="135"/>
                      </a:lnTo>
                      <a:lnTo>
                        <a:pt x="1073" y="126"/>
                      </a:lnTo>
                      <a:lnTo>
                        <a:pt x="1077" y="121"/>
                      </a:lnTo>
                      <a:lnTo>
                        <a:pt x="1077" y="118"/>
                      </a:lnTo>
                      <a:lnTo>
                        <a:pt x="1065" y="121"/>
                      </a:lnTo>
                      <a:lnTo>
                        <a:pt x="1065" y="118"/>
                      </a:lnTo>
                      <a:lnTo>
                        <a:pt x="1065" y="110"/>
                      </a:lnTo>
                      <a:lnTo>
                        <a:pt x="1057" y="110"/>
                      </a:lnTo>
                      <a:lnTo>
                        <a:pt x="1052" y="97"/>
                      </a:lnTo>
                      <a:lnTo>
                        <a:pt x="1062" y="85"/>
                      </a:lnTo>
                      <a:lnTo>
                        <a:pt x="1057" y="75"/>
                      </a:lnTo>
                      <a:lnTo>
                        <a:pt x="1065" y="66"/>
                      </a:lnTo>
                      <a:lnTo>
                        <a:pt x="1073" y="64"/>
                      </a:lnTo>
                      <a:lnTo>
                        <a:pt x="1077" y="64"/>
                      </a:lnTo>
                      <a:lnTo>
                        <a:pt x="1077" y="66"/>
                      </a:lnTo>
                      <a:lnTo>
                        <a:pt x="1088" y="64"/>
                      </a:lnTo>
                      <a:lnTo>
                        <a:pt x="1088" y="47"/>
                      </a:lnTo>
                      <a:lnTo>
                        <a:pt x="1090" y="44"/>
                      </a:lnTo>
                      <a:lnTo>
                        <a:pt x="1090" y="49"/>
                      </a:lnTo>
                      <a:lnTo>
                        <a:pt x="1093" y="47"/>
                      </a:lnTo>
                      <a:lnTo>
                        <a:pt x="1093" y="41"/>
                      </a:lnTo>
                      <a:lnTo>
                        <a:pt x="1096" y="36"/>
                      </a:lnTo>
                      <a:lnTo>
                        <a:pt x="1098" y="36"/>
                      </a:lnTo>
                      <a:lnTo>
                        <a:pt x="1098" y="39"/>
                      </a:lnTo>
                      <a:lnTo>
                        <a:pt x="1098" y="44"/>
                      </a:lnTo>
                      <a:lnTo>
                        <a:pt x="1104" y="52"/>
                      </a:lnTo>
                      <a:lnTo>
                        <a:pt x="1104" y="49"/>
                      </a:lnTo>
                      <a:lnTo>
                        <a:pt x="1101" y="44"/>
                      </a:lnTo>
                      <a:lnTo>
                        <a:pt x="1101" y="36"/>
                      </a:lnTo>
                      <a:lnTo>
                        <a:pt x="1101" y="31"/>
                      </a:lnTo>
                      <a:lnTo>
                        <a:pt x="1104" y="25"/>
                      </a:lnTo>
                      <a:lnTo>
                        <a:pt x="1106" y="25"/>
                      </a:lnTo>
                      <a:lnTo>
                        <a:pt x="1113" y="13"/>
                      </a:lnTo>
                      <a:lnTo>
                        <a:pt x="1113" y="16"/>
                      </a:lnTo>
                      <a:lnTo>
                        <a:pt x="1113" y="11"/>
                      </a:lnTo>
                      <a:lnTo>
                        <a:pt x="1113" y="8"/>
                      </a:lnTo>
                      <a:lnTo>
                        <a:pt x="1115" y="8"/>
                      </a:lnTo>
                      <a:lnTo>
                        <a:pt x="1118" y="11"/>
                      </a:lnTo>
                      <a:lnTo>
                        <a:pt x="1118" y="16"/>
                      </a:lnTo>
                      <a:lnTo>
                        <a:pt x="1121" y="16"/>
                      </a:lnTo>
                      <a:lnTo>
                        <a:pt x="1121" y="6"/>
                      </a:lnTo>
                      <a:lnTo>
                        <a:pt x="1121" y="3"/>
                      </a:lnTo>
                      <a:lnTo>
                        <a:pt x="1123" y="6"/>
                      </a:lnTo>
                      <a:lnTo>
                        <a:pt x="1123" y="0"/>
                      </a:lnTo>
                      <a:lnTo>
                        <a:pt x="1134" y="0"/>
                      </a:lnTo>
                      <a:lnTo>
                        <a:pt x="1134" y="6"/>
                      </a:lnTo>
                      <a:lnTo>
                        <a:pt x="1129" y="6"/>
                      </a:lnTo>
                      <a:lnTo>
                        <a:pt x="1129" y="8"/>
                      </a:lnTo>
                      <a:lnTo>
                        <a:pt x="1131" y="6"/>
                      </a:lnTo>
                      <a:lnTo>
                        <a:pt x="1134" y="8"/>
                      </a:lnTo>
                      <a:lnTo>
                        <a:pt x="1134" y="13"/>
                      </a:lnTo>
                      <a:lnTo>
                        <a:pt x="1137" y="13"/>
                      </a:lnTo>
                      <a:lnTo>
                        <a:pt x="1137" y="16"/>
                      </a:lnTo>
                      <a:lnTo>
                        <a:pt x="1131" y="19"/>
                      </a:lnTo>
                      <a:lnTo>
                        <a:pt x="1131" y="16"/>
                      </a:lnTo>
                      <a:lnTo>
                        <a:pt x="1126" y="16"/>
                      </a:lnTo>
                      <a:lnTo>
                        <a:pt x="1123" y="16"/>
                      </a:lnTo>
                      <a:lnTo>
                        <a:pt x="1131" y="16"/>
                      </a:lnTo>
                      <a:lnTo>
                        <a:pt x="1131" y="25"/>
                      </a:lnTo>
                      <a:lnTo>
                        <a:pt x="1129" y="25"/>
                      </a:lnTo>
                      <a:lnTo>
                        <a:pt x="1126" y="31"/>
                      </a:lnTo>
                      <a:lnTo>
                        <a:pt x="1129" y="28"/>
                      </a:lnTo>
                      <a:lnTo>
                        <a:pt x="1134" y="25"/>
                      </a:lnTo>
                      <a:lnTo>
                        <a:pt x="1137" y="25"/>
                      </a:lnTo>
                      <a:lnTo>
                        <a:pt x="1137" y="22"/>
                      </a:lnTo>
                      <a:lnTo>
                        <a:pt x="1137" y="25"/>
                      </a:lnTo>
                      <a:lnTo>
                        <a:pt x="1137" y="33"/>
                      </a:lnTo>
                      <a:lnTo>
                        <a:pt x="1137" y="36"/>
                      </a:lnTo>
                      <a:lnTo>
                        <a:pt x="1129" y="36"/>
                      </a:lnTo>
                      <a:lnTo>
                        <a:pt x="1123" y="39"/>
                      </a:lnTo>
                      <a:lnTo>
                        <a:pt x="1126" y="41"/>
                      </a:lnTo>
                      <a:lnTo>
                        <a:pt x="1123" y="44"/>
                      </a:lnTo>
                      <a:lnTo>
                        <a:pt x="1121" y="47"/>
                      </a:lnTo>
                      <a:lnTo>
                        <a:pt x="1126" y="44"/>
                      </a:lnTo>
                      <a:lnTo>
                        <a:pt x="1126" y="47"/>
                      </a:lnTo>
                      <a:lnTo>
                        <a:pt x="1126" y="49"/>
                      </a:lnTo>
                      <a:lnTo>
                        <a:pt x="1129" y="47"/>
                      </a:lnTo>
                      <a:lnTo>
                        <a:pt x="1126" y="44"/>
                      </a:lnTo>
                      <a:lnTo>
                        <a:pt x="1129" y="39"/>
                      </a:lnTo>
                      <a:lnTo>
                        <a:pt x="1134" y="39"/>
                      </a:lnTo>
                      <a:lnTo>
                        <a:pt x="1134" y="41"/>
                      </a:lnTo>
                      <a:lnTo>
                        <a:pt x="1137" y="39"/>
                      </a:lnTo>
                      <a:lnTo>
                        <a:pt x="1142" y="39"/>
                      </a:lnTo>
                      <a:lnTo>
                        <a:pt x="1139" y="44"/>
                      </a:lnTo>
                      <a:lnTo>
                        <a:pt x="1139" y="47"/>
                      </a:lnTo>
                      <a:lnTo>
                        <a:pt x="1142" y="47"/>
                      </a:lnTo>
                      <a:lnTo>
                        <a:pt x="1139" y="52"/>
                      </a:lnTo>
                      <a:lnTo>
                        <a:pt x="1139" y="61"/>
                      </a:lnTo>
                      <a:lnTo>
                        <a:pt x="1137" y="64"/>
                      </a:lnTo>
                      <a:lnTo>
                        <a:pt x="1139" y="66"/>
                      </a:lnTo>
                      <a:lnTo>
                        <a:pt x="1137" y="77"/>
                      </a:lnTo>
                      <a:lnTo>
                        <a:pt x="1139" y="80"/>
                      </a:lnTo>
                      <a:lnTo>
                        <a:pt x="1142" y="77"/>
                      </a:lnTo>
                      <a:lnTo>
                        <a:pt x="1146" y="64"/>
                      </a:lnTo>
                      <a:lnTo>
                        <a:pt x="1146" y="61"/>
                      </a:lnTo>
                      <a:lnTo>
                        <a:pt x="1157" y="39"/>
                      </a:lnTo>
                      <a:lnTo>
                        <a:pt x="1159" y="41"/>
                      </a:lnTo>
                      <a:lnTo>
                        <a:pt x="1157" y="39"/>
                      </a:lnTo>
                      <a:lnTo>
                        <a:pt x="1162" y="28"/>
                      </a:lnTo>
                      <a:lnTo>
                        <a:pt x="1165" y="28"/>
                      </a:lnTo>
                      <a:lnTo>
                        <a:pt x="1165" y="25"/>
                      </a:lnTo>
                      <a:lnTo>
                        <a:pt x="1170" y="22"/>
                      </a:lnTo>
                      <a:lnTo>
                        <a:pt x="1167" y="22"/>
                      </a:lnTo>
                      <a:lnTo>
                        <a:pt x="1165" y="22"/>
                      </a:lnTo>
                      <a:lnTo>
                        <a:pt x="1165" y="19"/>
                      </a:lnTo>
                      <a:lnTo>
                        <a:pt x="1173" y="11"/>
                      </a:lnTo>
                      <a:lnTo>
                        <a:pt x="1175" y="11"/>
                      </a:lnTo>
                      <a:lnTo>
                        <a:pt x="1173" y="8"/>
                      </a:lnTo>
                      <a:lnTo>
                        <a:pt x="1170" y="6"/>
                      </a:lnTo>
                      <a:lnTo>
                        <a:pt x="1173" y="3"/>
                      </a:lnTo>
                      <a:lnTo>
                        <a:pt x="1182" y="0"/>
                      </a:lnTo>
                      <a:lnTo>
                        <a:pt x="1178" y="0"/>
                      </a:lnTo>
                      <a:lnTo>
                        <a:pt x="1182" y="0"/>
                      </a:lnTo>
                      <a:lnTo>
                        <a:pt x="1184" y="0"/>
                      </a:lnTo>
                      <a:lnTo>
                        <a:pt x="1182" y="0"/>
                      </a:lnTo>
                      <a:lnTo>
                        <a:pt x="1184" y="3"/>
                      </a:lnTo>
                      <a:lnTo>
                        <a:pt x="1187" y="16"/>
                      </a:lnTo>
                      <a:lnTo>
                        <a:pt x="1184" y="22"/>
                      </a:lnTo>
                      <a:lnTo>
                        <a:pt x="1184" y="19"/>
                      </a:lnTo>
                      <a:lnTo>
                        <a:pt x="1184" y="22"/>
                      </a:lnTo>
                      <a:lnTo>
                        <a:pt x="1178" y="28"/>
                      </a:lnTo>
                      <a:lnTo>
                        <a:pt x="1178" y="31"/>
                      </a:lnTo>
                      <a:lnTo>
                        <a:pt x="1178" y="33"/>
                      </a:lnTo>
                      <a:lnTo>
                        <a:pt x="1167" y="36"/>
                      </a:lnTo>
                      <a:lnTo>
                        <a:pt x="1167" y="39"/>
                      </a:lnTo>
                      <a:lnTo>
                        <a:pt x="1157" y="49"/>
                      </a:lnTo>
                      <a:lnTo>
                        <a:pt x="1157" y="52"/>
                      </a:lnTo>
                      <a:lnTo>
                        <a:pt x="1154" y="55"/>
                      </a:lnTo>
                      <a:lnTo>
                        <a:pt x="1157" y="55"/>
                      </a:lnTo>
                      <a:lnTo>
                        <a:pt x="1159" y="55"/>
                      </a:lnTo>
                      <a:lnTo>
                        <a:pt x="1157" y="61"/>
                      </a:lnTo>
                      <a:lnTo>
                        <a:pt x="1154" y="61"/>
                      </a:lnTo>
                      <a:lnTo>
                        <a:pt x="1154" y="64"/>
                      </a:lnTo>
                      <a:lnTo>
                        <a:pt x="1159" y="61"/>
                      </a:lnTo>
                      <a:lnTo>
                        <a:pt x="1159" y="52"/>
                      </a:lnTo>
                      <a:lnTo>
                        <a:pt x="1165" y="44"/>
                      </a:lnTo>
                      <a:lnTo>
                        <a:pt x="1170" y="41"/>
                      </a:lnTo>
                      <a:lnTo>
                        <a:pt x="1173" y="41"/>
                      </a:lnTo>
                      <a:lnTo>
                        <a:pt x="1175" y="44"/>
                      </a:lnTo>
                      <a:lnTo>
                        <a:pt x="1175" y="47"/>
                      </a:lnTo>
                      <a:lnTo>
                        <a:pt x="1173" y="49"/>
                      </a:lnTo>
                      <a:lnTo>
                        <a:pt x="1170" y="49"/>
                      </a:lnTo>
                      <a:lnTo>
                        <a:pt x="1167" y="52"/>
                      </a:lnTo>
                      <a:lnTo>
                        <a:pt x="1170" y="52"/>
                      </a:lnTo>
                      <a:lnTo>
                        <a:pt x="1170" y="55"/>
                      </a:lnTo>
                      <a:lnTo>
                        <a:pt x="1165" y="55"/>
                      </a:lnTo>
                      <a:lnTo>
                        <a:pt x="1165" y="57"/>
                      </a:lnTo>
                      <a:lnTo>
                        <a:pt x="1170" y="55"/>
                      </a:lnTo>
                      <a:lnTo>
                        <a:pt x="1173" y="52"/>
                      </a:lnTo>
                      <a:lnTo>
                        <a:pt x="1175" y="49"/>
                      </a:lnTo>
                      <a:lnTo>
                        <a:pt x="1175" y="52"/>
                      </a:lnTo>
                      <a:lnTo>
                        <a:pt x="1170" y="61"/>
                      </a:lnTo>
                      <a:lnTo>
                        <a:pt x="1175" y="57"/>
                      </a:lnTo>
                      <a:lnTo>
                        <a:pt x="1173" y="64"/>
                      </a:lnTo>
                      <a:lnTo>
                        <a:pt x="1170" y="66"/>
                      </a:lnTo>
                      <a:lnTo>
                        <a:pt x="1167" y="69"/>
                      </a:lnTo>
                      <a:lnTo>
                        <a:pt x="1162" y="75"/>
                      </a:lnTo>
                      <a:lnTo>
                        <a:pt x="1157" y="75"/>
                      </a:lnTo>
                      <a:lnTo>
                        <a:pt x="1162" y="77"/>
                      </a:lnTo>
                      <a:lnTo>
                        <a:pt x="1162" y="80"/>
                      </a:lnTo>
                      <a:lnTo>
                        <a:pt x="1157" y="80"/>
                      </a:lnTo>
                      <a:lnTo>
                        <a:pt x="1154" y="80"/>
                      </a:lnTo>
                      <a:lnTo>
                        <a:pt x="1157" y="80"/>
                      </a:lnTo>
                      <a:lnTo>
                        <a:pt x="1159" y="80"/>
                      </a:lnTo>
                      <a:lnTo>
                        <a:pt x="1157" y="85"/>
                      </a:lnTo>
                      <a:lnTo>
                        <a:pt x="1159" y="88"/>
                      </a:lnTo>
                      <a:lnTo>
                        <a:pt x="1159" y="85"/>
                      </a:lnTo>
                      <a:lnTo>
                        <a:pt x="1159" y="83"/>
                      </a:lnTo>
                      <a:lnTo>
                        <a:pt x="1162" y="80"/>
                      </a:lnTo>
                      <a:lnTo>
                        <a:pt x="1162" y="77"/>
                      </a:lnTo>
                      <a:lnTo>
                        <a:pt x="1165" y="75"/>
                      </a:lnTo>
                      <a:lnTo>
                        <a:pt x="1173" y="75"/>
                      </a:lnTo>
                      <a:lnTo>
                        <a:pt x="1182" y="69"/>
                      </a:lnTo>
                      <a:lnTo>
                        <a:pt x="1182" y="72"/>
                      </a:lnTo>
                      <a:lnTo>
                        <a:pt x="1173" y="77"/>
                      </a:lnTo>
                      <a:lnTo>
                        <a:pt x="1173" y="83"/>
                      </a:lnTo>
                      <a:lnTo>
                        <a:pt x="1175" y="80"/>
                      </a:lnTo>
                      <a:lnTo>
                        <a:pt x="1182" y="72"/>
                      </a:lnTo>
                      <a:lnTo>
                        <a:pt x="1182" y="77"/>
                      </a:lnTo>
                      <a:lnTo>
                        <a:pt x="1167" y="88"/>
                      </a:lnTo>
                      <a:lnTo>
                        <a:pt x="1167" y="91"/>
                      </a:lnTo>
                      <a:lnTo>
                        <a:pt x="1178" y="91"/>
                      </a:lnTo>
                      <a:lnTo>
                        <a:pt x="1175" y="93"/>
                      </a:lnTo>
                      <a:lnTo>
                        <a:pt x="1173" y="97"/>
                      </a:lnTo>
                      <a:lnTo>
                        <a:pt x="1175" y="100"/>
                      </a:lnTo>
                      <a:lnTo>
                        <a:pt x="1175" y="93"/>
                      </a:lnTo>
                      <a:lnTo>
                        <a:pt x="1178" y="91"/>
                      </a:lnTo>
                      <a:lnTo>
                        <a:pt x="1184" y="77"/>
                      </a:lnTo>
                      <a:lnTo>
                        <a:pt x="1187" y="64"/>
                      </a:lnTo>
                      <a:lnTo>
                        <a:pt x="1187" y="61"/>
                      </a:lnTo>
                      <a:lnTo>
                        <a:pt x="1192" y="66"/>
                      </a:lnTo>
                      <a:lnTo>
                        <a:pt x="1195" y="72"/>
                      </a:lnTo>
                      <a:lnTo>
                        <a:pt x="1192" y="80"/>
                      </a:lnTo>
                      <a:lnTo>
                        <a:pt x="1190" y="85"/>
                      </a:lnTo>
                      <a:lnTo>
                        <a:pt x="1195" y="72"/>
                      </a:lnTo>
                      <a:lnTo>
                        <a:pt x="1190" y="55"/>
                      </a:lnTo>
                      <a:lnTo>
                        <a:pt x="1195" y="49"/>
                      </a:lnTo>
                      <a:lnTo>
                        <a:pt x="1200" y="47"/>
                      </a:lnTo>
                      <a:lnTo>
                        <a:pt x="1203" y="49"/>
                      </a:lnTo>
                      <a:lnTo>
                        <a:pt x="1203" y="52"/>
                      </a:lnTo>
                      <a:lnTo>
                        <a:pt x="1206" y="49"/>
                      </a:lnTo>
                      <a:lnTo>
                        <a:pt x="1203" y="55"/>
                      </a:lnTo>
                      <a:lnTo>
                        <a:pt x="1200" y="57"/>
                      </a:lnTo>
                      <a:lnTo>
                        <a:pt x="1198" y="66"/>
                      </a:lnTo>
                      <a:lnTo>
                        <a:pt x="1198" y="69"/>
                      </a:lnTo>
                      <a:lnTo>
                        <a:pt x="1203" y="75"/>
                      </a:lnTo>
                      <a:lnTo>
                        <a:pt x="1194" y="88"/>
                      </a:lnTo>
                      <a:lnTo>
                        <a:pt x="1195" y="88"/>
                      </a:lnTo>
                      <a:lnTo>
                        <a:pt x="1195" y="90"/>
                      </a:lnTo>
                      <a:lnTo>
                        <a:pt x="1198" y="88"/>
                      </a:lnTo>
                      <a:lnTo>
                        <a:pt x="1198" y="85"/>
                      </a:lnTo>
                      <a:lnTo>
                        <a:pt x="1200" y="85"/>
                      </a:lnTo>
                      <a:lnTo>
                        <a:pt x="1203" y="85"/>
                      </a:lnTo>
                      <a:lnTo>
                        <a:pt x="1200" y="83"/>
                      </a:lnTo>
                      <a:lnTo>
                        <a:pt x="1203" y="77"/>
                      </a:lnTo>
                      <a:lnTo>
                        <a:pt x="1206" y="80"/>
                      </a:lnTo>
                      <a:lnTo>
                        <a:pt x="1203" y="85"/>
                      </a:lnTo>
                      <a:lnTo>
                        <a:pt x="1206" y="85"/>
                      </a:lnTo>
                      <a:lnTo>
                        <a:pt x="1208" y="91"/>
                      </a:lnTo>
                      <a:lnTo>
                        <a:pt x="1200" y="97"/>
                      </a:lnTo>
                      <a:lnTo>
                        <a:pt x="1195" y="93"/>
                      </a:lnTo>
                      <a:lnTo>
                        <a:pt x="1195" y="97"/>
                      </a:lnTo>
                      <a:lnTo>
                        <a:pt x="1198" y="93"/>
                      </a:lnTo>
                      <a:lnTo>
                        <a:pt x="1203" y="97"/>
                      </a:lnTo>
                      <a:lnTo>
                        <a:pt x="1208" y="93"/>
                      </a:lnTo>
                      <a:lnTo>
                        <a:pt x="1208" y="97"/>
                      </a:lnTo>
                      <a:lnTo>
                        <a:pt x="1211" y="93"/>
                      </a:lnTo>
                      <a:lnTo>
                        <a:pt x="1208" y="93"/>
                      </a:lnTo>
                      <a:lnTo>
                        <a:pt x="1206" y="83"/>
                      </a:lnTo>
                      <a:lnTo>
                        <a:pt x="1211" y="72"/>
                      </a:lnTo>
                      <a:lnTo>
                        <a:pt x="1215" y="61"/>
                      </a:lnTo>
                      <a:lnTo>
                        <a:pt x="1215" y="57"/>
                      </a:lnTo>
                      <a:lnTo>
                        <a:pt x="1217" y="57"/>
                      </a:lnTo>
                      <a:lnTo>
                        <a:pt x="1217" y="61"/>
                      </a:lnTo>
                      <a:lnTo>
                        <a:pt x="1217" y="64"/>
                      </a:lnTo>
                      <a:lnTo>
                        <a:pt x="1223" y="52"/>
                      </a:lnTo>
                      <a:lnTo>
                        <a:pt x="1223" y="47"/>
                      </a:lnTo>
                      <a:lnTo>
                        <a:pt x="1226" y="47"/>
                      </a:lnTo>
                      <a:lnTo>
                        <a:pt x="1226" y="44"/>
                      </a:lnTo>
                      <a:lnTo>
                        <a:pt x="1228" y="41"/>
                      </a:lnTo>
                      <a:lnTo>
                        <a:pt x="1231" y="39"/>
                      </a:lnTo>
                      <a:lnTo>
                        <a:pt x="1226" y="36"/>
                      </a:lnTo>
                      <a:lnTo>
                        <a:pt x="1236" y="33"/>
                      </a:lnTo>
                      <a:lnTo>
                        <a:pt x="1244" y="33"/>
                      </a:lnTo>
                      <a:lnTo>
                        <a:pt x="1247" y="36"/>
                      </a:lnTo>
                      <a:lnTo>
                        <a:pt x="1251" y="39"/>
                      </a:lnTo>
                      <a:lnTo>
                        <a:pt x="1251" y="41"/>
                      </a:lnTo>
                      <a:lnTo>
                        <a:pt x="1247" y="41"/>
                      </a:lnTo>
                      <a:lnTo>
                        <a:pt x="1244" y="47"/>
                      </a:lnTo>
                      <a:lnTo>
                        <a:pt x="1244" y="44"/>
                      </a:lnTo>
                      <a:lnTo>
                        <a:pt x="1244" y="47"/>
                      </a:lnTo>
                      <a:lnTo>
                        <a:pt x="1242" y="47"/>
                      </a:lnTo>
                      <a:lnTo>
                        <a:pt x="1242" y="49"/>
                      </a:lnTo>
                      <a:lnTo>
                        <a:pt x="1236" y="55"/>
                      </a:lnTo>
                      <a:lnTo>
                        <a:pt x="1234" y="61"/>
                      </a:lnTo>
                      <a:lnTo>
                        <a:pt x="1231" y="64"/>
                      </a:lnTo>
                      <a:lnTo>
                        <a:pt x="1231" y="69"/>
                      </a:lnTo>
                      <a:lnTo>
                        <a:pt x="1228" y="69"/>
                      </a:lnTo>
                      <a:lnTo>
                        <a:pt x="1231" y="75"/>
                      </a:lnTo>
                      <a:lnTo>
                        <a:pt x="1226" y="80"/>
                      </a:lnTo>
                      <a:lnTo>
                        <a:pt x="1223" y="80"/>
                      </a:lnTo>
                      <a:lnTo>
                        <a:pt x="1226" y="80"/>
                      </a:lnTo>
                      <a:lnTo>
                        <a:pt x="1228" y="77"/>
                      </a:lnTo>
                      <a:lnTo>
                        <a:pt x="1234" y="77"/>
                      </a:lnTo>
                      <a:lnTo>
                        <a:pt x="1236" y="85"/>
                      </a:lnTo>
                      <a:lnTo>
                        <a:pt x="1242" y="93"/>
                      </a:lnTo>
                      <a:lnTo>
                        <a:pt x="1242" y="100"/>
                      </a:lnTo>
                      <a:lnTo>
                        <a:pt x="1239" y="105"/>
                      </a:lnTo>
                      <a:lnTo>
                        <a:pt x="1242" y="110"/>
                      </a:lnTo>
                      <a:lnTo>
                        <a:pt x="1234" y="110"/>
                      </a:lnTo>
                      <a:lnTo>
                        <a:pt x="1231" y="116"/>
                      </a:lnTo>
                      <a:lnTo>
                        <a:pt x="1228" y="124"/>
                      </a:lnTo>
                      <a:lnTo>
                        <a:pt x="1231" y="126"/>
                      </a:lnTo>
                      <a:lnTo>
                        <a:pt x="1231" y="124"/>
                      </a:lnTo>
                      <a:lnTo>
                        <a:pt x="1234" y="118"/>
                      </a:lnTo>
                      <a:lnTo>
                        <a:pt x="1234" y="113"/>
                      </a:lnTo>
                      <a:lnTo>
                        <a:pt x="1236" y="113"/>
                      </a:lnTo>
                      <a:lnTo>
                        <a:pt x="1239" y="113"/>
                      </a:lnTo>
                      <a:lnTo>
                        <a:pt x="1242" y="110"/>
                      </a:lnTo>
                      <a:lnTo>
                        <a:pt x="1244" y="113"/>
                      </a:lnTo>
                      <a:lnTo>
                        <a:pt x="1244" y="121"/>
                      </a:lnTo>
                      <a:lnTo>
                        <a:pt x="1251" y="124"/>
                      </a:lnTo>
                      <a:lnTo>
                        <a:pt x="1239" y="130"/>
                      </a:lnTo>
                      <a:lnTo>
                        <a:pt x="1236" y="133"/>
                      </a:lnTo>
                      <a:lnTo>
                        <a:pt x="1234" y="133"/>
                      </a:lnTo>
                      <a:lnTo>
                        <a:pt x="1234" y="138"/>
                      </a:lnTo>
                      <a:lnTo>
                        <a:pt x="1228" y="138"/>
                      </a:lnTo>
                      <a:lnTo>
                        <a:pt x="1226" y="141"/>
                      </a:lnTo>
                      <a:lnTo>
                        <a:pt x="1220" y="135"/>
                      </a:lnTo>
                      <a:lnTo>
                        <a:pt x="1223" y="135"/>
                      </a:lnTo>
                      <a:lnTo>
                        <a:pt x="1220" y="138"/>
                      </a:lnTo>
                      <a:lnTo>
                        <a:pt x="1223" y="138"/>
                      </a:lnTo>
                      <a:lnTo>
                        <a:pt x="1226" y="141"/>
                      </a:lnTo>
                      <a:lnTo>
                        <a:pt x="1228" y="138"/>
                      </a:lnTo>
                      <a:lnTo>
                        <a:pt x="1234" y="138"/>
                      </a:lnTo>
                      <a:lnTo>
                        <a:pt x="1236" y="135"/>
                      </a:lnTo>
                      <a:lnTo>
                        <a:pt x="1242" y="130"/>
                      </a:lnTo>
                      <a:lnTo>
                        <a:pt x="1251" y="126"/>
                      </a:lnTo>
                      <a:lnTo>
                        <a:pt x="1253" y="124"/>
                      </a:lnTo>
                      <a:lnTo>
                        <a:pt x="1251" y="121"/>
                      </a:lnTo>
                      <a:lnTo>
                        <a:pt x="1247" y="118"/>
                      </a:lnTo>
                      <a:lnTo>
                        <a:pt x="1247" y="116"/>
                      </a:lnTo>
                      <a:lnTo>
                        <a:pt x="1251" y="113"/>
                      </a:lnTo>
                      <a:lnTo>
                        <a:pt x="1253" y="110"/>
                      </a:lnTo>
                      <a:lnTo>
                        <a:pt x="1251" y="105"/>
                      </a:lnTo>
                      <a:lnTo>
                        <a:pt x="1251" y="110"/>
                      </a:lnTo>
                      <a:lnTo>
                        <a:pt x="1247" y="113"/>
                      </a:lnTo>
                      <a:lnTo>
                        <a:pt x="1247" y="110"/>
                      </a:lnTo>
                      <a:lnTo>
                        <a:pt x="1244" y="108"/>
                      </a:lnTo>
                      <a:lnTo>
                        <a:pt x="1244" y="102"/>
                      </a:lnTo>
                      <a:lnTo>
                        <a:pt x="1247" y="105"/>
                      </a:lnTo>
                      <a:lnTo>
                        <a:pt x="1251" y="105"/>
                      </a:lnTo>
                      <a:lnTo>
                        <a:pt x="1247" y="102"/>
                      </a:lnTo>
                      <a:lnTo>
                        <a:pt x="1247" y="93"/>
                      </a:lnTo>
                      <a:lnTo>
                        <a:pt x="1259" y="85"/>
                      </a:lnTo>
                      <a:lnTo>
                        <a:pt x="1261" y="93"/>
                      </a:lnTo>
                      <a:lnTo>
                        <a:pt x="1261" y="91"/>
                      </a:lnTo>
                      <a:lnTo>
                        <a:pt x="1267" y="83"/>
                      </a:lnTo>
                      <a:lnTo>
                        <a:pt x="1264" y="83"/>
                      </a:lnTo>
                      <a:lnTo>
                        <a:pt x="1264" y="85"/>
                      </a:lnTo>
                      <a:lnTo>
                        <a:pt x="1261" y="85"/>
                      </a:lnTo>
                      <a:lnTo>
                        <a:pt x="1261" y="83"/>
                      </a:lnTo>
                      <a:lnTo>
                        <a:pt x="1264" y="83"/>
                      </a:lnTo>
                      <a:lnTo>
                        <a:pt x="1267" y="83"/>
                      </a:lnTo>
                      <a:lnTo>
                        <a:pt x="1267" y="66"/>
                      </a:lnTo>
                      <a:lnTo>
                        <a:pt x="1267" y="55"/>
                      </a:lnTo>
                      <a:lnTo>
                        <a:pt x="1269" y="47"/>
                      </a:lnTo>
                      <a:lnTo>
                        <a:pt x="1269" y="41"/>
                      </a:lnTo>
                      <a:lnTo>
                        <a:pt x="1272" y="36"/>
                      </a:lnTo>
                      <a:lnTo>
                        <a:pt x="1275" y="39"/>
                      </a:lnTo>
                      <a:lnTo>
                        <a:pt x="1275" y="36"/>
                      </a:lnTo>
                      <a:lnTo>
                        <a:pt x="1275" y="33"/>
                      </a:lnTo>
                      <a:lnTo>
                        <a:pt x="1269" y="33"/>
                      </a:lnTo>
                      <a:lnTo>
                        <a:pt x="1272" y="31"/>
                      </a:lnTo>
                      <a:lnTo>
                        <a:pt x="1275" y="28"/>
                      </a:lnTo>
                      <a:lnTo>
                        <a:pt x="1277" y="33"/>
                      </a:lnTo>
                      <a:lnTo>
                        <a:pt x="1280" y="33"/>
                      </a:lnTo>
                      <a:lnTo>
                        <a:pt x="1280" y="39"/>
                      </a:lnTo>
                      <a:lnTo>
                        <a:pt x="1280" y="49"/>
                      </a:lnTo>
                      <a:lnTo>
                        <a:pt x="1280" y="52"/>
                      </a:lnTo>
                      <a:lnTo>
                        <a:pt x="1277" y="55"/>
                      </a:lnTo>
                      <a:lnTo>
                        <a:pt x="1277" y="52"/>
                      </a:lnTo>
                      <a:lnTo>
                        <a:pt x="1272" y="61"/>
                      </a:lnTo>
                      <a:lnTo>
                        <a:pt x="1269" y="72"/>
                      </a:lnTo>
                      <a:lnTo>
                        <a:pt x="1269" y="77"/>
                      </a:lnTo>
                      <a:lnTo>
                        <a:pt x="1272" y="77"/>
                      </a:lnTo>
                      <a:lnTo>
                        <a:pt x="1272" y="80"/>
                      </a:lnTo>
                      <a:lnTo>
                        <a:pt x="1272" y="85"/>
                      </a:lnTo>
                      <a:lnTo>
                        <a:pt x="1272" y="88"/>
                      </a:lnTo>
                      <a:lnTo>
                        <a:pt x="1267" y="93"/>
                      </a:lnTo>
                      <a:lnTo>
                        <a:pt x="1267" y="102"/>
                      </a:lnTo>
                      <a:lnTo>
                        <a:pt x="1267" y="105"/>
                      </a:lnTo>
                      <a:lnTo>
                        <a:pt x="1267" y="108"/>
                      </a:lnTo>
                      <a:lnTo>
                        <a:pt x="1267" y="110"/>
                      </a:lnTo>
                      <a:lnTo>
                        <a:pt x="1267" y="113"/>
                      </a:lnTo>
                      <a:lnTo>
                        <a:pt x="1264" y="110"/>
                      </a:lnTo>
                      <a:lnTo>
                        <a:pt x="1267" y="118"/>
                      </a:lnTo>
                      <a:lnTo>
                        <a:pt x="1269" y="118"/>
                      </a:lnTo>
                      <a:lnTo>
                        <a:pt x="1269" y="113"/>
                      </a:lnTo>
                      <a:lnTo>
                        <a:pt x="1269" y="110"/>
                      </a:lnTo>
                      <a:lnTo>
                        <a:pt x="1269" y="113"/>
                      </a:lnTo>
                      <a:lnTo>
                        <a:pt x="1272" y="116"/>
                      </a:lnTo>
                      <a:lnTo>
                        <a:pt x="1269" y="121"/>
                      </a:lnTo>
                      <a:lnTo>
                        <a:pt x="1269" y="126"/>
                      </a:lnTo>
                      <a:lnTo>
                        <a:pt x="1264" y="130"/>
                      </a:lnTo>
                      <a:lnTo>
                        <a:pt x="1267" y="133"/>
                      </a:lnTo>
                      <a:lnTo>
                        <a:pt x="1264" y="133"/>
                      </a:lnTo>
                      <a:lnTo>
                        <a:pt x="1261" y="133"/>
                      </a:lnTo>
                      <a:lnTo>
                        <a:pt x="1259" y="133"/>
                      </a:lnTo>
                      <a:lnTo>
                        <a:pt x="1261" y="133"/>
                      </a:lnTo>
                      <a:lnTo>
                        <a:pt x="1261" y="130"/>
                      </a:lnTo>
                      <a:lnTo>
                        <a:pt x="1242" y="133"/>
                      </a:lnTo>
                      <a:lnTo>
                        <a:pt x="1242" y="130"/>
                      </a:lnTo>
                      <a:lnTo>
                        <a:pt x="1239" y="143"/>
                      </a:lnTo>
                      <a:lnTo>
                        <a:pt x="1234" y="149"/>
                      </a:lnTo>
                      <a:lnTo>
                        <a:pt x="1231" y="154"/>
                      </a:lnTo>
                      <a:lnTo>
                        <a:pt x="1234" y="149"/>
                      </a:lnTo>
                      <a:lnTo>
                        <a:pt x="1239" y="146"/>
                      </a:lnTo>
                      <a:lnTo>
                        <a:pt x="1242" y="143"/>
                      </a:lnTo>
                      <a:lnTo>
                        <a:pt x="1244" y="146"/>
                      </a:lnTo>
                      <a:lnTo>
                        <a:pt x="1247" y="146"/>
                      </a:lnTo>
                      <a:lnTo>
                        <a:pt x="1242" y="141"/>
                      </a:lnTo>
                      <a:lnTo>
                        <a:pt x="1242" y="138"/>
                      </a:lnTo>
                      <a:lnTo>
                        <a:pt x="1244" y="135"/>
                      </a:lnTo>
                      <a:lnTo>
                        <a:pt x="1253" y="135"/>
                      </a:lnTo>
                      <a:lnTo>
                        <a:pt x="1251" y="138"/>
                      </a:lnTo>
                      <a:lnTo>
                        <a:pt x="1256" y="135"/>
                      </a:lnTo>
                      <a:lnTo>
                        <a:pt x="1267" y="135"/>
                      </a:lnTo>
                      <a:lnTo>
                        <a:pt x="1269" y="133"/>
                      </a:lnTo>
                      <a:lnTo>
                        <a:pt x="1275" y="124"/>
                      </a:lnTo>
                      <a:lnTo>
                        <a:pt x="1275" y="118"/>
                      </a:lnTo>
                      <a:lnTo>
                        <a:pt x="1275" y="116"/>
                      </a:lnTo>
                      <a:lnTo>
                        <a:pt x="1272" y="110"/>
                      </a:lnTo>
                      <a:lnTo>
                        <a:pt x="1275" y="97"/>
                      </a:lnTo>
                      <a:lnTo>
                        <a:pt x="1277" y="93"/>
                      </a:lnTo>
                      <a:lnTo>
                        <a:pt x="1287" y="91"/>
                      </a:lnTo>
                      <a:lnTo>
                        <a:pt x="1287" y="93"/>
                      </a:lnTo>
                      <a:lnTo>
                        <a:pt x="1287" y="91"/>
                      </a:lnTo>
                      <a:lnTo>
                        <a:pt x="1289" y="88"/>
                      </a:lnTo>
                      <a:lnTo>
                        <a:pt x="1292" y="91"/>
                      </a:lnTo>
                      <a:lnTo>
                        <a:pt x="1289" y="93"/>
                      </a:lnTo>
                      <a:lnTo>
                        <a:pt x="1292" y="97"/>
                      </a:lnTo>
                      <a:lnTo>
                        <a:pt x="1287" y="105"/>
                      </a:lnTo>
                      <a:lnTo>
                        <a:pt x="1284" y="105"/>
                      </a:lnTo>
                      <a:lnTo>
                        <a:pt x="1280" y="108"/>
                      </a:lnTo>
                      <a:lnTo>
                        <a:pt x="1277" y="108"/>
                      </a:lnTo>
                      <a:lnTo>
                        <a:pt x="1280" y="108"/>
                      </a:lnTo>
                      <a:lnTo>
                        <a:pt x="1284" y="105"/>
                      </a:lnTo>
                      <a:lnTo>
                        <a:pt x="1287" y="105"/>
                      </a:lnTo>
                      <a:lnTo>
                        <a:pt x="1287" y="118"/>
                      </a:lnTo>
                      <a:lnTo>
                        <a:pt x="1284" y="121"/>
                      </a:lnTo>
                      <a:lnTo>
                        <a:pt x="1280" y="121"/>
                      </a:lnTo>
                      <a:lnTo>
                        <a:pt x="1277" y="124"/>
                      </a:lnTo>
                      <a:lnTo>
                        <a:pt x="1280" y="124"/>
                      </a:lnTo>
                      <a:lnTo>
                        <a:pt x="1280" y="121"/>
                      </a:lnTo>
                      <a:lnTo>
                        <a:pt x="1284" y="124"/>
                      </a:lnTo>
                      <a:lnTo>
                        <a:pt x="1287" y="118"/>
                      </a:lnTo>
                      <a:lnTo>
                        <a:pt x="1289" y="121"/>
                      </a:lnTo>
                      <a:lnTo>
                        <a:pt x="1289" y="124"/>
                      </a:lnTo>
                      <a:lnTo>
                        <a:pt x="1292" y="126"/>
                      </a:lnTo>
                      <a:lnTo>
                        <a:pt x="1289" y="124"/>
                      </a:lnTo>
                      <a:lnTo>
                        <a:pt x="1289" y="121"/>
                      </a:lnTo>
                      <a:lnTo>
                        <a:pt x="1287" y="118"/>
                      </a:lnTo>
                      <a:lnTo>
                        <a:pt x="1289" y="116"/>
                      </a:lnTo>
                      <a:lnTo>
                        <a:pt x="1287" y="110"/>
                      </a:lnTo>
                      <a:lnTo>
                        <a:pt x="1289" y="105"/>
                      </a:lnTo>
                      <a:lnTo>
                        <a:pt x="1295" y="97"/>
                      </a:lnTo>
                      <a:lnTo>
                        <a:pt x="1300" y="93"/>
                      </a:lnTo>
                      <a:lnTo>
                        <a:pt x="1300" y="97"/>
                      </a:lnTo>
                      <a:lnTo>
                        <a:pt x="1297" y="100"/>
                      </a:lnTo>
                      <a:lnTo>
                        <a:pt x="1308" y="91"/>
                      </a:lnTo>
                      <a:lnTo>
                        <a:pt x="1311" y="91"/>
                      </a:lnTo>
                      <a:lnTo>
                        <a:pt x="1308" y="102"/>
                      </a:lnTo>
                      <a:lnTo>
                        <a:pt x="1303" y="100"/>
                      </a:lnTo>
                      <a:lnTo>
                        <a:pt x="1300" y="102"/>
                      </a:lnTo>
                      <a:lnTo>
                        <a:pt x="1303" y="102"/>
                      </a:lnTo>
                      <a:lnTo>
                        <a:pt x="1305" y="105"/>
                      </a:lnTo>
                      <a:lnTo>
                        <a:pt x="1305" y="108"/>
                      </a:lnTo>
                      <a:lnTo>
                        <a:pt x="1300" y="110"/>
                      </a:lnTo>
                      <a:lnTo>
                        <a:pt x="1300" y="113"/>
                      </a:lnTo>
                      <a:lnTo>
                        <a:pt x="1297" y="118"/>
                      </a:lnTo>
                      <a:lnTo>
                        <a:pt x="1292" y="118"/>
                      </a:lnTo>
                      <a:lnTo>
                        <a:pt x="1292" y="121"/>
                      </a:lnTo>
                      <a:lnTo>
                        <a:pt x="1295" y="118"/>
                      </a:lnTo>
                      <a:lnTo>
                        <a:pt x="1300" y="118"/>
                      </a:lnTo>
                      <a:lnTo>
                        <a:pt x="1303" y="110"/>
                      </a:lnTo>
                      <a:lnTo>
                        <a:pt x="1308" y="108"/>
                      </a:lnTo>
                      <a:lnTo>
                        <a:pt x="1308" y="110"/>
                      </a:lnTo>
                      <a:lnTo>
                        <a:pt x="1308" y="113"/>
                      </a:lnTo>
                      <a:lnTo>
                        <a:pt x="1311" y="113"/>
                      </a:lnTo>
                      <a:lnTo>
                        <a:pt x="1308" y="116"/>
                      </a:lnTo>
                      <a:lnTo>
                        <a:pt x="1305" y="118"/>
                      </a:lnTo>
                      <a:lnTo>
                        <a:pt x="1303" y="116"/>
                      </a:lnTo>
                      <a:lnTo>
                        <a:pt x="1297" y="118"/>
                      </a:lnTo>
                      <a:lnTo>
                        <a:pt x="1297" y="124"/>
                      </a:lnTo>
                      <a:lnTo>
                        <a:pt x="1300" y="126"/>
                      </a:lnTo>
                      <a:lnTo>
                        <a:pt x="1297" y="130"/>
                      </a:lnTo>
                      <a:lnTo>
                        <a:pt x="1295" y="138"/>
                      </a:lnTo>
                      <a:lnTo>
                        <a:pt x="1297" y="133"/>
                      </a:lnTo>
                      <a:lnTo>
                        <a:pt x="1303" y="126"/>
                      </a:lnTo>
                      <a:lnTo>
                        <a:pt x="1300" y="121"/>
                      </a:lnTo>
                      <a:lnTo>
                        <a:pt x="1300" y="118"/>
                      </a:lnTo>
                      <a:lnTo>
                        <a:pt x="1303" y="118"/>
                      </a:lnTo>
                      <a:lnTo>
                        <a:pt x="1305" y="121"/>
                      </a:lnTo>
                      <a:lnTo>
                        <a:pt x="1308" y="121"/>
                      </a:lnTo>
                      <a:lnTo>
                        <a:pt x="1313" y="116"/>
                      </a:lnTo>
                      <a:lnTo>
                        <a:pt x="1313" y="110"/>
                      </a:lnTo>
                      <a:lnTo>
                        <a:pt x="1316" y="105"/>
                      </a:lnTo>
                      <a:lnTo>
                        <a:pt x="1322" y="102"/>
                      </a:lnTo>
                      <a:lnTo>
                        <a:pt x="1320" y="108"/>
                      </a:lnTo>
                      <a:lnTo>
                        <a:pt x="1320" y="110"/>
                      </a:lnTo>
                      <a:lnTo>
                        <a:pt x="1320" y="113"/>
                      </a:lnTo>
                      <a:lnTo>
                        <a:pt x="1316" y="118"/>
                      </a:lnTo>
                      <a:lnTo>
                        <a:pt x="1313" y="124"/>
                      </a:lnTo>
                      <a:lnTo>
                        <a:pt x="1311" y="126"/>
                      </a:lnTo>
                      <a:lnTo>
                        <a:pt x="1313" y="124"/>
                      </a:lnTo>
                      <a:lnTo>
                        <a:pt x="1316" y="121"/>
                      </a:lnTo>
                      <a:lnTo>
                        <a:pt x="1316" y="126"/>
                      </a:lnTo>
                      <a:lnTo>
                        <a:pt x="1313" y="130"/>
                      </a:lnTo>
                      <a:lnTo>
                        <a:pt x="1313" y="133"/>
                      </a:lnTo>
                      <a:lnTo>
                        <a:pt x="1305" y="135"/>
                      </a:lnTo>
                      <a:lnTo>
                        <a:pt x="1313" y="135"/>
                      </a:lnTo>
                      <a:lnTo>
                        <a:pt x="1316" y="130"/>
                      </a:lnTo>
                      <a:lnTo>
                        <a:pt x="1316" y="133"/>
                      </a:lnTo>
                      <a:lnTo>
                        <a:pt x="1320" y="138"/>
                      </a:lnTo>
                      <a:lnTo>
                        <a:pt x="1311" y="149"/>
                      </a:lnTo>
                      <a:lnTo>
                        <a:pt x="1313" y="152"/>
                      </a:lnTo>
                      <a:lnTo>
                        <a:pt x="1313" y="149"/>
                      </a:lnTo>
                      <a:lnTo>
                        <a:pt x="1316" y="146"/>
                      </a:lnTo>
                      <a:lnTo>
                        <a:pt x="1320" y="146"/>
                      </a:lnTo>
                      <a:lnTo>
                        <a:pt x="1325" y="143"/>
                      </a:lnTo>
                      <a:lnTo>
                        <a:pt x="1322" y="143"/>
                      </a:lnTo>
                      <a:lnTo>
                        <a:pt x="1328" y="133"/>
                      </a:lnTo>
                      <a:lnTo>
                        <a:pt x="1330" y="130"/>
                      </a:lnTo>
                      <a:lnTo>
                        <a:pt x="1330" y="133"/>
                      </a:lnTo>
                      <a:lnTo>
                        <a:pt x="1336" y="126"/>
                      </a:lnTo>
                      <a:lnTo>
                        <a:pt x="1336" y="124"/>
                      </a:lnTo>
                      <a:lnTo>
                        <a:pt x="1333" y="126"/>
                      </a:lnTo>
                      <a:lnTo>
                        <a:pt x="1328" y="130"/>
                      </a:lnTo>
                      <a:lnTo>
                        <a:pt x="1328" y="126"/>
                      </a:lnTo>
                      <a:lnTo>
                        <a:pt x="1333" y="121"/>
                      </a:lnTo>
                      <a:lnTo>
                        <a:pt x="1336" y="124"/>
                      </a:lnTo>
                      <a:lnTo>
                        <a:pt x="1336" y="116"/>
                      </a:lnTo>
                      <a:lnTo>
                        <a:pt x="1336" y="113"/>
                      </a:lnTo>
                      <a:lnTo>
                        <a:pt x="1341" y="113"/>
                      </a:lnTo>
                      <a:lnTo>
                        <a:pt x="1344" y="113"/>
                      </a:lnTo>
                      <a:lnTo>
                        <a:pt x="1344" y="110"/>
                      </a:lnTo>
                      <a:lnTo>
                        <a:pt x="1347" y="110"/>
                      </a:lnTo>
                      <a:lnTo>
                        <a:pt x="1347" y="108"/>
                      </a:lnTo>
                      <a:lnTo>
                        <a:pt x="1344" y="108"/>
                      </a:lnTo>
                      <a:lnTo>
                        <a:pt x="1347" y="105"/>
                      </a:lnTo>
                      <a:lnTo>
                        <a:pt x="1358" y="102"/>
                      </a:lnTo>
                      <a:lnTo>
                        <a:pt x="1364" y="110"/>
                      </a:lnTo>
                      <a:lnTo>
                        <a:pt x="1361" y="118"/>
                      </a:lnTo>
                      <a:lnTo>
                        <a:pt x="1358" y="124"/>
                      </a:lnTo>
                      <a:lnTo>
                        <a:pt x="1356" y="126"/>
                      </a:lnTo>
                      <a:lnTo>
                        <a:pt x="1349" y="118"/>
                      </a:lnTo>
                      <a:lnTo>
                        <a:pt x="1353" y="124"/>
                      </a:lnTo>
                      <a:lnTo>
                        <a:pt x="1353" y="126"/>
                      </a:lnTo>
                      <a:lnTo>
                        <a:pt x="1349" y="126"/>
                      </a:lnTo>
                      <a:lnTo>
                        <a:pt x="1349" y="130"/>
                      </a:lnTo>
                      <a:lnTo>
                        <a:pt x="1344" y="133"/>
                      </a:lnTo>
                      <a:lnTo>
                        <a:pt x="1344" y="126"/>
                      </a:lnTo>
                      <a:lnTo>
                        <a:pt x="1344" y="133"/>
                      </a:lnTo>
                      <a:lnTo>
                        <a:pt x="1341" y="133"/>
                      </a:lnTo>
                      <a:lnTo>
                        <a:pt x="1336" y="135"/>
                      </a:lnTo>
                      <a:lnTo>
                        <a:pt x="1336" y="143"/>
                      </a:lnTo>
                      <a:lnTo>
                        <a:pt x="1330" y="154"/>
                      </a:lnTo>
                      <a:lnTo>
                        <a:pt x="1333" y="157"/>
                      </a:lnTo>
                      <a:lnTo>
                        <a:pt x="1333" y="162"/>
                      </a:lnTo>
                      <a:lnTo>
                        <a:pt x="1330" y="162"/>
                      </a:lnTo>
                      <a:lnTo>
                        <a:pt x="1328" y="160"/>
                      </a:lnTo>
                      <a:lnTo>
                        <a:pt x="1333" y="169"/>
                      </a:lnTo>
                      <a:lnTo>
                        <a:pt x="1333" y="171"/>
                      </a:lnTo>
                      <a:lnTo>
                        <a:pt x="1328" y="179"/>
                      </a:lnTo>
                      <a:lnTo>
                        <a:pt x="1333" y="179"/>
                      </a:lnTo>
                      <a:lnTo>
                        <a:pt x="1336" y="185"/>
                      </a:lnTo>
                      <a:lnTo>
                        <a:pt x="1333" y="190"/>
                      </a:lnTo>
                      <a:lnTo>
                        <a:pt x="1336" y="187"/>
                      </a:lnTo>
                      <a:lnTo>
                        <a:pt x="1341" y="187"/>
                      </a:lnTo>
                      <a:lnTo>
                        <a:pt x="1341" y="195"/>
                      </a:lnTo>
                      <a:lnTo>
                        <a:pt x="1338" y="202"/>
                      </a:lnTo>
                      <a:lnTo>
                        <a:pt x="1333" y="198"/>
                      </a:lnTo>
                      <a:lnTo>
                        <a:pt x="1330" y="204"/>
                      </a:lnTo>
                      <a:lnTo>
                        <a:pt x="1328" y="202"/>
                      </a:lnTo>
                      <a:lnTo>
                        <a:pt x="1330" y="204"/>
                      </a:lnTo>
                      <a:lnTo>
                        <a:pt x="1330" y="207"/>
                      </a:lnTo>
                      <a:lnTo>
                        <a:pt x="1330" y="204"/>
                      </a:lnTo>
                      <a:lnTo>
                        <a:pt x="1333" y="202"/>
                      </a:lnTo>
                      <a:lnTo>
                        <a:pt x="1344" y="207"/>
                      </a:lnTo>
                      <a:lnTo>
                        <a:pt x="1344" y="204"/>
                      </a:lnTo>
                      <a:lnTo>
                        <a:pt x="1341" y="204"/>
                      </a:lnTo>
                      <a:lnTo>
                        <a:pt x="1344" y="198"/>
                      </a:lnTo>
                      <a:lnTo>
                        <a:pt x="1344" y="190"/>
                      </a:lnTo>
                      <a:lnTo>
                        <a:pt x="1338" y="182"/>
                      </a:lnTo>
                      <a:lnTo>
                        <a:pt x="1338" y="179"/>
                      </a:lnTo>
                      <a:lnTo>
                        <a:pt x="1344" y="174"/>
                      </a:lnTo>
                      <a:lnTo>
                        <a:pt x="1344" y="169"/>
                      </a:lnTo>
                      <a:lnTo>
                        <a:pt x="1353" y="157"/>
                      </a:lnTo>
                      <a:lnTo>
                        <a:pt x="1356" y="157"/>
                      </a:lnTo>
                      <a:lnTo>
                        <a:pt x="1356" y="154"/>
                      </a:lnTo>
                      <a:lnTo>
                        <a:pt x="1358" y="157"/>
                      </a:lnTo>
                      <a:lnTo>
                        <a:pt x="1356" y="162"/>
                      </a:lnTo>
                      <a:lnTo>
                        <a:pt x="1356" y="171"/>
                      </a:lnTo>
                      <a:lnTo>
                        <a:pt x="1353" y="174"/>
                      </a:lnTo>
                      <a:lnTo>
                        <a:pt x="1356" y="177"/>
                      </a:lnTo>
                      <a:lnTo>
                        <a:pt x="1358" y="182"/>
                      </a:lnTo>
                      <a:lnTo>
                        <a:pt x="1361" y="185"/>
                      </a:lnTo>
                      <a:lnTo>
                        <a:pt x="1353" y="174"/>
                      </a:lnTo>
                      <a:lnTo>
                        <a:pt x="1358" y="171"/>
                      </a:lnTo>
                      <a:lnTo>
                        <a:pt x="1358" y="166"/>
                      </a:lnTo>
                      <a:lnTo>
                        <a:pt x="1361" y="162"/>
                      </a:lnTo>
                      <a:lnTo>
                        <a:pt x="1364" y="166"/>
                      </a:lnTo>
                      <a:lnTo>
                        <a:pt x="1364" y="169"/>
                      </a:lnTo>
                      <a:lnTo>
                        <a:pt x="1361" y="169"/>
                      </a:lnTo>
                      <a:lnTo>
                        <a:pt x="1361" y="171"/>
                      </a:lnTo>
                      <a:lnTo>
                        <a:pt x="1364" y="174"/>
                      </a:lnTo>
                      <a:lnTo>
                        <a:pt x="1361" y="171"/>
                      </a:lnTo>
                      <a:lnTo>
                        <a:pt x="1361" y="169"/>
                      </a:lnTo>
                      <a:lnTo>
                        <a:pt x="1364" y="171"/>
                      </a:lnTo>
                      <a:lnTo>
                        <a:pt x="1366" y="169"/>
                      </a:lnTo>
                      <a:lnTo>
                        <a:pt x="1361" y="162"/>
                      </a:lnTo>
                      <a:lnTo>
                        <a:pt x="1364" y="157"/>
                      </a:lnTo>
                      <a:lnTo>
                        <a:pt x="1366" y="154"/>
                      </a:lnTo>
                      <a:lnTo>
                        <a:pt x="1369" y="157"/>
                      </a:lnTo>
                      <a:lnTo>
                        <a:pt x="1372" y="157"/>
                      </a:lnTo>
                      <a:lnTo>
                        <a:pt x="1374" y="160"/>
                      </a:lnTo>
                      <a:lnTo>
                        <a:pt x="1374" y="162"/>
                      </a:lnTo>
                      <a:lnTo>
                        <a:pt x="1377" y="160"/>
                      </a:lnTo>
                      <a:lnTo>
                        <a:pt x="1380" y="160"/>
                      </a:lnTo>
                      <a:lnTo>
                        <a:pt x="1377" y="157"/>
                      </a:lnTo>
                      <a:lnTo>
                        <a:pt x="1369" y="157"/>
                      </a:lnTo>
                      <a:lnTo>
                        <a:pt x="1366" y="152"/>
                      </a:lnTo>
                      <a:lnTo>
                        <a:pt x="1372" y="146"/>
                      </a:lnTo>
                      <a:lnTo>
                        <a:pt x="1377" y="143"/>
                      </a:lnTo>
                      <a:lnTo>
                        <a:pt x="1377" y="141"/>
                      </a:lnTo>
                      <a:lnTo>
                        <a:pt x="1382" y="143"/>
                      </a:lnTo>
                      <a:lnTo>
                        <a:pt x="1380" y="143"/>
                      </a:lnTo>
                      <a:lnTo>
                        <a:pt x="1380" y="149"/>
                      </a:lnTo>
                      <a:lnTo>
                        <a:pt x="1380" y="143"/>
                      </a:lnTo>
                      <a:lnTo>
                        <a:pt x="1386" y="143"/>
                      </a:lnTo>
                      <a:lnTo>
                        <a:pt x="1382" y="141"/>
                      </a:lnTo>
                      <a:lnTo>
                        <a:pt x="1377" y="138"/>
                      </a:lnTo>
                      <a:lnTo>
                        <a:pt x="1374" y="138"/>
                      </a:lnTo>
                      <a:lnTo>
                        <a:pt x="1377" y="143"/>
                      </a:lnTo>
                      <a:lnTo>
                        <a:pt x="1374" y="143"/>
                      </a:lnTo>
                      <a:lnTo>
                        <a:pt x="1374" y="138"/>
                      </a:lnTo>
                      <a:lnTo>
                        <a:pt x="1374" y="135"/>
                      </a:lnTo>
                      <a:lnTo>
                        <a:pt x="1374" y="133"/>
                      </a:lnTo>
                      <a:lnTo>
                        <a:pt x="1380" y="130"/>
                      </a:lnTo>
                      <a:lnTo>
                        <a:pt x="1382" y="124"/>
                      </a:lnTo>
                      <a:lnTo>
                        <a:pt x="1389" y="126"/>
                      </a:lnTo>
                      <a:lnTo>
                        <a:pt x="1382" y="126"/>
                      </a:lnTo>
                      <a:lnTo>
                        <a:pt x="1382" y="130"/>
                      </a:lnTo>
                      <a:lnTo>
                        <a:pt x="1389" y="126"/>
                      </a:lnTo>
                      <a:lnTo>
                        <a:pt x="1391" y="133"/>
                      </a:lnTo>
                      <a:lnTo>
                        <a:pt x="1389" y="130"/>
                      </a:lnTo>
                      <a:lnTo>
                        <a:pt x="1391" y="126"/>
                      </a:lnTo>
                      <a:lnTo>
                        <a:pt x="1389" y="130"/>
                      </a:lnTo>
                      <a:lnTo>
                        <a:pt x="1391" y="126"/>
                      </a:lnTo>
                      <a:lnTo>
                        <a:pt x="1389" y="124"/>
                      </a:lnTo>
                      <a:lnTo>
                        <a:pt x="1389" y="121"/>
                      </a:lnTo>
                      <a:lnTo>
                        <a:pt x="1380" y="116"/>
                      </a:lnTo>
                      <a:lnTo>
                        <a:pt x="1380" y="113"/>
                      </a:lnTo>
                      <a:lnTo>
                        <a:pt x="1386" y="110"/>
                      </a:lnTo>
                      <a:lnTo>
                        <a:pt x="1397" y="113"/>
                      </a:lnTo>
                      <a:lnTo>
                        <a:pt x="1399" y="118"/>
                      </a:lnTo>
                      <a:lnTo>
                        <a:pt x="1399" y="121"/>
                      </a:lnTo>
                      <a:lnTo>
                        <a:pt x="1399" y="124"/>
                      </a:lnTo>
                      <a:lnTo>
                        <a:pt x="1402" y="121"/>
                      </a:lnTo>
                      <a:lnTo>
                        <a:pt x="1402" y="124"/>
                      </a:lnTo>
                      <a:lnTo>
                        <a:pt x="1402" y="133"/>
                      </a:lnTo>
                      <a:lnTo>
                        <a:pt x="1402" y="135"/>
                      </a:lnTo>
                      <a:lnTo>
                        <a:pt x="1402" y="141"/>
                      </a:lnTo>
                      <a:lnTo>
                        <a:pt x="1402" y="146"/>
                      </a:lnTo>
                      <a:lnTo>
                        <a:pt x="1402" y="135"/>
                      </a:lnTo>
                      <a:lnTo>
                        <a:pt x="1405" y="135"/>
                      </a:lnTo>
                      <a:lnTo>
                        <a:pt x="1407" y="157"/>
                      </a:lnTo>
                      <a:lnTo>
                        <a:pt x="1405" y="157"/>
                      </a:lnTo>
                      <a:lnTo>
                        <a:pt x="1402" y="157"/>
                      </a:lnTo>
                      <a:lnTo>
                        <a:pt x="1402" y="160"/>
                      </a:lnTo>
                      <a:lnTo>
                        <a:pt x="1399" y="162"/>
                      </a:lnTo>
                      <a:lnTo>
                        <a:pt x="1399" y="166"/>
                      </a:lnTo>
                      <a:lnTo>
                        <a:pt x="1394" y="166"/>
                      </a:lnTo>
                      <a:lnTo>
                        <a:pt x="1382" y="171"/>
                      </a:lnTo>
                      <a:lnTo>
                        <a:pt x="1372" y="177"/>
                      </a:lnTo>
                      <a:lnTo>
                        <a:pt x="1372" y="179"/>
                      </a:lnTo>
                      <a:lnTo>
                        <a:pt x="1369" y="182"/>
                      </a:lnTo>
                      <a:lnTo>
                        <a:pt x="1369" y="187"/>
                      </a:lnTo>
                      <a:lnTo>
                        <a:pt x="1372" y="195"/>
                      </a:lnTo>
                      <a:lnTo>
                        <a:pt x="1374" y="195"/>
                      </a:lnTo>
                      <a:lnTo>
                        <a:pt x="1372" y="195"/>
                      </a:lnTo>
                      <a:lnTo>
                        <a:pt x="1369" y="182"/>
                      </a:lnTo>
                      <a:lnTo>
                        <a:pt x="1372" y="182"/>
                      </a:lnTo>
                      <a:lnTo>
                        <a:pt x="1377" y="177"/>
                      </a:lnTo>
                      <a:lnTo>
                        <a:pt x="1382" y="177"/>
                      </a:lnTo>
                      <a:lnTo>
                        <a:pt x="1386" y="177"/>
                      </a:lnTo>
                      <a:lnTo>
                        <a:pt x="1386" y="185"/>
                      </a:lnTo>
                      <a:lnTo>
                        <a:pt x="1380" y="187"/>
                      </a:lnTo>
                      <a:lnTo>
                        <a:pt x="1380" y="193"/>
                      </a:lnTo>
                      <a:lnTo>
                        <a:pt x="1377" y="198"/>
                      </a:lnTo>
                      <a:lnTo>
                        <a:pt x="1377" y="202"/>
                      </a:lnTo>
                      <a:lnTo>
                        <a:pt x="1374" y="207"/>
                      </a:lnTo>
                      <a:lnTo>
                        <a:pt x="1374" y="210"/>
                      </a:lnTo>
                      <a:lnTo>
                        <a:pt x="1372" y="207"/>
                      </a:lnTo>
                      <a:lnTo>
                        <a:pt x="1369" y="204"/>
                      </a:lnTo>
                      <a:lnTo>
                        <a:pt x="1366" y="207"/>
                      </a:lnTo>
                      <a:lnTo>
                        <a:pt x="1366" y="218"/>
                      </a:lnTo>
                      <a:lnTo>
                        <a:pt x="1364" y="218"/>
                      </a:lnTo>
                      <a:lnTo>
                        <a:pt x="1364" y="221"/>
                      </a:lnTo>
                      <a:lnTo>
                        <a:pt x="1366" y="218"/>
                      </a:lnTo>
                      <a:lnTo>
                        <a:pt x="1369" y="207"/>
                      </a:lnTo>
                      <a:lnTo>
                        <a:pt x="1372" y="207"/>
                      </a:lnTo>
                      <a:lnTo>
                        <a:pt x="1374" y="210"/>
                      </a:lnTo>
                      <a:lnTo>
                        <a:pt x="1377" y="207"/>
                      </a:lnTo>
                      <a:lnTo>
                        <a:pt x="1377" y="204"/>
                      </a:lnTo>
                      <a:lnTo>
                        <a:pt x="1377" y="198"/>
                      </a:lnTo>
                      <a:lnTo>
                        <a:pt x="1382" y="193"/>
                      </a:lnTo>
                      <a:lnTo>
                        <a:pt x="1382" y="190"/>
                      </a:lnTo>
                      <a:lnTo>
                        <a:pt x="1386" y="185"/>
                      </a:lnTo>
                      <a:lnTo>
                        <a:pt x="1389" y="179"/>
                      </a:lnTo>
                      <a:lnTo>
                        <a:pt x="1391" y="182"/>
                      </a:lnTo>
                      <a:lnTo>
                        <a:pt x="1394" y="185"/>
                      </a:lnTo>
                      <a:lnTo>
                        <a:pt x="1391" y="190"/>
                      </a:lnTo>
                      <a:lnTo>
                        <a:pt x="1389" y="190"/>
                      </a:lnTo>
                      <a:lnTo>
                        <a:pt x="1394" y="193"/>
                      </a:lnTo>
                      <a:lnTo>
                        <a:pt x="1394" y="195"/>
                      </a:lnTo>
                      <a:lnTo>
                        <a:pt x="1394" y="193"/>
                      </a:lnTo>
                      <a:lnTo>
                        <a:pt x="1394" y="179"/>
                      </a:lnTo>
                      <a:lnTo>
                        <a:pt x="1399" y="182"/>
                      </a:lnTo>
                      <a:lnTo>
                        <a:pt x="1405" y="187"/>
                      </a:lnTo>
                      <a:lnTo>
                        <a:pt x="1399" y="195"/>
                      </a:lnTo>
                      <a:lnTo>
                        <a:pt x="1399" y="202"/>
                      </a:lnTo>
                      <a:lnTo>
                        <a:pt x="1397" y="207"/>
                      </a:lnTo>
                      <a:lnTo>
                        <a:pt x="1397" y="212"/>
                      </a:lnTo>
                      <a:lnTo>
                        <a:pt x="1394" y="215"/>
                      </a:lnTo>
                      <a:lnTo>
                        <a:pt x="1389" y="226"/>
                      </a:lnTo>
                      <a:lnTo>
                        <a:pt x="1389" y="229"/>
                      </a:lnTo>
                      <a:lnTo>
                        <a:pt x="1386" y="231"/>
                      </a:lnTo>
                      <a:lnTo>
                        <a:pt x="1389" y="240"/>
                      </a:lnTo>
                      <a:lnTo>
                        <a:pt x="1389" y="243"/>
                      </a:lnTo>
                      <a:lnTo>
                        <a:pt x="1382" y="238"/>
                      </a:lnTo>
                      <a:lnTo>
                        <a:pt x="1380" y="240"/>
                      </a:lnTo>
                      <a:lnTo>
                        <a:pt x="1377" y="240"/>
                      </a:lnTo>
                      <a:lnTo>
                        <a:pt x="1380" y="243"/>
                      </a:lnTo>
                      <a:lnTo>
                        <a:pt x="1382" y="238"/>
                      </a:lnTo>
                      <a:lnTo>
                        <a:pt x="1389" y="243"/>
                      </a:lnTo>
                      <a:lnTo>
                        <a:pt x="1380" y="259"/>
                      </a:lnTo>
                      <a:lnTo>
                        <a:pt x="1380" y="262"/>
                      </a:lnTo>
                      <a:lnTo>
                        <a:pt x="1374" y="262"/>
                      </a:lnTo>
                      <a:lnTo>
                        <a:pt x="1372" y="264"/>
                      </a:lnTo>
                      <a:lnTo>
                        <a:pt x="1366" y="264"/>
                      </a:lnTo>
                      <a:lnTo>
                        <a:pt x="1366" y="271"/>
                      </a:lnTo>
                      <a:lnTo>
                        <a:pt x="1364" y="271"/>
                      </a:lnTo>
                      <a:lnTo>
                        <a:pt x="1361" y="276"/>
                      </a:lnTo>
                      <a:lnTo>
                        <a:pt x="1364" y="271"/>
                      </a:lnTo>
                      <a:lnTo>
                        <a:pt x="1366" y="271"/>
                      </a:lnTo>
                      <a:lnTo>
                        <a:pt x="1369" y="264"/>
                      </a:lnTo>
                      <a:lnTo>
                        <a:pt x="1372" y="267"/>
                      </a:lnTo>
                      <a:lnTo>
                        <a:pt x="1374" y="264"/>
                      </a:lnTo>
                      <a:lnTo>
                        <a:pt x="1377" y="262"/>
                      </a:lnTo>
                      <a:lnTo>
                        <a:pt x="1372" y="271"/>
                      </a:lnTo>
                      <a:lnTo>
                        <a:pt x="1374" y="273"/>
                      </a:lnTo>
                      <a:lnTo>
                        <a:pt x="1369" y="279"/>
                      </a:lnTo>
                      <a:lnTo>
                        <a:pt x="1374" y="273"/>
                      </a:lnTo>
                      <a:lnTo>
                        <a:pt x="1374" y="267"/>
                      </a:lnTo>
                      <a:lnTo>
                        <a:pt x="1377" y="264"/>
                      </a:lnTo>
                      <a:lnTo>
                        <a:pt x="1380" y="264"/>
                      </a:lnTo>
                      <a:lnTo>
                        <a:pt x="1377" y="279"/>
                      </a:lnTo>
                      <a:lnTo>
                        <a:pt x="1380" y="284"/>
                      </a:lnTo>
                      <a:lnTo>
                        <a:pt x="1382" y="290"/>
                      </a:lnTo>
                      <a:lnTo>
                        <a:pt x="1382" y="287"/>
                      </a:lnTo>
                      <a:lnTo>
                        <a:pt x="1389" y="287"/>
                      </a:lnTo>
                      <a:lnTo>
                        <a:pt x="1389" y="279"/>
                      </a:lnTo>
                      <a:lnTo>
                        <a:pt x="1389" y="267"/>
                      </a:lnTo>
                      <a:lnTo>
                        <a:pt x="1391" y="264"/>
                      </a:lnTo>
                      <a:lnTo>
                        <a:pt x="1397" y="248"/>
                      </a:lnTo>
                      <a:lnTo>
                        <a:pt x="1397" y="235"/>
                      </a:lnTo>
                      <a:lnTo>
                        <a:pt x="1399" y="231"/>
                      </a:lnTo>
                      <a:lnTo>
                        <a:pt x="1407" y="229"/>
                      </a:lnTo>
                      <a:lnTo>
                        <a:pt x="1413" y="238"/>
                      </a:lnTo>
                      <a:lnTo>
                        <a:pt x="1413" y="240"/>
                      </a:lnTo>
                      <a:lnTo>
                        <a:pt x="1416" y="238"/>
                      </a:lnTo>
                      <a:lnTo>
                        <a:pt x="1418" y="243"/>
                      </a:lnTo>
                      <a:lnTo>
                        <a:pt x="1425" y="240"/>
                      </a:lnTo>
                      <a:lnTo>
                        <a:pt x="1425" y="238"/>
                      </a:lnTo>
                      <a:lnTo>
                        <a:pt x="1422" y="229"/>
                      </a:lnTo>
                      <a:lnTo>
                        <a:pt x="1425" y="226"/>
                      </a:lnTo>
                      <a:lnTo>
                        <a:pt x="1425" y="223"/>
                      </a:lnTo>
                      <a:lnTo>
                        <a:pt x="1425" y="221"/>
                      </a:lnTo>
                      <a:lnTo>
                        <a:pt x="1430" y="212"/>
                      </a:lnTo>
                      <a:lnTo>
                        <a:pt x="1430" y="210"/>
                      </a:lnTo>
                      <a:lnTo>
                        <a:pt x="1441" y="202"/>
                      </a:lnTo>
                      <a:lnTo>
                        <a:pt x="1446" y="195"/>
                      </a:lnTo>
                      <a:lnTo>
                        <a:pt x="1449" y="195"/>
                      </a:lnTo>
                      <a:lnTo>
                        <a:pt x="1451" y="198"/>
                      </a:lnTo>
                      <a:lnTo>
                        <a:pt x="1455" y="193"/>
                      </a:lnTo>
                      <a:lnTo>
                        <a:pt x="1458" y="193"/>
                      </a:lnTo>
                      <a:lnTo>
                        <a:pt x="1455" y="187"/>
                      </a:lnTo>
                      <a:lnTo>
                        <a:pt x="1458" y="185"/>
                      </a:lnTo>
                      <a:lnTo>
                        <a:pt x="1460" y="185"/>
                      </a:lnTo>
                      <a:lnTo>
                        <a:pt x="1460" y="182"/>
                      </a:lnTo>
                      <a:lnTo>
                        <a:pt x="1463" y="177"/>
                      </a:lnTo>
                      <a:lnTo>
                        <a:pt x="1463" y="174"/>
                      </a:lnTo>
                      <a:lnTo>
                        <a:pt x="1466" y="174"/>
                      </a:lnTo>
                      <a:lnTo>
                        <a:pt x="1466" y="177"/>
                      </a:lnTo>
                      <a:lnTo>
                        <a:pt x="1468" y="174"/>
                      </a:lnTo>
                      <a:lnTo>
                        <a:pt x="1471" y="174"/>
                      </a:lnTo>
                      <a:lnTo>
                        <a:pt x="1471" y="177"/>
                      </a:lnTo>
                      <a:lnTo>
                        <a:pt x="1471" y="179"/>
                      </a:lnTo>
                      <a:lnTo>
                        <a:pt x="1468" y="179"/>
                      </a:lnTo>
                      <a:lnTo>
                        <a:pt x="1471" y="182"/>
                      </a:lnTo>
                      <a:lnTo>
                        <a:pt x="1471" y="185"/>
                      </a:lnTo>
                      <a:lnTo>
                        <a:pt x="1471" y="187"/>
                      </a:lnTo>
                      <a:lnTo>
                        <a:pt x="1471" y="185"/>
                      </a:lnTo>
                      <a:lnTo>
                        <a:pt x="1471" y="182"/>
                      </a:lnTo>
                      <a:lnTo>
                        <a:pt x="1468" y="185"/>
                      </a:lnTo>
                      <a:lnTo>
                        <a:pt x="1471" y="190"/>
                      </a:lnTo>
                      <a:lnTo>
                        <a:pt x="1474" y="193"/>
                      </a:lnTo>
                      <a:lnTo>
                        <a:pt x="1466" y="198"/>
                      </a:lnTo>
                      <a:lnTo>
                        <a:pt x="1468" y="198"/>
                      </a:lnTo>
                      <a:lnTo>
                        <a:pt x="1474" y="193"/>
                      </a:lnTo>
                      <a:lnTo>
                        <a:pt x="1474" y="202"/>
                      </a:lnTo>
                      <a:lnTo>
                        <a:pt x="1474" y="207"/>
                      </a:lnTo>
                      <a:lnTo>
                        <a:pt x="1476" y="210"/>
                      </a:lnTo>
                      <a:lnTo>
                        <a:pt x="1479" y="210"/>
                      </a:lnTo>
                      <a:lnTo>
                        <a:pt x="1482" y="210"/>
                      </a:lnTo>
                      <a:lnTo>
                        <a:pt x="1479" y="207"/>
                      </a:lnTo>
                      <a:lnTo>
                        <a:pt x="1476" y="210"/>
                      </a:lnTo>
                      <a:lnTo>
                        <a:pt x="1474" y="207"/>
                      </a:lnTo>
                      <a:lnTo>
                        <a:pt x="1474" y="202"/>
                      </a:lnTo>
                      <a:lnTo>
                        <a:pt x="1476" y="195"/>
                      </a:lnTo>
                      <a:lnTo>
                        <a:pt x="1474" y="187"/>
                      </a:lnTo>
                      <a:lnTo>
                        <a:pt x="1474" y="179"/>
                      </a:lnTo>
                      <a:lnTo>
                        <a:pt x="1474" y="174"/>
                      </a:lnTo>
                      <a:lnTo>
                        <a:pt x="1476" y="171"/>
                      </a:lnTo>
                      <a:lnTo>
                        <a:pt x="1476" y="166"/>
                      </a:lnTo>
                      <a:lnTo>
                        <a:pt x="1479" y="162"/>
                      </a:lnTo>
                      <a:lnTo>
                        <a:pt x="1482" y="154"/>
                      </a:lnTo>
                      <a:lnTo>
                        <a:pt x="1484" y="152"/>
                      </a:lnTo>
                      <a:lnTo>
                        <a:pt x="1482" y="146"/>
                      </a:lnTo>
                      <a:lnTo>
                        <a:pt x="1482" y="149"/>
                      </a:lnTo>
                      <a:lnTo>
                        <a:pt x="1482" y="146"/>
                      </a:lnTo>
                      <a:lnTo>
                        <a:pt x="1482" y="146"/>
                      </a:lnTo>
                      <a:lnTo>
                        <a:pt x="1479" y="143"/>
                      </a:lnTo>
                      <a:lnTo>
                        <a:pt x="1480" y="143"/>
                      </a:lnTo>
                      <a:lnTo>
                        <a:pt x="1479" y="141"/>
                      </a:lnTo>
                      <a:lnTo>
                        <a:pt x="1482" y="135"/>
                      </a:lnTo>
                      <a:lnTo>
                        <a:pt x="1482" y="133"/>
                      </a:lnTo>
                      <a:lnTo>
                        <a:pt x="1484" y="133"/>
                      </a:lnTo>
                      <a:lnTo>
                        <a:pt x="1487" y="135"/>
                      </a:lnTo>
                      <a:lnTo>
                        <a:pt x="1484" y="141"/>
                      </a:lnTo>
                      <a:lnTo>
                        <a:pt x="1487" y="143"/>
                      </a:lnTo>
                      <a:lnTo>
                        <a:pt x="1484" y="146"/>
                      </a:lnTo>
                      <a:lnTo>
                        <a:pt x="1482" y="160"/>
                      </a:lnTo>
                      <a:lnTo>
                        <a:pt x="1487" y="171"/>
                      </a:lnTo>
                      <a:lnTo>
                        <a:pt x="1484" y="177"/>
                      </a:lnTo>
                      <a:lnTo>
                        <a:pt x="1482" y="182"/>
                      </a:lnTo>
                      <a:lnTo>
                        <a:pt x="1482" y="185"/>
                      </a:lnTo>
                      <a:lnTo>
                        <a:pt x="1482" y="187"/>
                      </a:lnTo>
                      <a:lnTo>
                        <a:pt x="1484" y="187"/>
                      </a:lnTo>
                      <a:lnTo>
                        <a:pt x="1487" y="187"/>
                      </a:lnTo>
                      <a:lnTo>
                        <a:pt x="1487" y="190"/>
                      </a:lnTo>
                      <a:lnTo>
                        <a:pt x="1484" y="195"/>
                      </a:lnTo>
                      <a:lnTo>
                        <a:pt x="1487" y="195"/>
                      </a:lnTo>
                      <a:lnTo>
                        <a:pt x="1487" y="190"/>
                      </a:lnTo>
                      <a:lnTo>
                        <a:pt x="1491" y="190"/>
                      </a:lnTo>
                      <a:lnTo>
                        <a:pt x="1487" y="190"/>
                      </a:lnTo>
                      <a:lnTo>
                        <a:pt x="1487" y="187"/>
                      </a:lnTo>
                      <a:lnTo>
                        <a:pt x="1484" y="185"/>
                      </a:lnTo>
                      <a:lnTo>
                        <a:pt x="1484" y="182"/>
                      </a:lnTo>
                      <a:lnTo>
                        <a:pt x="1487" y="179"/>
                      </a:lnTo>
                      <a:lnTo>
                        <a:pt x="1494" y="182"/>
                      </a:lnTo>
                      <a:lnTo>
                        <a:pt x="1496" y="179"/>
                      </a:lnTo>
                      <a:lnTo>
                        <a:pt x="1487" y="177"/>
                      </a:lnTo>
                      <a:lnTo>
                        <a:pt x="1491" y="169"/>
                      </a:lnTo>
                      <a:lnTo>
                        <a:pt x="1496" y="174"/>
                      </a:lnTo>
                      <a:lnTo>
                        <a:pt x="1496" y="177"/>
                      </a:lnTo>
                      <a:lnTo>
                        <a:pt x="1496" y="179"/>
                      </a:lnTo>
                      <a:lnTo>
                        <a:pt x="1494" y="182"/>
                      </a:lnTo>
                      <a:lnTo>
                        <a:pt x="1487" y="185"/>
                      </a:lnTo>
                      <a:lnTo>
                        <a:pt x="1494" y="182"/>
                      </a:lnTo>
                      <a:lnTo>
                        <a:pt x="1494" y="185"/>
                      </a:lnTo>
                      <a:lnTo>
                        <a:pt x="1499" y="179"/>
                      </a:lnTo>
                      <a:lnTo>
                        <a:pt x="1499" y="171"/>
                      </a:lnTo>
                      <a:lnTo>
                        <a:pt x="1494" y="166"/>
                      </a:lnTo>
                      <a:lnTo>
                        <a:pt x="1491" y="162"/>
                      </a:lnTo>
                      <a:lnTo>
                        <a:pt x="1491" y="160"/>
                      </a:lnTo>
                      <a:lnTo>
                        <a:pt x="1491" y="157"/>
                      </a:lnTo>
                      <a:lnTo>
                        <a:pt x="1494" y="154"/>
                      </a:lnTo>
                      <a:lnTo>
                        <a:pt x="1494" y="166"/>
                      </a:lnTo>
                      <a:lnTo>
                        <a:pt x="1496" y="157"/>
                      </a:lnTo>
                      <a:lnTo>
                        <a:pt x="1499" y="160"/>
                      </a:lnTo>
                      <a:lnTo>
                        <a:pt x="1502" y="166"/>
                      </a:lnTo>
                      <a:lnTo>
                        <a:pt x="1499" y="162"/>
                      </a:lnTo>
                      <a:lnTo>
                        <a:pt x="1496" y="166"/>
                      </a:lnTo>
                      <a:lnTo>
                        <a:pt x="1499" y="166"/>
                      </a:lnTo>
                      <a:lnTo>
                        <a:pt x="1496" y="169"/>
                      </a:lnTo>
                      <a:lnTo>
                        <a:pt x="1496" y="171"/>
                      </a:lnTo>
                      <a:lnTo>
                        <a:pt x="1499" y="169"/>
                      </a:lnTo>
                      <a:lnTo>
                        <a:pt x="1499" y="171"/>
                      </a:lnTo>
                      <a:lnTo>
                        <a:pt x="1499" y="185"/>
                      </a:lnTo>
                      <a:lnTo>
                        <a:pt x="1499" y="190"/>
                      </a:lnTo>
                      <a:lnTo>
                        <a:pt x="1494" y="198"/>
                      </a:lnTo>
                      <a:lnTo>
                        <a:pt x="1499" y="193"/>
                      </a:lnTo>
                      <a:lnTo>
                        <a:pt x="1502" y="185"/>
                      </a:lnTo>
                      <a:lnTo>
                        <a:pt x="1499" y="182"/>
                      </a:lnTo>
                      <a:lnTo>
                        <a:pt x="1504" y="179"/>
                      </a:lnTo>
                      <a:lnTo>
                        <a:pt x="1510" y="185"/>
                      </a:lnTo>
                      <a:lnTo>
                        <a:pt x="1510" y="190"/>
                      </a:lnTo>
                      <a:lnTo>
                        <a:pt x="1510" y="185"/>
                      </a:lnTo>
                      <a:lnTo>
                        <a:pt x="1518" y="185"/>
                      </a:lnTo>
                      <a:lnTo>
                        <a:pt x="1520" y="182"/>
                      </a:lnTo>
                      <a:lnTo>
                        <a:pt x="1524" y="182"/>
                      </a:lnTo>
                      <a:lnTo>
                        <a:pt x="1527" y="185"/>
                      </a:lnTo>
                      <a:lnTo>
                        <a:pt x="1532" y="190"/>
                      </a:lnTo>
                      <a:lnTo>
                        <a:pt x="1537" y="190"/>
                      </a:lnTo>
                      <a:lnTo>
                        <a:pt x="1540" y="195"/>
                      </a:lnTo>
                      <a:lnTo>
                        <a:pt x="1543" y="195"/>
                      </a:lnTo>
                      <a:lnTo>
                        <a:pt x="1540" y="190"/>
                      </a:lnTo>
                      <a:lnTo>
                        <a:pt x="1540" y="187"/>
                      </a:lnTo>
                      <a:lnTo>
                        <a:pt x="1543" y="182"/>
                      </a:lnTo>
                      <a:lnTo>
                        <a:pt x="1548" y="179"/>
                      </a:lnTo>
                      <a:lnTo>
                        <a:pt x="1551" y="185"/>
                      </a:lnTo>
                      <a:lnTo>
                        <a:pt x="1545" y="185"/>
                      </a:lnTo>
                      <a:lnTo>
                        <a:pt x="1545" y="187"/>
                      </a:lnTo>
                      <a:lnTo>
                        <a:pt x="1545" y="193"/>
                      </a:lnTo>
                      <a:lnTo>
                        <a:pt x="1548" y="195"/>
                      </a:lnTo>
                      <a:lnTo>
                        <a:pt x="1545" y="190"/>
                      </a:lnTo>
                      <a:lnTo>
                        <a:pt x="1548" y="187"/>
                      </a:lnTo>
                      <a:lnTo>
                        <a:pt x="1551" y="193"/>
                      </a:lnTo>
                      <a:lnTo>
                        <a:pt x="1556" y="193"/>
                      </a:lnTo>
                      <a:lnTo>
                        <a:pt x="1551" y="193"/>
                      </a:lnTo>
                      <a:lnTo>
                        <a:pt x="1548" y="187"/>
                      </a:lnTo>
                      <a:lnTo>
                        <a:pt x="1565" y="185"/>
                      </a:lnTo>
                      <a:lnTo>
                        <a:pt x="1563" y="185"/>
                      </a:lnTo>
                      <a:lnTo>
                        <a:pt x="1556" y="185"/>
                      </a:lnTo>
                      <a:lnTo>
                        <a:pt x="1556" y="182"/>
                      </a:lnTo>
                      <a:lnTo>
                        <a:pt x="1560" y="179"/>
                      </a:lnTo>
                      <a:lnTo>
                        <a:pt x="1568" y="169"/>
                      </a:lnTo>
                      <a:lnTo>
                        <a:pt x="1573" y="166"/>
                      </a:lnTo>
                      <a:lnTo>
                        <a:pt x="1579" y="171"/>
                      </a:lnTo>
                      <a:lnTo>
                        <a:pt x="1576" y="162"/>
                      </a:lnTo>
                      <a:lnTo>
                        <a:pt x="1581" y="169"/>
                      </a:lnTo>
                      <a:lnTo>
                        <a:pt x="1579" y="162"/>
                      </a:lnTo>
                      <a:lnTo>
                        <a:pt x="1579" y="160"/>
                      </a:lnTo>
                      <a:lnTo>
                        <a:pt x="1584" y="160"/>
                      </a:lnTo>
                      <a:lnTo>
                        <a:pt x="1581" y="160"/>
                      </a:lnTo>
                      <a:lnTo>
                        <a:pt x="1579" y="157"/>
                      </a:lnTo>
                      <a:lnTo>
                        <a:pt x="1584" y="154"/>
                      </a:lnTo>
                      <a:lnTo>
                        <a:pt x="1589" y="157"/>
                      </a:lnTo>
                      <a:lnTo>
                        <a:pt x="1589" y="154"/>
                      </a:lnTo>
                      <a:lnTo>
                        <a:pt x="1587" y="154"/>
                      </a:lnTo>
                      <a:lnTo>
                        <a:pt x="1596" y="154"/>
                      </a:lnTo>
                      <a:lnTo>
                        <a:pt x="1593" y="154"/>
                      </a:lnTo>
                      <a:lnTo>
                        <a:pt x="1598" y="154"/>
                      </a:lnTo>
                      <a:lnTo>
                        <a:pt x="1601" y="154"/>
                      </a:lnTo>
                      <a:lnTo>
                        <a:pt x="1604" y="160"/>
                      </a:lnTo>
                      <a:lnTo>
                        <a:pt x="1598" y="162"/>
                      </a:lnTo>
                      <a:lnTo>
                        <a:pt x="1598" y="160"/>
                      </a:lnTo>
                      <a:lnTo>
                        <a:pt x="1593" y="169"/>
                      </a:lnTo>
                      <a:lnTo>
                        <a:pt x="1596" y="185"/>
                      </a:lnTo>
                      <a:lnTo>
                        <a:pt x="1589" y="182"/>
                      </a:lnTo>
                      <a:lnTo>
                        <a:pt x="1589" y="171"/>
                      </a:lnTo>
                      <a:lnTo>
                        <a:pt x="1587" y="177"/>
                      </a:lnTo>
                      <a:lnTo>
                        <a:pt x="1587" y="185"/>
                      </a:lnTo>
                      <a:lnTo>
                        <a:pt x="1579" y="182"/>
                      </a:lnTo>
                      <a:lnTo>
                        <a:pt x="1571" y="182"/>
                      </a:lnTo>
                      <a:lnTo>
                        <a:pt x="1576" y="182"/>
                      </a:lnTo>
                      <a:lnTo>
                        <a:pt x="1584" y="187"/>
                      </a:lnTo>
                      <a:lnTo>
                        <a:pt x="1587" y="187"/>
                      </a:lnTo>
                      <a:lnTo>
                        <a:pt x="1584" y="187"/>
                      </a:lnTo>
                      <a:lnTo>
                        <a:pt x="1579" y="187"/>
                      </a:lnTo>
                      <a:lnTo>
                        <a:pt x="1576" y="187"/>
                      </a:lnTo>
                      <a:lnTo>
                        <a:pt x="1581" y="190"/>
                      </a:lnTo>
                      <a:lnTo>
                        <a:pt x="1579" y="193"/>
                      </a:lnTo>
                      <a:lnTo>
                        <a:pt x="1576" y="195"/>
                      </a:lnTo>
                      <a:lnTo>
                        <a:pt x="1571" y="198"/>
                      </a:lnTo>
                      <a:lnTo>
                        <a:pt x="1576" y="198"/>
                      </a:lnTo>
                      <a:lnTo>
                        <a:pt x="1573" y="204"/>
                      </a:lnTo>
                      <a:lnTo>
                        <a:pt x="1573" y="207"/>
                      </a:lnTo>
                      <a:lnTo>
                        <a:pt x="1568" y="210"/>
                      </a:lnTo>
                      <a:lnTo>
                        <a:pt x="1563" y="210"/>
                      </a:lnTo>
                      <a:lnTo>
                        <a:pt x="1565" y="215"/>
                      </a:lnTo>
                      <a:lnTo>
                        <a:pt x="1563" y="221"/>
                      </a:lnTo>
                      <a:lnTo>
                        <a:pt x="1565" y="226"/>
                      </a:lnTo>
                      <a:lnTo>
                        <a:pt x="1565" y="235"/>
                      </a:lnTo>
                      <a:lnTo>
                        <a:pt x="1568" y="238"/>
                      </a:lnTo>
                      <a:lnTo>
                        <a:pt x="1568" y="235"/>
                      </a:lnTo>
                      <a:lnTo>
                        <a:pt x="1573" y="235"/>
                      </a:lnTo>
                      <a:lnTo>
                        <a:pt x="1579" y="231"/>
                      </a:lnTo>
                      <a:lnTo>
                        <a:pt x="1584" y="238"/>
                      </a:lnTo>
                      <a:lnTo>
                        <a:pt x="1587" y="243"/>
                      </a:lnTo>
                      <a:lnTo>
                        <a:pt x="1587" y="240"/>
                      </a:lnTo>
                      <a:lnTo>
                        <a:pt x="1596" y="229"/>
                      </a:lnTo>
                      <a:lnTo>
                        <a:pt x="1596" y="221"/>
                      </a:lnTo>
                      <a:lnTo>
                        <a:pt x="1598" y="221"/>
                      </a:lnTo>
                      <a:lnTo>
                        <a:pt x="1606" y="229"/>
                      </a:lnTo>
                      <a:lnTo>
                        <a:pt x="1606" y="235"/>
                      </a:lnTo>
                      <a:lnTo>
                        <a:pt x="1609" y="240"/>
                      </a:lnTo>
                      <a:lnTo>
                        <a:pt x="1606" y="243"/>
                      </a:lnTo>
                      <a:lnTo>
                        <a:pt x="1609" y="243"/>
                      </a:lnTo>
                      <a:lnTo>
                        <a:pt x="1612" y="240"/>
                      </a:lnTo>
                      <a:lnTo>
                        <a:pt x="1606" y="231"/>
                      </a:lnTo>
                      <a:lnTo>
                        <a:pt x="1609" y="231"/>
                      </a:lnTo>
                      <a:lnTo>
                        <a:pt x="1617" y="243"/>
                      </a:lnTo>
                      <a:lnTo>
                        <a:pt x="1614" y="248"/>
                      </a:lnTo>
                      <a:lnTo>
                        <a:pt x="1606" y="256"/>
                      </a:lnTo>
                      <a:lnTo>
                        <a:pt x="1614" y="254"/>
                      </a:lnTo>
                      <a:lnTo>
                        <a:pt x="1617" y="246"/>
                      </a:lnTo>
                      <a:lnTo>
                        <a:pt x="1617" y="240"/>
                      </a:lnTo>
                      <a:lnTo>
                        <a:pt x="1614" y="238"/>
                      </a:lnTo>
                      <a:lnTo>
                        <a:pt x="1612" y="226"/>
                      </a:lnTo>
                      <a:lnTo>
                        <a:pt x="1612" y="223"/>
                      </a:lnTo>
                      <a:lnTo>
                        <a:pt x="1617" y="223"/>
                      </a:lnTo>
                      <a:lnTo>
                        <a:pt x="1614" y="221"/>
                      </a:lnTo>
                      <a:lnTo>
                        <a:pt x="1617" y="221"/>
                      </a:lnTo>
                      <a:lnTo>
                        <a:pt x="1617" y="223"/>
                      </a:lnTo>
                      <a:lnTo>
                        <a:pt x="1620" y="221"/>
                      </a:lnTo>
                      <a:lnTo>
                        <a:pt x="1622" y="215"/>
                      </a:lnTo>
                      <a:lnTo>
                        <a:pt x="1622" y="226"/>
                      </a:lnTo>
                      <a:lnTo>
                        <a:pt x="1620" y="238"/>
                      </a:lnTo>
                      <a:lnTo>
                        <a:pt x="1622" y="238"/>
                      </a:lnTo>
                      <a:lnTo>
                        <a:pt x="1622" y="243"/>
                      </a:lnTo>
                      <a:lnTo>
                        <a:pt x="1625" y="240"/>
                      </a:lnTo>
                      <a:lnTo>
                        <a:pt x="1629" y="238"/>
                      </a:lnTo>
                      <a:lnTo>
                        <a:pt x="1620" y="235"/>
                      </a:lnTo>
                      <a:lnTo>
                        <a:pt x="1625" y="231"/>
                      </a:lnTo>
                      <a:lnTo>
                        <a:pt x="1631" y="238"/>
                      </a:lnTo>
                      <a:lnTo>
                        <a:pt x="1629" y="229"/>
                      </a:lnTo>
                      <a:lnTo>
                        <a:pt x="1629" y="226"/>
                      </a:lnTo>
                      <a:lnTo>
                        <a:pt x="1640" y="218"/>
                      </a:lnTo>
                      <a:lnTo>
                        <a:pt x="1642" y="215"/>
                      </a:lnTo>
                      <a:lnTo>
                        <a:pt x="1645" y="215"/>
                      </a:lnTo>
                      <a:lnTo>
                        <a:pt x="1648" y="218"/>
                      </a:lnTo>
                      <a:lnTo>
                        <a:pt x="1648" y="215"/>
                      </a:lnTo>
                      <a:lnTo>
                        <a:pt x="1648" y="212"/>
                      </a:lnTo>
                      <a:lnTo>
                        <a:pt x="1648" y="223"/>
                      </a:lnTo>
                      <a:lnTo>
                        <a:pt x="1640" y="231"/>
                      </a:lnTo>
                      <a:lnTo>
                        <a:pt x="1640" y="238"/>
                      </a:lnTo>
                      <a:lnTo>
                        <a:pt x="1640" y="240"/>
                      </a:lnTo>
                      <a:lnTo>
                        <a:pt x="1634" y="240"/>
                      </a:lnTo>
                      <a:lnTo>
                        <a:pt x="1640" y="240"/>
                      </a:lnTo>
                      <a:lnTo>
                        <a:pt x="1642" y="235"/>
                      </a:lnTo>
                      <a:lnTo>
                        <a:pt x="1648" y="229"/>
                      </a:lnTo>
                      <a:lnTo>
                        <a:pt x="1648" y="226"/>
                      </a:lnTo>
                      <a:lnTo>
                        <a:pt x="1650" y="226"/>
                      </a:lnTo>
                      <a:lnTo>
                        <a:pt x="1650" y="223"/>
                      </a:lnTo>
                      <a:lnTo>
                        <a:pt x="1650" y="226"/>
                      </a:lnTo>
                      <a:lnTo>
                        <a:pt x="1650" y="229"/>
                      </a:lnTo>
                      <a:lnTo>
                        <a:pt x="1648" y="229"/>
                      </a:lnTo>
                      <a:lnTo>
                        <a:pt x="1650" y="231"/>
                      </a:lnTo>
                      <a:lnTo>
                        <a:pt x="1653" y="221"/>
                      </a:lnTo>
                      <a:lnTo>
                        <a:pt x="1656" y="215"/>
                      </a:lnTo>
                      <a:lnTo>
                        <a:pt x="1658" y="218"/>
                      </a:lnTo>
                      <a:lnTo>
                        <a:pt x="1662" y="223"/>
                      </a:lnTo>
                      <a:lnTo>
                        <a:pt x="1662" y="226"/>
                      </a:lnTo>
                      <a:lnTo>
                        <a:pt x="1665" y="229"/>
                      </a:lnTo>
                      <a:lnTo>
                        <a:pt x="1667" y="238"/>
                      </a:lnTo>
                      <a:lnTo>
                        <a:pt x="1670" y="243"/>
                      </a:lnTo>
                      <a:lnTo>
                        <a:pt x="1670" y="251"/>
                      </a:lnTo>
                      <a:lnTo>
                        <a:pt x="1665" y="259"/>
                      </a:lnTo>
                      <a:lnTo>
                        <a:pt x="1662" y="256"/>
                      </a:lnTo>
                      <a:lnTo>
                        <a:pt x="1658" y="251"/>
                      </a:lnTo>
                      <a:lnTo>
                        <a:pt x="1656" y="254"/>
                      </a:lnTo>
                      <a:lnTo>
                        <a:pt x="1653" y="251"/>
                      </a:lnTo>
                      <a:lnTo>
                        <a:pt x="1653" y="254"/>
                      </a:lnTo>
                      <a:lnTo>
                        <a:pt x="1648" y="254"/>
                      </a:lnTo>
                      <a:lnTo>
                        <a:pt x="1648" y="248"/>
                      </a:lnTo>
                      <a:lnTo>
                        <a:pt x="1645" y="254"/>
                      </a:lnTo>
                      <a:lnTo>
                        <a:pt x="1631" y="254"/>
                      </a:lnTo>
                      <a:lnTo>
                        <a:pt x="1629" y="251"/>
                      </a:lnTo>
                      <a:lnTo>
                        <a:pt x="1625" y="251"/>
                      </a:lnTo>
                      <a:lnTo>
                        <a:pt x="1629" y="251"/>
                      </a:lnTo>
                      <a:lnTo>
                        <a:pt x="1631" y="256"/>
                      </a:lnTo>
                      <a:lnTo>
                        <a:pt x="1625" y="264"/>
                      </a:lnTo>
                      <a:lnTo>
                        <a:pt x="1622" y="264"/>
                      </a:lnTo>
                      <a:lnTo>
                        <a:pt x="1620" y="267"/>
                      </a:lnTo>
                      <a:lnTo>
                        <a:pt x="1614" y="262"/>
                      </a:lnTo>
                      <a:lnTo>
                        <a:pt x="1609" y="267"/>
                      </a:lnTo>
                      <a:lnTo>
                        <a:pt x="1614" y="262"/>
                      </a:lnTo>
                      <a:lnTo>
                        <a:pt x="1614" y="267"/>
                      </a:lnTo>
                      <a:lnTo>
                        <a:pt x="1617" y="267"/>
                      </a:lnTo>
                      <a:lnTo>
                        <a:pt x="1617" y="271"/>
                      </a:lnTo>
                      <a:lnTo>
                        <a:pt x="1614" y="271"/>
                      </a:lnTo>
                      <a:lnTo>
                        <a:pt x="1609" y="276"/>
                      </a:lnTo>
                      <a:lnTo>
                        <a:pt x="1606" y="276"/>
                      </a:lnTo>
                      <a:lnTo>
                        <a:pt x="1606" y="279"/>
                      </a:lnTo>
                      <a:lnTo>
                        <a:pt x="1612" y="279"/>
                      </a:lnTo>
                      <a:lnTo>
                        <a:pt x="1614" y="281"/>
                      </a:lnTo>
                      <a:lnTo>
                        <a:pt x="1612" y="281"/>
                      </a:lnTo>
                      <a:lnTo>
                        <a:pt x="1614" y="281"/>
                      </a:lnTo>
                      <a:lnTo>
                        <a:pt x="1617" y="284"/>
                      </a:lnTo>
                      <a:lnTo>
                        <a:pt x="1625" y="287"/>
                      </a:lnTo>
                      <a:lnTo>
                        <a:pt x="1620" y="292"/>
                      </a:lnTo>
                      <a:lnTo>
                        <a:pt x="1612" y="292"/>
                      </a:lnTo>
                      <a:lnTo>
                        <a:pt x="1612" y="295"/>
                      </a:lnTo>
                      <a:lnTo>
                        <a:pt x="1614" y="292"/>
                      </a:lnTo>
                      <a:lnTo>
                        <a:pt x="1620" y="295"/>
                      </a:lnTo>
                      <a:lnTo>
                        <a:pt x="1625" y="292"/>
                      </a:lnTo>
                      <a:lnTo>
                        <a:pt x="1625" y="287"/>
                      </a:lnTo>
                      <a:lnTo>
                        <a:pt x="1625" y="284"/>
                      </a:lnTo>
                      <a:lnTo>
                        <a:pt x="1620" y="284"/>
                      </a:lnTo>
                      <a:lnTo>
                        <a:pt x="1617" y="281"/>
                      </a:lnTo>
                      <a:lnTo>
                        <a:pt x="1617" y="279"/>
                      </a:lnTo>
                      <a:lnTo>
                        <a:pt x="1625" y="279"/>
                      </a:lnTo>
                      <a:lnTo>
                        <a:pt x="1629" y="281"/>
                      </a:lnTo>
                      <a:lnTo>
                        <a:pt x="1634" y="284"/>
                      </a:lnTo>
                      <a:lnTo>
                        <a:pt x="1642" y="284"/>
                      </a:lnTo>
                      <a:lnTo>
                        <a:pt x="1645" y="281"/>
                      </a:lnTo>
                      <a:lnTo>
                        <a:pt x="1648" y="281"/>
                      </a:lnTo>
                      <a:lnTo>
                        <a:pt x="1648" y="290"/>
                      </a:lnTo>
                      <a:lnTo>
                        <a:pt x="1645" y="290"/>
                      </a:lnTo>
                      <a:lnTo>
                        <a:pt x="1642" y="295"/>
                      </a:lnTo>
                      <a:lnTo>
                        <a:pt x="1640" y="295"/>
                      </a:lnTo>
                      <a:lnTo>
                        <a:pt x="1637" y="295"/>
                      </a:lnTo>
                      <a:lnTo>
                        <a:pt x="1634" y="295"/>
                      </a:lnTo>
                      <a:lnTo>
                        <a:pt x="1637" y="295"/>
                      </a:lnTo>
                      <a:lnTo>
                        <a:pt x="1640" y="298"/>
                      </a:lnTo>
                      <a:lnTo>
                        <a:pt x="1629" y="307"/>
                      </a:lnTo>
                      <a:lnTo>
                        <a:pt x="1625" y="309"/>
                      </a:lnTo>
                      <a:lnTo>
                        <a:pt x="1614" y="312"/>
                      </a:lnTo>
                      <a:lnTo>
                        <a:pt x="1612" y="312"/>
                      </a:lnTo>
                      <a:lnTo>
                        <a:pt x="1609" y="317"/>
                      </a:lnTo>
                      <a:lnTo>
                        <a:pt x="1606" y="317"/>
                      </a:lnTo>
                      <a:lnTo>
                        <a:pt x="1604" y="317"/>
                      </a:lnTo>
                      <a:lnTo>
                        <a:pt x="1601" y="317"/>
                      </a:lnTo>
                      <a:lnTo>
                        <a:pt x="1604" y="320"/>
                      </a:lnTo>
                      <a:lnTo>
                        <a:pt x="1606" y="317"/>
                      </a:lnTo>
                      <a:lnTo>
                        <a:pt x="1606" y="320"/>
                      </a:lnTo>
                      <a:lnTo>
                        <a:pt x="1601" y="320"/>
                      </a:lnTo>
                      <a:lnTo>
                        <a:pt x="1598" y="325"/>
                      </a:lnTo>
                      <a:lnTo>
                        <a:pt x="1593" y="325"/>
                      </a:lnTo>
                      <a:lnTo>
                        <a:pt x="1587" y="328"/>
                      </a:lnTo>
                      <a:lnTo>
                        <a:pt x="1598" y="325"/>
                      </a:lnTo>
                      <a:lnTo>
                        <a:pt x="1601" y="323"/>
                      </a:lnTo>
                      <a:lnTo>
                        <a:pt x="1606" y="323"/>
                      </a:lnTo>
                      <a:lnTo>
                        <a:pt x="1612" y="315"/>
                      </a:lnTo>
                      <a:lnTo>
                        <a:pt x="1620" y="315"/>
                      </a:lnTo>
                      <a:lnTo>
                        <a:pt x="1640" y="309"/>
                      </a:lnTo>
                      <a:lnTo>
                        <a:pt x="1640" y="312"/>
                      </a:lnTo>
                      <a:lnTo>
                        <a:pt x="1637" y="317"/>
                      </a:lnTo>
                      <a:lnTo>
                        <a:pt x="1631" y="320"/>
                      </a:lnTo>
                      <a:lnTo>
                        <a:pt x="1625" y="320"/>
                      </a:lnTo>
                      <a:lnTo>
                        <a:pt x="1622" y="323"/>
                      </a:lnTo>
                      <a:lnTo>
                        <a:pt x="1629" y="320"/>
                      </a:lnTo>
                      <a:lnTo>
                        <a:pt x="1631" y="320"/>
                      </a:lnTo>
                      <a:lnTo>
                        <a:pt x="1642" y="312"/>
                      </a:lnTo>
                      <a:lnTo>
                        <a:pt x="1642" y="317"/>
                      </a:lnTo>
                      <a:lnTo>
                        <a:pt x="1648" y="317"/>
                      </a:lnTo>
                      <a:lnTo>
                        <a:pt x="1642" y="317"/>
                      </a:lnTo>
                      <a:lnTo>
                        <a:pt x="1645" y="312"/>
                      </a:lnTo>
                      <a:lnTo>
                        <a:pt x="1648" y="303"/>
                      </a:lnTo>
                      <a:lnTo>
                        <a:pt x="1653" y="303"/>
                      </a:lnTo>
                      <a:lnTo>
                        <a:pt x="1662" y="300"/>
                      </a:lnTo>
                      <a:lnTo>
                        <a:pt x="1665" y="292"/>
                      </a:lnTo>
                      <a:lnTo>
                        <a:pt x="1667" y="295"/>
                      </a:lnTo>
                      <a:lnTo>
                        <a:pt x="1667" y="300"/>
                      </a:lnTo>
                      <a:lnTo>
                        <a:pt x="1665" y="303"/>
                      </a:lnTo>
                      <a:lnTo>
                        <a:pt x="1662" y="315"/>
                      </a:lnTo>
                      <a:lnTo>
                        <a:pt x="1658" y="315"/>
                      </a:lnTo>
                      <a:lnTo>
                        <a:pt x="1653" y="315"/>
                      </a:lnTo>
                      <a:lnTo>
                        <a:pt x="1653" y="317"/>
                      </a:lnTo>
                      <a:lnTo>
                        <a:pt x="1650" y="317"/>
                      </a:lnTo>
                      <a:lnTo>
                        <a:pt x="1650" y="325"/>
                      </a:lnTo>
                      <a:lnTo>
                        <a:pt x="1656" y="315"/>
                      </a:lnTo>
                      <a:lnTo>
                        <a:pt x="1658" y="317"/>
                      </a:lnTo>
                      <a:lnTo>
                        <a:pt x="1662" y="315"/>
                      </a:lnTo>
                      <a:lnTo>
                        <a:pt x="1665" y="307"/>
                      </a:lnTo>
                      <a:lnTo>
                        <a:pt x="1670" y="300"/>
                      </a:lnTo>
                      <a:lnTo>
                        <a:pt x="1670" y="303"/>
                      </a:lnTo>
                      <a:lnTo>
                        <a:pt x="1667" y="309"/>
                      </a:lnTo>
                      <a:lnTo>
                        <a:pt x="1670" y="312"/>
                      </a:lnTo>
                      <a:lnTo>
                        <a:pt x="1667" y="309"/>
                      </a:lnTo>
                      <a:lnTo>
                        <a:pt x="1670" y="300"/>
                      </a:lnTo>
                      <a:lnTo>
                        <a:pt x="1667" y="295"/>
                      </a:lnTo>
                      <a:lnTo>
                        <a:pt x="1667" y="292"/>
                      </a:lnTo>
                      <a:lnTo>
                        <a:pt x="1670" y="292"/>
                      </a:lnTo>
                      <a:lnTo>
                        <a:pt x="1670" y="290"/>
                      </a:lnTo>
                      <a:lnTo>
                        <a:pt x="1673" y="290"/>
                      </a:lnTo>
                      <a:lnTo>
                        <a:pt x="1667" y="287"/>
                      </a:lnTo>
                      <a:lnTo>
                        <a:pt x="1667" y="281"/>
                      </a:lnTo>
                      <a:lnTo>
                        <a:pt x="1673" y="284"/>
                      </a:lnTo>
                      <a:lnTo>
                        <a:pt x="1681" y="284"/>
                      </a:lnTo>
                      <a:lnTo>
                        <a:pt x="1691" y="292"/>
                      </a:lnTo>
                      <a:lnTo>
                        <a:pt x="1689" y="295"/>
                      </a:lnTo>
                      <a:lnTo>
                        <a:pt x="1686" y="292"/>
                      </a:lnTo>
                      <a:lnTo>
                        <a:pt x="1675" y="309"/>
                      </a:lnTo>
                      <a:lnTo>
                        <a:pt x="1673" y="315"/>
                      </a:lnTo>
                      <a:lnTo>
                        <a:pt x="1678" y="325"/>
                      </a:lnTo>
                      <a:lnTo>
                        <a:pt x="1675" y="328"/>
                      </a:lnTo>
                      <a:lnTo>
                        <a:pt x="1681" y="325"/>
                      </a:lnTo>
                      <a:lnTo>
                        <a:pt x="1683" y="323"/>
                      </a:lnTo>
                      <a:lnTo>
                        <a:pt x="1681" y="323"/>
                      </a:lnTo>
                      <a:lnTo>
                        <a:pt x="1681" y="315"/>
                      </a:lnTo>
                      <a:lnTo>
                        <a:pt x="1681" y="312"/>
                      </a:lnTo>
                      <a:lnTo>
                        <a:pt x="1691" y="303"/>
                      </a:lnTo>
                      <a:lnTo>
                        <a:pt x="1698" y="307"/>
                      </a:lnTo>
                      <a:lnTo>
                        <a:pt x="1698" y="309"/>
                      </a:lnTo>
                      <a:lnTo>
                        <a:pt x="1686" y="315"/>
                      </a:lnTo>
                      <a:lnTo>
                        <a:pt x="1689" y="320"/>
                      </a:lnTo>
                      <a:lnTo>
                        <a:pt x="1686" y="323"/>
                      </a:lnTo>
                      <a:lnTo>
                        <a:pt x="1683" y="323"/>
                      </a:lnTo>
                      <a:lnTo>
                        <a:pt x="1689" y="331"/>
                      </a:lnTo>
                      <a:lnTo>
                        <a:pt x="1689" y="333"/>
                      </a:lnTo>
                      <a:lnTo>
                        <a:pt x="1689" y="336"/>
                      </a:lnTo>
                      <a:lnTo>
                        <a:pt x="1694" y="342"/>
                      </a:lnTo>
                      <a:lnTo>
                        <a:pt x="1700" y="340"/>
                      </a:lnTo>
                      <a:lnTo>
                        <a:pt x="1706" y="333"/>
                      </a:lnTo>
                      <a:lnTo>
                        <a:pt x="1709" y="328"/>
                      </a:lnTo>
                      <a:lnTo>
                        <a:pt x="1711" y="325"/>
                      </a:lnTo>
                      <a:lnTo>
                        <a:pt x="1717" y="331"/>
                      </a:lnTo>
                      <a:lnTo>
                        <a:pt x="1717" y="336"/>
                      </a:lnTo>
                      <a:lnTo>
                        <a:pt x="1709" y="345"/>
                      </a:lnTo>
                      <a:lnTo>
                        <a:pt x="1700" y="350"/>
                      </a:lnTo>
                      <a:lnTo>
                        <a:pt x="1698" y="350"/>
                      </a:lnTo>
                      <a:lnTo>
                        <a:pt x="1691" y="356"/>
                      </a:lnTo>
                      <a:lnTo>
                        <a:pt x="1689" y="356"/>
                      </a:lnTo>
                      <a:lnTo>
                        <a:pt x="1686" y="358"/>
                      </a:lnTo>
                      <a:lnTo>
                        <a:pt x="1689" y="356"/>
                      </a:lnTo>
                      <a:lnTo>
                        <a:pt x="1691" y="358"/>
                      </a:lnTo>
                      <a:lnTo>
                        <a:pt x="1694" y="356"/>
                      </a:lnTo>
                      <a:lnTo>
                        <a:pt x="1698" y="356"/>
                      </a:lnTo>
                      <a:lnTo>
                        <a:pt x="1700" y="356"/>
                      </a:lnTo>
                      <a:lnTo>
                        <a:pt x="1700" y="358"/>
                      </a:lnTo>
                      <a:lnTo>
                        <a:pt x="1700" y="361"/>
                      </a:lnTo>
                      <a:lnTo>
                        <a:pt x="1700" y="364"/>
                      </a:lnTo>
                      <a:lnTo>
                        <a:pt x="1703" y="367"/>
                      </a:lnTo>
                      <a:lnTo>
                        <a:pt x="1703" y="364"/>
                      </a:lnTo>
                      <a:lnTo>
                        <a:pt x="1700" y="358"/>
                      </a:lnTo>
                      <a:lnTo>
                        <a:pt x="1711" y="353"/>
                      </a:lnTo>
                      <a:lnTo>
                        <a:pt x="1711" y="358"/>
                      </a:lnTo>
                      <a:lnTo>
                        <a:pt x="1714" y="356"/>
                      </a:lnTo>
                      <a:lnTo>
                        <a:pt x="1714" y="358"/>
                      </a:lnTo>
                      <a:lnTo>
                        <a:pt x="1717" y="361"/>
                      </a:lnTo>
                      <a:lnTo>
                        <a:pt x="1717" y="358"/>
                      </a:lnTo>
                      <a:lnTo>
                        <a:pt x="1717" y="350"/>
                      </a:lnTo>
                      <a:lnTo>
                        <a:pt x="1719" y="350"/>
                      </a:lnTo>
                      <a:lnTo>
                        <a:pt x="1722" y="353"/>
                      </a:lnTo>
                      <a:lnTo>
                        <a:pt x="1727" y="369"/>
                      </a:lnTo>
                      <a:lnTo>
                        <a:pt x="1731" y="372"/>
                      </a:lnTo>
                      <a:lnTo>
                        <a:pt x="1734" y="376"/>
                      </a:lnTo>
                      <a:lnTo>
                        <a:pt x="1734" y="386"/>
                      </a:lnTo>
                      <a:lnTo>
                        <a:pt x="1727" y="384"/>
                      </a:lnTo>
                      <a:lnTo>
                        <a:pt x="1727" y="378"/>
                      </a:lnTo>
                      <a:lnTo>
                        <a:pt x="1725" y="381"/>
                      </a:lnTo>
                      <a:lnTo>
                        <a:pt x="1722" y="378"/>
                      </a:lnTo>
                      <a:lnTo>
                        <a:pt x="1719" y="381"/>
                      </a:lnTo>
                      <a:lnTo>
                        <a:pt x="1719" y="384"/>
                      </a:lnTo>
                      <a:lnTo>
                        <a:pt x="1722" y="381"/>
                      </a:lnTo>
                      <a:lnTo>
                        <a:pt x="1725" y="384"/>
                      </a:lnTo>
                      <a:lnTo>
                        <a:pt x="1734" y="389"/>
                      </a:lnTo>
                      <a:lnTo>
                        <a:pt x="1731" y="394"/>
                      </a:lnTo>
                      <a:lnTo>
                        <a:pt x="1734" y="392"/>
                      </a:lnTo>
                      <a:lnTo>
                        <a:pt x="1736" y="392"/>
                      </a:lnTo>
                      <a:lnTo>
                        <a:pt x="1736" y="400"/>
                      </a:lnTo>
                      <a:lnTo>
                        <a:pt x="1731" y="402"/>
                      </a:lnTo>
                      <a:lnTo>
                        <a:pt x="1736" y="409"/>
                      </a:lnTo>
                      <a:lnTo>
                        <a:pt x="1739" y="409"/>
                      </a:lnTo>
                      <a:lnTo>
                        <a:pt x="1742" y="405"/>
                      </a:lnTo>
                      <a:lnTo>
                        <a:pt x="1742" y="409"/>
                      </a:lnTo>
                      <a:lnTo>
                        <a:pt x="1739" y="417"/>
                      </a:lnTo>
                      <a:lnTo>
                        <a:pt x="1731" y="419"/>
                      </a:lnTo>
                      <a:lnTo>
                        <a:pt x="1727" y="422"/>
                      </a:lnTo>
                      <a:lnTo>
                        <a:pt x="1727" y="441"/>
                      </a:lnTo>
                      <a:lnTo>
                        <a:pt x="1727" y="458"/>
                      </a:lnTo>
                      <a:lnTo>
                        <a:pt x="1734" y="455"/>
                      </a:lnTo>
                      <a:lnTo>
                        <a:pt x="1742" y="458"/>
                      </a:lnTo>
                      <a:lnTo>
                        <a:pt x="1744" y="461"/>
                      </a:lnTo>
                      <a:lnTo>
                        <a:pt x="1755" y="469"/>
                      </a:lnTo>
                      <a:lnTo>
                        <a:pt x="1758" y="474"/>
                      </a:lnTo>
                      <a:lnTo>
                        <a:pt x="1755" y="474"/>
                      </a:lnTo>
                      <a:lnTo>
                        <a:pt x="1752" y="480"/>
                      </a:lnTo>
                      <a:lnTo>
                        <a:pt x="1755" y="477"/>
                      </a:lnTo>
                      <a:lnTo>
                        <a:pt x="1758" y="477"/>
                      </a:lnTo>
                      <a:lnTo>
                        <a:pt x="1761" y="477"/>
                      </a:lnTo>
                      <a:lnTo>
                        <a:pt x="1767" y="486"/>
                      </a:lnTo>
                      <a:lnTo>
                        <a:pt x="1772" y="489"/>
                      </a:lnTo>
                      <a:lnTo>
                        <a:pt x="1767" y="491"/>
                      </a:lnTo>
                      <a:lnTo>
                        <a:pt x="1767" y="494"/>
                      </a:lnTo>
                      <a:lnTo>
                        <a:pt x="1764" y="494"/>
                      </a:lnTo>
                      <a:lnTo>
                        <a:pt x="1764" y="491"/>
                      </a:lnTo>
                      <a:lnTo>
                        <a:pt x="1764" y="494"/>
                      </a:lnTo>
                      <a:lnTo>
                        <a:pt x="1764" y="496"/>
                      </a:lnTo>
                      <a:lnTo>
                        <a:pt x="1770" y="494"/>
                      </a:lnTo>
                      <a:lnTo>
                        <a:pt x="1770" y="491"/>
                      </a:lnTo>
                      <a:lnTo>
                        <a:pt x="1772" y="494"/>
                      </a:lnTo>
                      <a:lnTo>
                        <a:pt x="1772" y="502"/>
                      </a:lnTo>
                      <a:lnTo>
                        <a:pt x="1778" y="516"/>
                      </a:lnTo>
                      <a:lnTo>
                        <a:pt x="1775" y="514"/>
                      </a:lnTo>
                      <a:lnTo>
                        <a:pt x="1772" y="519"/>
                      </a:lnTo>
                      <a:lnTo>
                        <a:pt x="1775" y="516"/>
                      </a:lnTo>
                      <a:lnTo>
                        <a:pt x="1780" y="516"/>
                      </a:lnTo>
                      <a:lnTo>
                        <a:pt x="1788" y="535"/>
                      </a:lnTo>
                      <a:lnTo>
                        <a:pt x="1786" y="538"/>
                      </a:lnTo>
                      <a:lnTo>
                        <a:pt x="1788" y="540"/>
                      </a:lnTo>
                      <a:lnTo>
                        <a:pt x="1786" y="543"/>
                      </a:lnTo>
                      <a:lnTo>
                        <a:pt x="1783" y="546"/>
                      </a:lnTo>
                      <a:lnTo>
                        <a:pt x="1780" y="549"/>
                      </a:lnTo>
                      <a:lnTo>
                        <a:pt x="1778" y="546"/>
                      </a:lnTo>
                      <a:lnTo>
                        <a:pt x="1770" y="549"/>
                      </a:lnTo>
                      <a:lnTo>
                        <a:pt x="1778" y="549"/>
                      </a:lnTo>
                      <a:lnTo>
                        <a:pt x="1783" y="555"/>
                      </a:lnTo>
                      <a:lnTo>
                        <a:pt x="1783" y="557"/>
                      </a:lnTo>
                      <a:lnTo>
                        <a:pt x="1780" y="563"/>
                      </a:lnTo>
                      <a:lnTo>
                        <a:pt x="1775" y="571"/>
                      </a:lnTo>
                      <a:lnTo>
                        <a:pt x="1770" y="574"/>
                      </a:lnTo>
                      <a:lnTo>
                        <a:pt x="1770" y="571"/>
                      </a:lnTo>
                      <a:lnTo>
                        <a:pt x="1767" y="571"/>
                      </a:lnTo>
                      <a:lnTo>
                        <a:pt x="1764" y="571"/>
                      </a:lnTo>
                      <a:lnTo>
                        <a:pt x="1780" y="591"/>
                      </a:lnTo>
                      <a:lnTo>
                        <a:pt x="1783" y="591"/>
                      </a:lnTo>
                      <a:lnTo>
                        <a:pt x="1800" y="609"/>
                      </a:lnTo>
                      <a:lnTo>
                        <a:pt x="1805" y="607"/>
                      </a:lnTo>
                      <a:lnTo>
                        <a:pt x="1808" y="604"/>
                      </a:lnTo>
                      <a:lnTo>
                        <a:pt x="1813" y="601"/>
                      </a:lnTo>
                      <a:lnTo>
                        <a:pt x="1824" y="601"/>
                      </a:lnTo>
                      <a:lnTo>
                        <a:pt x="1827" y="601"/>
                      </a:lnTo>
                      <a:lnTo>
                        <a:pt x="1841" y="599"/>
                      </a:lnTo>
                      <a:lnTo>
                        <a:pt x="1844" y="596"/>
                      </a:lnTo>
                      <a:lnTo>
                        <a:pt x="1855" y="593"/>
                      </a:lnTo>
                      <a:lnTo>
                        <a:pt x="1860" y="591"/>
                      </a:lnTo>
                      <a:lnTo>
                        <a:pt x="1865" y="588"/>
                      </a:lnTo>
                      <a:lnTo>
                        <a:pt x="1872" y="585"/>
                      </a:lnTo>
                      <a:lnTo>
                        <a:pt x="1877" y="582"/>
                      </a:lnTo>
                      <a:lnTo>
                        <a:pt x="1874" y="579"/>
                      </a:lnTo>
                      <a:lnTo>
                        <a:pt x="1880" y="579"/>
                      </a:lnTo>
                      <a:lnTo>
                        <a:pt x="1880" y="576"/>
                      </a:lnTo>
                      <a:lnTo>
                        <a:pt x="1888" y="574"/>
                      </a:lnTo>
                      <a:lnTo>
                        <a:pt x="1888" y="576"/>
                      </a:lnTo>
                      <a:lnTo>
                        <a:pt x="1888" y="574"/>
                      </a:lnTo>
                      <a:lnTo>
                        <a:pt x="1890" y="571"/>
                      </a:lnTo>
                      <a:lnTo>
                        <a:pt x="1893" y="574"/>
                      </a:lnTo>
                      <a:lnTo>
                        <a:pt x="1893" y="571"/>
                      </a:lnTo>
                      <a:lnTo>
                        <a:pt x="1896" y="574"/>
                      </a:lnTo>
                      <a:lnTo>
                        <a:pt x="1893" y="574"/>
                      </a:lnTo>
                      <a:lnTo>
                        <a:pt x="1896" y="576"/>
                      </a:lnTo>
                      <a:lnTo>
                        <a:pt x="1898" y="574"/>
                      </a:lnTo>
                      <a:lnTo>
                        <a:pt x="1898" y="576"/>
                      </a:lnTo>
                      <a:lnTo>
                        <a:pt x="1902" y="574"/>
                      </a:lnTo>
                      <a:lnTo>
                        <a:pt x="1898" y="571"/>
                      </a:lnTo>
                      <a:lnTo>
                        <a:pt x="1893" y="571"/>
                      </a:lnTo>
                      <a:lnTo>
                        <a:pt x="1893" y="568"/>
                      </a:lnTo>
                      <a:lnTo>
                        <a:pt x="1905" y="568"/>
                      </a:lnTo>
                      <a:lnTo>
                        <a:pt x="1921" y="571"/>
                      </a:lnTo>
                      <a:lnTo>
                        <a:pt x="1921" y="568"/>
                      </a:lnTo>
                      <a:lnTo>
                        <a:pt x="1924" y="566"/>
                      </a:lnTo>
                      <a:lnTo>
                        <a:pt x="1924" y="568"/>
                      </a:lnTo>
                      <a:lnTo>
                        <a:pt x="1921" y="571"/>
                      </a:lnTo>
                      <a:lnTo>
                        <a:pt x="1924" y="585"/>
                      </a:lnTo>
                      <a:lnTo>
                        <a:pt x="1924" y="588"/>
                      </a:lnTo>
                      <a:lnTo>
                        <a:pt x="1921" y="588"/>
                      </a:lnTo>
                      <a:lnTo>
                        <a:pt x="1918" y="585"/>
                      </a:lnTo>
                      <a:lnTo>
                        <a:pt x="1918" y="588"/>
                      </a:lnTo>
                      <a:lnTo>
                        <a:pt x="1916" y="588"/>
                      </a:lnTo>
                      <a:lnTo>
                        <a:pt x="1913" y="582"/>
                      </a:lnTo>
                      <a:lnTo>
                        <a:pt x="1910" y="579"/>
                      </a:lnTo>
                      <a:lnTo>
                        <a:pt x="1913" y="582"/>
                      </a:lnTo>
                      <a:lnTo>
                        <a:pt x="1913" y="585"/>
                      </a:lnTo>
                      <a:lnTo>
                        <a:pt x="1908" y="585"/>
                      </a:lnTo>
                      <a:lnTo>
                        <a:pt x="1908" y="582"/>
                      </a:lnTo>
                      <a:lnTo>
                        <a:pt x="1905" y="585"/>
                      </a:lnTo>
                      <a:lnTo>
                        <a:pt x="1902" y="582"/>
                      </a:lnTo>
                      <a:lnTo>
                        <a:pt x="1902" y="585"/>
                      </a:lnTo>
                      <a:lnTo>
                        <a:pt x="1908" y="585"/>
                      </a:lnTo>
                      <a:lnTo>
                        <a:pt x="1905" y="588"/>
                      </a:lnTo>
                      <a:lnTo>
                        <a:pt x="1893" y="591"/>
                      </a:lnTo>
                      <a:lnTo>
                        <a:pt x="1890" y="593"/>
                      </a:lnTo>
                      <a:lnTo>
                        <a:pt x="1885" y="596"/>
                      </a:lnTo>
                      <a:lnTo>
                        <a:pt x="1888" y="596"/>
                      </a:lnTo>
                      <a:lnTo>
                        <a:pt x="1893" y="593"/>
                      </a:lnTo>
                      <a:lnTo>
                        <a:pt x="1893" y="591"/>
                      </a:lnTo>
                      <a:lnTo>
                        <a:pt x="1898" y="593"/>
                      </a:lnTo>
                      <a:lnTo>
                        <a:pt x="1908" y="593"/>
                      </a:lnTo>
                      <a:lnTo>
                        <a:pt x="1902" y="593"/>
                      </a:lnTo>
                      <a:lnTo>
                        <a:pt x="1905" y="596"/>
                      </a:lnTo>
                      <a:lnTo>
                        <a:pt x="1908" y="601"/>
                      </a:lnTo>
                      <a:lnTo>
                        <a:pt x="1910" y="593"/>
                      </a:lnTo>
                      <a:lnTo>
                        <a:pt x="1918" y="593"/>
                      </a:lnTo>
                      <a:lnTo>
                        <a:pt x="1941" y="596"/>
                      </a:lnTo>
                      <a:lnTo>
                        <a:pt x="1949" y="601"/>
                      </a:lnTo>
                      <a:lnTo>
                        <a:pt x="1941" y="629"/>
                      </a:lnTo>
                      <a:lnTo>
                        <a:pt x="1932" y="643"/>
                      </a:lnTo>
                      <a:lnTo>
                        <a:pt x="1941" y="640"/>
                      </a:lnTo>
                      <a:lnTo>
                        <a:pt x="1949" y="626"/>
                      </a:lnTo>
                      <a:lnTo>
                        <a:pt x="1962" y="612"/>
                      </a:lnTo>
                      <a:lnTo>
                        <a:pt x="1974" y="593"/>
                      </a:lnTo>
                      <a:lnTo>
                        <a:pt x="1977" y="582"/>
                      </a:lnTo>
                      <a:lnTo>
                        <a:pt x="1987" y="568"/>
                      </a:lnTo>
                      <a:lnTo>
                        <a:pt x="1990" y="563"/>
                      </a:lnTo>
                      <a:lnTo>
                        <a:pt x="2003" y="552"/>
                      </a:lnTo>
                      <a:lnTo>
                        <a:pt x="2018" y="543"/>
                      </a:lnTo>
                      <a:lnTo>
                        <a:pt x="2020" y="543"/>
                      </a:lnTo>
                      <a:lnTo>
                        <a:pt x="2020" y="546"/>
                      </a:lnTo>
                      <a:lnTo>
                        <a:pt x="2023" y="546"/>
                      </a:lnTo>
                      <a:lnTo>
                        <a:pt x="2026" y="549"/>
                      </a:lnTo>
                      <a:lnTo>
                        <a:pt x="2031" y="552"/>
                      </a:lnTo>
                      <a:lnTo>
                        <a:pt x="2034" y="555"/>
                      </a:lnTo>
                      <a:lnTo>
                        <a:pt x="2028" y="549"/>
                      </a:lnTo>
                      <a:lnTo>
                        <a:pt x="2043" y="519"/>
                      </a:lnTo>
                      <a:lnTo>
                        <a:pt x="2048" y="516"/>
                      </a:lnTo>
                      <a:lnTo>
                        <a:pt x="2067" y="507"/>
                      </a:lnTo>
                      <a:lnTo>
                        <a:pt x="2081" y="494"/>
                      </a:lnTo>
                      <a:lnTo>
                        <a:pt x="2089" y="491"/>
                      </a:lnTo>
                      <a:lnTo>
                        <a:pt x="2100" y="496"/>
                      </a:lnTo>
                      <a:lnTo>
                        <a:pt x="2109" y="502"/>
                      </a:lnTo>
                      <a:lnTo>
                        <a:pt x="2128" y="543"/>
                      </a:lnTo>
                      <a:lnTo>
                        <a:pt x="2133" y="552"/>
                      </a:lnTo>
                      <a:lnTo>
                        <a:pt x="2139" y="555"/>
                      </a:lnTo>
                      <a:lnTo>
                        <a:pt x="2142" y="549"/>
                      </a:lnTo>
                      <a:lnTo>
                        <a:pt x="2156" y="540"/>
                      </a:lnTo>
                      <a:lnTo>
                        <a:pt x="2161" y="538"/>
                      </a:lnTo>
                      <a:lnTo>
                        <a:pt x="2174" y="538"/>
                      </a:lnTo>
                      <a:lnTo>
                        <a:pt x="2183" y="535"/>
                      </a:lnTo>
                      <a:lnTo>
                        <a:pt x="2186" y="535"/>
                      </a:lnTo>
                      <a:lnTo>
                        <a:pt x="2186" y="538"/>
                      </a:lnTo>
                      <a:lnTo>
                        <a:pt x="2189" y="538"/>
                      </a:lnTo>
                      <a:lnTo>
                        <a:pt x="2200" y="540"/>
                      </a:lnTo>
                      <a:lnTo>
                        <a:pt x="2202" y="540"/>
                      </a:lnTo>
                      <a:lnTo>
                        <a:pt x="2217" y="540"/>
                      </a:lnTo>
                      <a:lnTo>
                        <a:pt x="2263" y="555"/>
                      </a:lnTo>
                      <a:lnTo>
                        <a:pt x="2271" y="560"/>
                      </a:lnTo>
                      <a:lnTo>
                        <a:pt x="2296" y="571"/>
                      </a:lnTo>
                      <a:lnTo>
                        <a:pt x="2332" y="591"/>
                      </a:lnTo>
                      <a:lnTo>
                        <a:pt x="2343" y="596"/>
                      </a:lnTo>
                      <a:lnTo>
                        <a:pt x="2360" y="601"/>
                      </a:lnTo>
                      <a:lnTo>
                        <a:pt x="2401" y="624"/>
                      </a:lnTo>
                      <a:lnTo>
                        <a:pt x="2424" y="635"/>
                      </a:lnTo>
                      <a:lnTo>
                        <a:pt x="2437" y="635"/>
                      </a:lnTo>
                      <a:lnTo>
                        <a:pt x="2432" y="637"/>
                      </a:lnTo>
                      <a:lnTo>
                        <a:pt x="2434" y="637"/>
                      </a:lnTo>
                      <a:lnTo>
                        <a:pt x="2440" y="637"/>
                      </a:lnTo>
                      <a:lnTo>
                        <a:pt x="2442" y="635"/>
                      </a:lnTo>
                      <a:lnTo>
                        <a:pt x="2440" y="629"/>
                      </a:lnTo>
                      <a:lnTo>
                        <a:pt x="2437" y="632"/>
                      </a:lnTo>
                      <a:lnTo>
                        <a:pt x="2437" y="629"/>
                      </a:lnTo>
                      <a:lnTo>
                        <a:pt x="2440" y="626"/>
                      </a:lnTo>
                      <a:lnTo>
                        <a:pt x="2445" y="637"/>
                      </a:lnTo>
                      <a:lnTo>
                        <a:pt x="2445" y="640"/>
                      </a:lnTo>
                      <a:lnTo>
                        <a:pt x="2445" y="643"/>
                      </a:lnTo>
                      <a:lnTo>
                        <a:pt x="2450" y="645"/>
                      </a:lnTo>
                      <a:lnTo>
                        <a:pt x="2462" y="645"/>
                      </a:lnTo>
                      <a:lnTo>
                        <a:pt x="2465" y="657"/>
                      </a:lnTo>
                      <a:lnTo>
                        <a:pt x="2462" y="660"/>
                      </a:lnTo>
                      <a:lnTo>
                        <a:pt x="2459" y="668"/>
                      </a:lnTo>
                      <a:lnTo>
                        <a:pt x="2465" y="670"/>
                      </a:lnTo>
                      <a:lnTo>
                        <a:pt x="2462" y="668"/>
                      </a:lnTo>
                      <a:lnTo>
                        <a:pt x="2468" y="660"/>
                      </a:lnTo>
                      <a:lnTo>
                        <a:pt x="2465" y="645"/>
                      </a:lnTo>
                      <a:lnTo>
                        <a:pt x="2459" y="640"/>
                      </a:lnTo>
                      <a:lnTo>
                        <a:pt x="2454" y="643"/>
                      </a:lnTo>
                      <a:lnTo>
                        <a:pt x="2450" y="640"/>
                      </a:lnTo>
                      <a:lnTo>
                        <a:pt x="2450" y="637"/>
                      </a:lnTo>
                      <a:lnTo>
                        <a:pt x="2457" y="637"/>
                      </a:lnTo>
                      <a:lnTo>
                        <a:pt x="2457" y="635"/>
                      </a:lnTo>
                      <a:lnTo>
                        <a:pt x="2454" y="635"/>
                      </a:lnTo>
                      <a:lnTo>
                        <a:pt x="2450" y="632"/>
                      </a:lnTo>
                      <a:lnTo>
                        <a:pt x="2445" y="635"/>
                      </a:lnTo>
                      <a:lnTo>
                        <a:pt x="2442" y="632"/>
                      </a:lnTo>
                      <a:lnTo>
                        <a:pt x="2445" y="629"/>
                      </a:lnTo>
                      <a:lnTo>
                        <a:pt x="2448" y="629"/>
                      </a:lnTo>
                      <a:lnTo>
                        <a:pt x="2457" y="632"/>
                      </a:lnTo>
                      <a:lnTo>
                        <a:pt x="2484" y="662"/>
                      </a:lnTo>
                      <a:lnTo>
                        <a:pt x="2503" y="676"/>
                      </a:lnTo>
                      <a:lnTo>
                        <a:pt x="2514" y="684"/>
                      </a:lnTo>
                      <a:lnTo>
                        <a:pt x="2523" y="684"/>
                      </a:lnTo>
                      <a:lnTo>
                        <a:pt x="2523" y="686"/>
                      </a:lnTo>
                      <a:lnTo>
                        <a:pt x="2539" y="684"/>
                      </a:lnTo>
                      <a:lnTo>
                        <a:pt x="2547" y="695"/>
                      </a:lnTo>
                      <a:lnTo>
                        <a:pt x="2550" y="698"/>
                      </a:lnTo>
                      <a:lnTo>
                        <a:pt x="2547" y="690"/>
                      </a:lnTo>
                      <a:lnTo>
                        <a:pt x="2553" y="690"/>
                      </a:lnTo>
                      <a:lnTo>
                        <a:pt x="2570" y="695"/>
                      </a:lnTo>
                      <a:lnTo>
                        <a:pt x="2595" y="698"/>
                      </a:lnTo>
                      <a:lnTo>
                        <a:pt x="2611" y="690"/>
                      </a:lnTo>
                      <a:lnTo>
                        <a:pt x="2614" y="686"/>
                      </a:lnTo>
                      <a:lnTo>
                        <a:pt x="2616" y="686"/>
                      </a:lnTo>
                      <a:lnTo>
                        <a:pt x="2623" y="690"/>
                      </a:lnTo>
                      <a:lnTo>
                        <a:pt x="2633" y="690"/>
                      </a:lnTo>
                      <a:lnTo>
                        <a:pt x="2639" y="690"/>
                      </a:lnTo>
                      <a:lnTo>
                        <a:pt x="2649" y="678"/>
                      </a:lnTo>
                      <a:lnTo>
                        <a:pt x="2652" y="678"/>
                      </a:lnTo>
                      <a:lnTo>
                        <a:pt x="2655" y="678"/>
                      </a:lnTo>
                      <a:lnTo>
                        <a:pt x="2655" y="686"/>
                      </a:lnTo>
                      <a:lnTo>
                        <a:pt x="2658" y="693"/>
                      </a:lnTo>
                      <a:lnTo>
                        <a:pt x="2658" y="690"/>
                      </a:lnTo>
                      <a:lnTo>
                        <a:pt x="2655" y="690"/>
                      </a:lnTo>
                      <a:lnTo>
                        <a:pt x="2658" y="686"/>
                      </a:lnTo>
                      <a:lnTo>
                        <a:pt x="2680" y="690"/>
                      </a:lnTo>
                      <a:lnTo>
                        <a:pt x="2700" y="690"/>
                      </a:lnTo>
                      <a:lnTo>
                        <a:pt x="2710" y="686"/>
                      </a:lnTo>
                      <a:lnTo>
                        <a:pt x="2718" y="686"/>
                      </a:lnTo>
                      <a:lnTo>
                        <a:pt x="2724" y="686"/>
                      </a:lnTo>
                      <a:lnTo>
                        <a:pt x="2724" y="690"/>
                      </a:lnTo>
                      <a:lnTo>
                        <a:pt x="2721" y="690"/>
                      </a:lnTo>
                      <a:lnTo>
                        <a:pt x="2721" y="693"/>
                      </a:lnTo>
                      <a:lnTo>
                        <a:pt x="2733" y="712"/>
                      </a:lnTo>
                      <a:lnTo>
                        <a:pt x="2736" y="717"/>
                      </a:lnTo>
                      <a:lnTo>
                        <a:pt x="2738" y="712"/>
                      </a:lnTo>
                      <a:lnTo>
                        <a:pt x="2741" y="706"/>
                      </a:lnTo>
                      <a:lnTo>
                        <a:pt x="2738" y="701"/>
                      </a:lnTo>
                      <a:lnTo>
                        <a:pt x="2744" y="698"/>
                      </a:lnTo>
                      <a:lnTo>
                        <a:pt x="2754" y="701"/>
                      </a:lnTo>
                      <a:lnTo>
                        <a:pt x="2761" y="701"/>
                      </a:lnTo>
                      <a:lnTo>
                        <a:pt x="2763" y="701"/>
                      </a:lnTo>
                      <a:lnTo>
                        <a:pt x="2779" y="701"/>
                      </a:lnTo>
                      <a:lnTo>
                        <a:pt x="2782" y="701"/>
                      </a:lnTo>
                      <a:lnTo>
                        <a:pt x="2787" y="701"/>
                      </a:lnTo>
                      <a:lnTo>
                        <a:pt x="2802" y="701"/>
                      </a:lnTo>
                      <a:lnTo>
                        <a:pt x="2818" y="701"/>
                      </a:lnTo>
                      <a:lnTo>
                        <a:pt x="2818" y="704"/>
                      </a:lnTo>
                      <a:lnTo>
                        <a:pt x="2815" y="701"/>
                      </a:lnTo>
                      <a:lnTo>
                        <a:pt x="2821" y="709"/>
                      </a:lnTo>
                      <a:lnTo>
                        <a:pt x="2815" y="714"/>
                      </a:lnTo>
                      <a:lnTo>
                        <a:pt x="2807" y="723"/>
                      </a:lnTo>
                      <a:lnTo>
                        <a:pt x="2807" y="737"/>
                      </a:lnTo>
                      <a:lnTo>
                        <a:pt x="2810" y="742"/>
                      </a:lnTo>
                      <a:lnTo>
                        <a:pt x="2810" y="745"/>
                      </a:lnTo>
                      <a:lnTo>
                        <a:pt x="2802" y="747"/>
                      </a:lnTo>
                      <a:lnTo>
                        <a:pt x="2802" y="755"/>
                      </a:lnTo>
                      <a:lnTo>
                        <a:pt x="2799" y="767"/>
                      </a:lnTo>
                      <a:lnTo>
                        <a:pt x="2805" y="772"/>
                      </a:lnTo>
                      <a:lnTo>
                        <a:pt x="2810" y="781"/>
                      </a:lnTo>
                      <a:lnTo>
                        <a:pt x="2813" y="783"/>
                      </a:lnTo>
                      <a:lnTo>
                        <a:pt x="2823" y="791"/>
                      </a:lnTo>
                      <a:lnTo>
                        <a:pt x="2826" y="795"/>
                      </a:lnTo>
                      <a:lnTo>
                        <a:pt x="2830" y="803"/>
                      </a:lnTo>
                      <a:lnTo>
                        <a:pt x="2821" y="811"/>
                      </a:lnTo>
                      <a:lnTo>
                        <a:pt x="2821" y="814"/>
                      </a:lnTo>
                      <a:lnTo>
                        <a:pt x="2818" y="828"/>
                      </a:lnTo>
                      <a:lnTo>
                        <a:pt x="2813" y="831"/>
                      </a:lnTo>
                      <a:lnTo>
                        <a:pt x="2802" y="839"/>
                      </a:lnTo>
                      <a:lnTo>
                        <a:pt x="2799" y="844"/>
                      </a:lnTo>
                      <a:lnTo>
                        <a:pt x="2790" y="855"/>
                      </a:lnTo>
                      <a:lnTo>
                        <a:pt x="2785" y="858"/>
                      </a:lnTo>
                      <a:lnTo>
                        <a:pt x="2779" y="860"/>
                      </a:lnTo>
                      <a:lnTo>
                        <a:pt x="2777" y="864"/>
                      </a:lnTo>
                      <a:lnTo>
                        <a:pt x="2777" y="867"/>
                      </a:lnTo>
                      <a:lnTo>
                        <a:pt x="2777" y="875"/>
                      </a:lnTo>
                      <a:lnTo>
                        <a:pt x="2771" y="880"/>
                      </a:lnTo>
                      <a:lnTo>
                        <a:pt x="2771" y="883"/>
                      </a:lnTo>
                      <a:lnTo>
                        <a:pt x="2771" y="896"/>
                      </a:lnTo>
                      <a:lnTo>
                        <a:pt x="2769" y="896"/>
                      </a:lnTo>
                      <a:lnTo>
                        <a:pt x="2763" y="893"/>
                      </a:lnTo>
                      <a:lnTo>
                        <a:pt x="2761" y="893"/>
                      </a:lnTo>
                      <a:lnTo>
                        <a:pt x="2757" y="900"/>
                      </a:lnTo>
                      <a:lnTo>
                        <a:pt x="2754" y="908"/>
                      </a:lnTo>
                      <a:lnTo>
                        <a:pt x="2754" y="910"/>
                      </a:lnTo>
                      <a:lnTo>
                        <a:pt x="2752" y="910"/>
                      </a:lnTo>
                      <a:lnTo>
                        <a:pt x="2746" y="919"/>
                      </a:lnTo>
                      <a:lnTo>
                        <a:pt x="2741" y="921"/>
                      </a:lnTo>
                      <a:lnTo>
                        <a:pt x="2733" y="921"/>
                      </a:lnTo>
                      <a:lnTo>
                        <a:pt x="2718" y="924"/>
                      </a:lnTo>
                      <a:lnTo>
                        <a:pt x="2713" y="927"/>
                      </a:lnTo>
                      <a:lnTo>
                        <a:pt x="2700" y="927"/>
                      </a:lnTo>
                      <a:lnTo>
                        <a:pt x="2694" y="933"/>
                      </a:lnTo>
                      <a:lnTo>
                        <a:pt x="2692" y="936"/>
                      </a:lnTo>
                      <a:lnTo>
                        <a:pt x="2692" y="941"/>
                      </a:lnTo>
                      <a:lnTo>
                        <a:pt x="2702" y="941"/>
                      </a:lnTo>
                      <a:lnTo>
                        <a:pt x="2705" y="941"/>
                      </a:lnTo>
                      <a:lnTo>
                        <a:pt x="2705" y="944"/>
                      </a:lnTo>
                      <a:lnTo>
                        <a:pt x="2705" y="946"/>
                      </a:lnTo>
                      <a:lnTo>
                        <a:pt x="2705" y="949"/>
                      </a:lnTo>
                      <a:lnTo>
                        <a:pt x="2700" y="949"/>
                      </a:lnTo>
                      <a:lnTo>
                        <a:pt x="2697" y="952"/>
                      </a:lnTo>
                      <a:lnTo>
                        <a:pt x="2694" y="957"/>
                      </a:lnTo>
                      <a:lnTo>
                        <a:pt x="2694" y="962"/>
                      </a:lnTo>
                      <a:lnTo>
                        <a:pt x="2694" y="965"/>
                      </a:lnTo>
                      <a:lnTo>
                        <a:pt x="2688" y="969"/>
                      </a:lnTo>
                      <a:lnTo>
                        <a:pt x="2683" y="980"/>
                      </a:lnTo>
                      <a:lnTo>
                        <a:pt x="2669" y="982"/>
                      </a:lnTo>
                      <a:lnTo>
                        <a:pt x="2669" y="985"/>
                      </a:lnTo>
                      <a:lnTo>
                        <a:pt x="2664" y="988"/>
                      </a:lnTo>
                      <a:lnTo>
                        <a:pt x="2666" y="996"/>
                      </a:lnTo>
                      <a:lnTo>
                        <a:pt x="2664" y="1001"/>
                      </a:lnTo>
                      <a:lnTo>
                        <a:pt x="2664" y="998"/>
                      </a:lnTo>
                      <a:lnTo>
                        <a:pt x="2661" y="1001"/>
                      </a:lnTo>
                      <a:lnTo>
                        <a:pt x="2647" y="998"/>
                      </a:lnTo>
                      <a:lnTo>
                        <a:pt x="2633" y="1005"/>
                      </a:lnTo>
                      <a:lnTo>
                        <a:pt x="2628" y="1007"/>
                      </a:lnTo>
                      <a:lnTo>
                        <a:pt x="2625" y="1007"/>
                      </a:lnTo>
                      <a:lnTo>
                        <a:pt x="2614" y="1001"/>
                      </a:lnTo>
                      <a:lnTo>
                        <a:pt x="2611" y="998"/>
                      </a:lnTo>
                      <a:lnTo>
                        <a:pt x="2600" y="1007"/>
                      </a:lnTo>
                      <a:lnTo>
                        <a:pt x="2595" y="1007"/>
                      </a:lnTo>
                      <a:lnTo>
                        <a:pt x="2586" y="1005"/>
                      </a:lnTo>
                      <a:lnTo>
                        <a:pt x="2586" y="1010"/>
                      </a:lnTo>
                      <a:lnTo>
                        <a:pt x="2583" y="1015"/>
                      </a:lnTo>
                      <a:lnTo>
                        <a:pt x="2578" y="1018"/>
                      </a:lnTo>
                      <a:lnTo>
                        <a:pt x="2575" y="1015"/>
                      </a:lnTo>
                      <a:lnTo>
                        <a:pt x="2575" y="1010"/>
                      </a:lnTo>
                      <a:lnTo>
                        <a:pt x="2572" y="1010"/>
                      </a:lnTo>
                      <a:lnTo>
                        <a:pt x="2570" y="1010"/>
                      </a:lnTo>
                      <a:lnTo>
                        <a:pt x="2564" y="1018"/>
                      </a:lnTo>
                      <a:lnTo>
                        <a:pt x="2559" y="1021"/>
                      </a:lnTo>
                      <a:lnTo>
                        <a:pt x="2556" y="1021"/>
                      </a:lnTo>
                      <a:lnTo>
                        <a:pt x="2553" y="1021"/>
                      </a:lnTo>
                      <a:lnTo>
                        <a:pt x="2547" y="1015"/>
                      </a:lnTo>
                      <a:lnTo>
                        <a:pt x="2547" y="1007"/>
                      </a:lnTo>
                      <a:lnTo>
                        <a:pt x="2545" y="1007"/>
                      </a:lnTo>
                      <a:lnTo>
                        <a:pt x="2542" y="1005"/>
                      </a:lnTo>
                      <a:lnTo>
                        <a:pt x="2539" y="1010"/>
                      </a:lnTo>
                      <a:lnTo>
                        <a:pt x="2539" y="1018"/>
                      </a:lnTo>
                      <a:lnTo>
                        <a:pt x="2531" y="1023"/>
                      </a:lnTo>
                      <a:lnTo>
                        <a:pt x="2528" y="1029"/>
                      </a:lnTo>
                      <a:lnTo>
                        <a:pt x="2528" y="1031"/>
                      </a:lnTo>
                      <a:lnTo>
                        <a:pt x="2528" y="1034"/>
                      </a:lnTo>
                      <a:lnTo>
                        <a:pt x="2528" y="1038"/>
                      </a:lnTo>
                      <a:lnTo>
                        <a:pt x="2517" y="1051"/>
                      </a:lnTo>
                      <a:lnTo>
                        <a:pt x="2511" y="1057"/>
                      </a:lnTo>
                      <a:lnTo>
                        <a:pt x="2506" y="1059"/>
                      </a:lnTo>
                      <a:lnTo>
                        <a:pt x="2498" y="1065"/>
                      </a:lnTo>
                      <a:lnTo>
                        <a:pt x="2495" y="1074"/>
                      </a:lnTo>
                      <a:lnTo>
                        <a:pt x="2495" y="1076"/>
                      </a:lnTo>
                      <a:lnTo>
                        <a:pt x="2493" y="1082"/>
                      </a:lnTo>
                      <a:lnTo>
                        <a:pt x="2487" y="1082"/>
                      </a:lnTo>
                      <a:lnTo>
                        <a:pt x="2478" y="1092"/>
                      </a:lnTo>
                      <a:lnTo>
                        <a:pt x="2470" y="1100"/>
                      </a:lnTo>
                      <a:lnTo>
                        <a:pt x="2468" y="1107"/>
                      </a:lnTo>
                      <a:lnTo>
                        <a:pt x="2468" y="1109"/>
                      </a:lnTo>
                      <a:lnTo>
                        <a:pt x="2468" y="1112"/>
                      </a:lnTo>
                      <a:lnTo>
                        <a:pt x="2473" y="1123"/>
                      </a:lnTo>
                      <a:lnTo>
                        <a:pt x="2473" y="1128"/>
                      </a:lnTo>
                      <a:lnTo>
                        <a:pt x="2470" y="1134"/>
                      </a:lnTo>
                      <a:lnTo>
                        <a:pt x="2468" y="1136"/>
                      </a:lnTo>
                      <a:lnTo>
                        <a:pt x="2470" y="1145"/>
                      </a:lnTo>
                      <a:lnTo>
                        <a:pt x="2473" y="1151"/>
                      </a:lnTo>
                      <a:lnTo>
                        <a:pt x="2470" y="1153"/>
                      </a:lnTo>
                      <a:lnTo>
                        <a:pt x="2468" y="1156"/>
                      </a:lnTo>
                      <a:lnTo>
                        <a:pt x="2450" y="1184"/>
                      </a:lnTo>
                      <a:lnTo>
                        <a:pt x="2450" y="1189"/>
                      </a:lnTo>
                      <a:lnTo>
                        <a:pt x="2450" y="1192"/>
                      </a:lnTo>
                      <a:lnTo>
                        <a:pt x="2450" y="1200"/>
                      </a:lnTo>
                      <a:lnTo>
                        <a:pt x="2445" y="1205"/>
                      </a:lnTo>
                      <a:lnTo>
                        <a:pt x="2426" y="1220"/>
                      </a:lnTo>
                      <a:lnTo>
                        <a:pt x="2424" y="1228"/>
                      </a:lnTo>
                      <a:lnTo>
                        <a:pt x="2421" y="1236"/>
                      </a:lnTo>
                      <a:lnTo>
                        <a:pt x="2418" y="1236"/>
                      </a:lnTo>
                      <a:lnTo>
                        <a:pt x="2415" y="1233"/>
                      </a:lnTo>
                      <a:lnTo>
                        <a:pt x="2409" y="1233"/>
                      </a:lnTo>
                      <a:lnTo>
                        <a:pt x="2404" y="1250"/>
                      </a:lnTo>
                      <a:lnTo>
                        <a:pt x="2401" y="1253"/>
                      </a:lnTo>
                      <a:lnTo>
                        <a:pt x="2396" y="1269"/>
                      </a:lnTo>
                      <a:lnTo>
                        <a:pt x="2396" y="1277"/>
                      </a:lnTo>
                      <a:lnTo>
                        <a:pt x="2391" y="1283"/>
                      </a:lnTo>
                      <a:lnTo>
                        <a:pt x="2381" y="1286"/>
                      </a:lnTo>
                      <a:lnTo>
                        <a:pt x="2379" y="1289"/>
                      </a:lnTo>
                      <a:lnTo>
                        <a:pt x="2376" y="1294"/>
                      </a:lnTo>
                      <a:lnTo>
                        <a:pt x="2385" y="1299"/>
                      </a:lnTo>
                      <a:lnTo>
                        <a:pt x="2385" y="1302"/>
                      </a:lnTo>
                      <a:lnTo>
                        <a:pt x="2368" y="1302"/>
                      </a:lnTo>
                      <a:lnTo>
                        <a:pt x="2365" y="1305"/>
                      </a:lnTo>
                      <a:lnTo>
                        <a:pt x="2363" y="1307"/>
                      </a:lnTo>
                      <a:lnTo>
                        <a:pt x="2346" y="1327"/>
                      </a:lnTo>
                      <a:lnTo>
                        <a:pt x="2343" y="1335"/>
                      </a:lnTo>
                      <a:lnTo>
                        <a:pt x="2343" y="1343"/>
                      </a:lnTo>
                      <a:lnTo>
                        <a:pt x="2346" y="1358"/>
                      </a:lnTo>
                      <a:lnTo>
                        <a:pt x="2346" y="1363"/>
                      </a:lnTo>
                      <a:lnTo>
                        <a:pt x="2355" y="1376"/>
                      </a:lnTo>
                      <a:lnTo>
                        <a:pt x="2355" y="1384"/>
                      </a:lnTo>
                      <a:lnTo>
                        <a:pt x="2355" y="1396"/>
                      </a:lnTo>
                      <a:lnTo>
                        <a:pt x="2355" y="1399"/>
                      </a:lnTo>
                      <a:lnTo>
                        <a:pt x="2360" y="1399"/>
                      </a:lnTo>
                      <a:lnTo>
                        <a:pt x="2365" y="1396"/>
                      </a:lnTo>
                      <a:lnTo>
                        <a:pt x="2368" y="1396"/>
                      </a:lnTo>
                      <a:lnTo>
                        <a:pt x="2368" y="1399"/>
                      </a:lnTo>
                      <a:lnTo>
                        <a:pt x="2385" y="1410"/>
                      </a:lnTo>
                      <a:lnTo>
                        <a:pt x="2391" y="1415"/>
                      </a:lnTo>
                      <a:lnTo>
                        <a:pt x="2388" y="1427"/>
                      </a:lnTo>
                      <a:lnTo>
                        <a:pt x="2391" y="1432"/>
                      </a:lnTo>
                      <a:lnTo>
                        <a:pt x="2399" y="1437"/>
                      </a:lnTo>
                      <a:lnTo>
                        <a:pt x="2399" y="1440"/>
                      </a:lnTo>
                      <a:lnTo>
                        <a:pt x="2399" y="1443"/>
                      </a:lnTo>
                      <a:lnTo>
                        <a:pt x="2399" y="1445"/>
                      </a:lnTo>
                      <a:lnTo>
                        <a:pt x="2396" y="1445"/>
                      </a:lnTo>
                      <a:lnTo>
                        <a:pt x="2396" y="1453"/>
                      </a:lnTo>
                      <a:lnTo>
                        <a:pt x="2391" y="1463"/>
                      </a:lnTo>
                      <a:lnTo>
                        <a:pt x="2393" y="1473"/>
                      </a:lnTo>
                      <a:lnTo>
                        <a:pt x="2393" y="1476"/>
                      </a:lnTo>
                      <a:lnTo>
                        <a:pt x="2391" y="1481"/>
                      </a:lnTo>
                      <a:lnTo>
                        <a:pt x="2388" y="1487"/>
                      </a:lnTo>
                      <a:lnTo>
                        <a:pt x="2373" y="1506"/>
                      </a:lnTo>
                      <a:lnTo>
                        <a:pt x="2371" y="1509"/>
                      </a:lnTo>
                      <a:lnTo>
                        <a:pt x="2371" y="1512"/>
                      </a:lnTo>
                      <a:lnTo>
                        <a:pt x="2365" y="1514"/>
                      </a:lnTo>
                      <a:lnTo>
                        <a:pt x="2360" y="1520"/>
                      </a:lnTo>
                      <a:lnTo>
                        <a:pt x="2357" y="1526"/>
                      </a:lnTo>
                      <a:lnTo>
                        <a:pt x="2360" y="1532"/>
                      </a:lnTo>
                      <a:lnTo>
                        <a:pt x="2363" y="1534"/>
                      </a:lnTo>
                      <a:lnTo>
                        <a:pt x="2371" y="1540"/>
                      </a:lnTo>
                      <a:lnTo>
                        <a:pt x="2371" y="1545"/>
                      </a:lnTo>
                      <a:lnTo>
                        <a:pt x="2368" y="1550"/>
                      </a:lnTo>
                      <a:lnTo>
                        <a:pt x="2360" y="1558"/>
                      </a:lnTo>
                      <a:lnTo>
                        <a:pt x="2360" y="1567"/>
                      </a:lnTo>
                      <a:lnTo>
                        <a:pt x="2363" y="1575"/>
                      </a:lnTo>
                      <a:lnTo>
                        <a:pt x="2365" y="1575"/>
                      </a:lnTo>
                      <a:lnTo>
                        <a:pt x="2379" y="1589"/>
                      </a:lnTo>
                      <a:lnTo>
                        <a:pt x="2381" y="1598"/>
                      </a:lnTo>
                      <a:lnTo>
                        <a:pt x="2381" y="1609"/>
                      </a:lnTo>
                      <a:lnTo>
                        <a:pt x="2381" y="1611"/>
                      </a:lnTo>
                      <a:lnTo>
                        <a:pt x="2393" y="1622"/>
                      </a:lnTo>
                      <a:lnTo>
                        <a:pt x="2393" y="1625"/>
                      </a:lnTo>
                      <a:lnTo>
                        <a:pt x="2399" y="1631"/>
                      </a:lnTo>
                      <a:lnTo>
                        <a:pt x="2396" y="1644"/>
                      </a:lnTo>
                      <a:lnTo>
                        <a:pt x="2396" y="1650"/>
                      </a:lnTo>
                      <a:lnTo>
                        <a:pt x="2404" y="1669"/>
                      </a:lnTo>
                      <a:lnTo>
                        <a:pt x="2404" y="1680"/>
                      </a:lnTo>
                      <a:lnTo>
                        <a:pt x="2404" y="1686"/>
                      </a:lnTo>
                      <a:lnTo>
                        <a:pt x="2407" y="1686"/>
                      </a:lnTo>
                      <a:lnTo>
                        <a:pt x="2412" y="1694"/>
                      </a:lnTo>
                      <a:lnTo>
                        <a:pt x="2415" y="1711"/>
                      </a:lnTo>
                      <a:lnTo>
                        <a:pt x="2418" y="1719"/>
                      </a:lnTo>
                      <a:lnTo>
                        <a:pt x="2421" y="1732"/>
                      </a:lnTo>
                      <a:lnTo>
                        <a:pt x="2421" y="1741"/>
                      </a:lnTo>
                      <a:lnTo>
                        <a:pt x="2409" y="1755"/>
                      </a:lnTo>
                      <a:lnTo>
                        <a:pt x="2409" y="1760"/>
                      </a:lnTo>
                      <a:lnTo>
                        <a:pt x="2415" y="1774"/>
                      </a:lnTo>
                      <a:lnTo>
                        <a:pt x="2415" y="1777"/>
                      </a:lnTo>
                      <a:lnTo>
                        <a:pt x="2415" y="1782"/>
                      </a:lnTo>
                      <a:lnTo>
                        <a:pt x="2412" y="1796"/>
                      </a:lnTo>
                      <a:lnTo>
                        <a:pt x="2409" y="1801"/>
                      </a:lnTo>
                      <a:lnTo>
                        <a:pt x="2404" y="1805"/>
                      </a:lnTo>
                      <a:lnTo>
                        <a:pt x="2393" y="1810"/>
                      </a:lnTo>
                      <a:lnTo>
                        <a:pt x="2393" y="1815"/>
                      </a:lnTo>
                      <a:lnTo>
                        <a:pt x="2388" y="1818"/>
                      </a:lnTo>
                      <a:lnTo>
                        <a:pt x="2376" y="1821"/>
                      </a:lnTo>
                      <a:lnTo>
                        <a:pt x="2373" y="1824"/>
                      </a:lnTo>
                      <a:lnTo>
                        <a:pt x="2371" y="1834"/>
                      </a:lnTo>
                      <a:lnTo>
                        <a:pt x="2365" y="1841"/>
                      </a:lnTo>
                      <a:lnTo>
                        <a:pt x="2355" y="1843"/>
                      </a:lnTo>
                      <a:lnTo>
                        <a:pt x="2352" y="1846"/>
                      </a:lnTo>
                      <a:lnTo>
                        <a:pt x="2349" y="1857"/>
                      </a:lnTo>
                      <a:lnTo>
                        <a:pt x="2349" y="1859"/>
                      </a:lnTo>
                      <a:lnTo>
                        <a:pt x="2340" y="1867"/>
                      </a:lnTo>
                      <a:lnTo>
                        <a:pt x="2338" y="1885"/>
                      </a:lnTo>
                      <a:lnTo>
                        <a:pt x="2330" y="1890"/>
                      </a:lnTo>
                      <a:lnTo>
                        <a:pt x="2327" y="1898"/>
                      </a:lnTo>
                      <a:lnTo>
                        <a:pt x="2324" y="1903"/>
                      </a:lnTo>
                      <a:lnTo>
                        <a:pt x="2319" y="1903"/>
                      </a:lnTo>
                      <a:lnTo>
                        <a:pt x="2304" y="1906"/>
                      </a:lnTo>
                      <a:lnTo>
                        <a:pt x="2302" y="1912"/>
                      </a:lnTo>
                      <a:lnTo>
                        <a:pt x="2299" y="1915"/>
                      </a:lnTo>
                      <a:lnTo>
                        <a:pt x="2299" y="1920"/>
                      </a:lnTo>
                      <a:lnTo>
                        <a:pt x="2302" y="1923"/>
                      </a:lnTo>
                      <a:lnTo>
                        <a:pt x="2304" y="1926"/>
                      </a:lnTo>
                      <a:lnTo>
                        <a:pt x="2304" y="1928"/>
                      </a:lnTo>
                      <a:lnTo>
                        <a:pt x="2302" y="1942"/>
                      </a:lnTo>
                      <a:lnTo>
                        <a:pt x="2307" y="1962"/>
                      </a:lnTo>
                      <a:lnTo>
                        <a:pt x="2307" y="1967"/>
                      </a:lnTo>
                      <a:lnTo>
                        <a:pt x="2299" y="1967"/>
                      </a:lnTo>
                      <a:lnTo>
                        <a:pt x="2299" y="1970"/>
                      </a:lnTo>
                      <a:lnTo>
                        <a:pt x="2296" y="1975"/>
                      </a:lnTo>
                      <a:lnTo>
                        <a:pt x="2299" y="1989"/>
                      </a:lnTo>
                      <a:lnTo>
                        <a:pt x="2302" y="1995"/>
                      </a:lnTo>
                      <a:lnTo>
                        <a:pt x="2299" y="2003"/>
                      </a:lnTo>
                      <a:lnTo>
                        <a:pt x="2307" y="2020"/>
                      </a:lnTo>
                      <a:lnTo>
                        <a:pt x="2299" y="2033"/>
                      </a:lnTo>
                      <a:lnTo>
                        <a:pt x="2299" y="2039"/>
                      </a:lnTo>
                      <a:lnTo>
                        <a:pt x="2302" y="2041"/>
                      </a:lnTo>
                      <a:lnTo>
                        <a:pt x="2304" y="2053"/>
                      </a:lnTo>
                      <a:lnTo>
                        <a:pt x="2304" y="2058"/>
                      </a:lnTo>
                      <a:lnTo>
                        <a:pt x="2310" y="2064"/>
                      </a:lnTo>
                      <a:lnTo>
                        <a:pt x="2316" y="2069"/>
                      </a:lnTo>
                      <a:lnTo>
                        <a:pt x="2319" y="2072"/>
                      </a:lnTo>
                      <a:lnTo>
                        <a:pt x="2319" y="2080"/>
                      </a:lnTo>
                      <a:lnTo>
                        <a:pt x="2319" y="2082"/>
                      </a:lnTo>
                      <a:lnTo>
                        <a:pt x="2316" y="2086"/>
                      </a:lnTo>
                      <a:lnTo>
                        <a:pt x="2316" y="2089"/>
                      </a:lnTo>
                      <a:lnTo>
                        <a:pt x="2310" y="2092"/>
                      </a:lnTo>
                      <a:lnTo>
                        <a:pt x="2307" y="2094"/>
                      </a:lnTo>
                      <a:lnTo>
                        <a:pt x="2307" y="2097"/>
                      </a:lnTo>
                      <a:lnTo>
                        <a:pt x="2316" y="2105"/>
                      </a:lnTo>
                      <a:lnTo>
                        <a:pt x="2319" y="2116"/>
                      </a:lnTo>
                      <a:lnTo>
                        <a:pt x="2324" y="2122"/>
                      </a:lnTo>
                      <a:lnTo>
                        <a:pt x="2335" y="2122"/>
                      </a:lnTo>
                      <a:lnTo>
                        <a:pt x="2340" y="2125"/>
                      </a:lnTo>
                      <a:lnTo>
                        <a:pt x="2346" y="2127"/>
                      </a:lnTo>
                      <a:lnTo>
                        <a:pt x="2346" y="2130"/>
                      </a:lnTo>
                      <a:lnTo>
                        <a:pt x="2349" y="2146"/>
                      </a:lnTo>
                      <a:lnTo>
                        <a:pt x="2352" y="2149"/>
                      </a:lnTo>
                      <a:lnTo>
                        <a:pt x="2357" y="2155"/>
                      </a:lnTo>
                      <a:lnTo>
                        <a:pt x="2365" y="2155"/>
                      </a:lnTo>
                      <a:lnTo>
                        <a:pt x="2373" y="2166"/>
                      </a:lnTo>
                      <a:lnTo>
                        <a:pt x="2381" y="2169"/>
                      </a:lnTo>
                      <a:lnTo>
                        <a:pt x="2391" y="2171"/>
                      </a:lnTo>
                      <a:lnTo>
                        <a:pt x="2393" y="2171"/>
                      </a:lnTo>
                      <a:lnTo>
                        <a:pt x="2393" y="2174"/>
                      </a:lnTo>
                      <a:lnTo>
                        <a:pt x="2396" y="2179"/>
                      </a:lnTo>
                      <a:lnTo>
                        <a:pt x="2399" y="2182"/>
                      </a:lnTo>
                      <a:lnTo>
                        <a:pt x="2399" y="2187"/>
                      </a:lnTo>
                      <a:lnTo>
                        <a:pt x="2401" y="2194"/>
                      </a:lnTo>
                      <a:lnTo>
                        <a:pt x="2399" y="2204"/>
                      </a:lnTo>
                      <a:lnTo>
                        <a:pt x="2396" y="2212"/>
                      </a:lnTo>
                      <a:lnTo>
                        <a:pt x="2399" y="2215"/>
                      </a:lnTo>
                      <a:lnTo>
                        <a:pt x="2404" y="2212"/>
                      </a:lnTo>
                      <a:lnTo>
                        <a:pt x="2407" y="2215"/>
                      </a:lnTo>
                      <a:lnTo>
                        <a:pt x="2407" y="2218"/>
                      </a:lnTo>
                      <a:lnTo>
                        <a:pt x="2399" y="2227"/>
                      </a:lnTo>
                      <a:lnTo>
                        <a:pt x="2396" y="2229"/>
                      </a:lnTo>
                      <a:lnTo>
                        <a:pt x="2396" y="2238"/>
                      </a:lnTo>
                      <a:lnTo>
                        <a:pt x="2388" y="2251"/>
                      </a:lnTo>
                      <a:lnTo>
                        <a:pt x="2388" y="2254"/>
                      </a:lnTo>
                      <a:lnTo>
                        <a:pt x="2393" y="2263"/>
                      </a:lnTo>
                      <a:lnTo>
                        <a:pt x="2391" y="2271"/>
                      </a:lnTo>
                      <a:lnTo>
                        <a:pt x="2393" y="2279"/>
                      </a:lnTo>
                      <a:lnTo>
                        <a:pt x="2388" y="2281"/>
                      </a:lnTo>
                      <a:lnTo>
                        <a:pt x="2385" y="2284"/>
                      </a:lnTo>
                      <a:lnTo>
                        <a:pt x="2385" y="2287"/>
                      </a:lnTo>
                      <a:lnTo>
                        <a:pt x="2391" y="2289"/>
                      </a:lnTo>
                      <a:lnTo>
                        <a:pt x="2385" y="2301"/>
                      </a:lnTo>
                      <a:lnTo>
                        <a:pt x="2385" y="2309"/>
                      </a:lnTo>
                      <a:lnTo>
                        <a:pt x="2385" y="2315"/>
                      </a:lnTo>
                      <a:lnTo>
                        <a:pt x="2376" y="2325"/>
                      </a:lnTo>
                      <a:lnTo>
                        <a:pt x="2373" y="2342"/>
                      </a:lnTo>
                      <a:lnTo>
                        <a:pt x="2373" y="2345"/>
                      </a:lnTo>
                      <a:lnTo>
                        <a:pt x="2373" y="2348"/>
                      </a:lnTo>
                      <a:lnTo>
                        <a:pt x="2371" y="2356"/>
                      </a:lnTo>
                      <a:lnTo>
                        <a:pt x="2360" y="2370"/>
                      </a:lnTo>
                      <a:lnTo>
                        <a:pt x="2346" y="2376"/>
                      </a:lnTo>
                      <a:lnTo>
                        <a:pt x="2343" y="2386"/>
                      </a:lnTo>
                      <a:lnTo>
                        <a:pt x="2338" y="2392"/>
                      </a:lnTo>
                      <a:lnTo>
                        <a:pt x="2335" y="2392"/>
                      </a:lnTo>
                      <a:lnTo>
                        <a:pt x="2324" y="2394"/>
                      </a:lnTo>
                      <a:lnTo>
                        <a:pt x="2319" y="2394"/>
                      </a:lnTo>
                      <a:lnTo>
                        <a:pt x="2312" y="2389"/>
                      </a:lnTo>
                      <a:lnTo>
                        <a:pt x="2304" y="2389"/>
                      </a:lnTo>
                      <a:lnTo>
                        <a:pt x="2296" y="2398"/>
                      </a:lnTo>
                      <a:lnTo>
                        <a:pt x="2286" y="2403"/>
                      </a:lnTo>
                      <a:lnTo>
                        <a:pt x="2280" y="2403"/>
                      </a:lnTo>
                      <a:lnTo>
                        <a:pt x="2277" y="2403"/>
                      </a:lnTo>
                      <a:lnTo>
                        <a:pt x="2269" y="2398"/>
                      </a:lnTo>
                      <a:lnTo>
                        <a:pt x="2255" y="2394"/>
                      </a:lnTo>
                      <a:lnTo>
                        <a:pt x="2238" y="2398"/>
                      </a:lnTo>
                      <a:lnTo>
                        <a:pt x="2235" y="2398"/>
                      </a:lnTo>
                      <a:lnTo>
                        <a:pt x="2233" y="2403"/>
                      </a:lnTo>
                      <a:lnTo>
                        <a:pt x="2225" y="2409"/>
                      </a:lnTo>
                      <a:lnTo>
                        <a:pt x="2214" y="2411"/>
                      </a:lnTo>
                      <a:lnTo>
                        <a:pt x="2197" y="2409"/>
                      </a:lnTo>
                      <a:lnTo>
                        <a:pt x="2192" y="2419"/>
                      </a:lnTo>
                      <a:lnTo>
                        <a:pt x="2181" y="2417"/>
                      </a:lnTo>
                      <a:lnTo>
                        <a:pt x="2181" y="2425"/>
                      </a:lnTo>
                      <a:lnTo>
                        <a:pt x="2178" y="2425"/>
                      </a:lnTo>
                      <a:lnTo>
                        <a:pt x="2172" y="2427"/>
                      </a:lnTo>
                      <a:lnTo>
                        <a:pt x="2166" y="2427"/>
                      </a:lnTo>
                      <a:lnTo>
                        <a:pt x="2158" y="2425"/>
                      </a:lnTo>
                      <a:lnTo>
                        <a:pt x="2153" y="2427"/>
                      </a:lnTo>
                      <a:lnTo>
                        <a:pt x="2153" y="2430"/>
                      </a:lnTo>
                      <a:lnTo>
                        <a:pt x="2142" y="2425"/>
                      </a:lnTo>
                      <a:lnTo>
                        <a:pt x="2139" y="2419"/>
                      </a:lnTo>
                      <a:lnTo>
                        <a:pt x="2136" y="2414"/>
                      </a:lnTo>
                      <a:lnTo>
                        <a:pt x="2133" y="2411"/>
                      </a:lnTo>
                      <a:lnTo>
                        <a:pt x="2120" y="2406"/>
                      </a:lnTo>
                      <a:lnTo>
                        <a:pt x="2117" y="2403"/>
                      </a:lnTo>
                      <a:lnTo>
                        <a:pt x="2114" y="2394"/>
                      </a:lnTo>
                      <a:lnTo>
                        <a:pt x="2114" y="2392"/>
                      </a:lnTo>
                      <a:lnTo>
                        <a:pt x="2112" y="2389"/>
                      </a:lnTo>
                      <a:lnTo>
                        <a:pt x="2109" y="2389"/>
                      </a:lnTo>
                      <a:lnTo>
                        <a:pt x="2105" y="2389"/>
                      </a:lnTo>
                      <a:lnTo>
                        <a:pt x="2105" y="2392"/>
                      </a:lnTo>
                      <a:lnTo>
                        <a:pt x="2103" y="2392"/>
                      </a:lnTo>
                      <a:lnTo>
                        <a:pt x="2100" y="2392"/>
                      </a:lnTo>
                      <a:lnTo>
                        <a:pt x="2095" y="2386"/>
                      </a:lnTo>
                      <a:lnTo>
                        <a:pt x="2087" y="2384"/>
                      </a:lnTo>
                      <a:lnTo>
                        <a:pt x="2079" y="2376"/>
                      </a:lnTo>
                      <a:lnTo>
                        <a:pt x="2070" y="2373"/>
                      </a:lnTo>
                      <a:lnTo>
                        <a:pt x="2064" y="2370"/>
                      </a:lnTo>
                      <a:lnTo>
                        <a:pt x="2054" y="2373"/>
                      </a:lnTo>
                      <a:lnTo>
                        <a:pt x="2051" y="2370"/>
                      </a:lnTo>
                      <a:lnTo>
                        <a:pt x="2051" y="2368"/>
                      </a:lnTo>
                      <a:lnTo>
                        <a:pt x="2048" y="2368"/>
                      </a:lnTo>
                      <a:lnTo>
                        <a:pt x="2043" y="2370"/>
                      </a:lnTo>
                      <a:lnTo>
                        <a:pt x="2031" y="2370"/>
                      </a:lnTo>
                      <a:lnTo>
                        <a:pt x="2028" y="2370"/>
                      </a:lnTo>
                      <a:lnTo>
                        <a:pt x="2023" y="2376"/>
                      </a:lnTo>
                      <a:lnTo>
                        <a:pt x="2015" y="2370"/>
                      </a:lnTo>
                      <a:lnTo>
                        <a:pt x="2012" y="2373"/>
                      </a:lnTo>
                      <a:lnTo>
                        <a:pt x="2010" y="2376"/>
                      </a:lnTo>
                      <a:lnTo>
                        <a:pt x="2007" y="2381"/>
                      </a:lnTo>
                      <a:lnTo>
                        <a:pt x="1993" y="2384"/>
                      </a:lnTo>
                      <a:lnTo>
                        <a:pt x="1982" y="2392"/>
                      </a:lnTo>
                      <a:lnTo>
                        <a:pt x="1967" y="2389"/>
                      </a:lnTo>
                      <a:lnTo>
                        <a:pt x="1965" y="2392"/>
                      </a:lnTo>
                      <a:lnTo>
                        <a:pt x="1962" y="2398"/>
                      </a:lnTo>
                      <a:lnTo>
                        <a:pt x="1959" y="2398"/>
                      </a:lnTo>
                      <a:lnTo>
                        <a:pt x="1954" y="2394"/>
                      </a:lnTo>
                      <a:lnTo>
                        <a:pt x="1954" y="2389"/>
                      </a:lnTo>
                      <a:lnTo>
                        <a:pt x="1949" y="2386"/>
                      </a:lnTo>
                      <a:lnTo>
                        <a:pt x="1943" y="2386"/>
                      </a:lnTo>
                      <a:lnTo>
                        <a:pt x="1938" y="2392"/>
                      </a:lnTo>
                      <a:lnTo>
                        <a:pt x="1918" y="2394"/>
                      </a:lnTo>
                      <a:lnTo>
                        <a:pt x="1916" y="2398"/>
                      </a:lnTo>
                      <a:lnTo>
                        <a:pt x="1910" y="2398"/>
                      </a:lnTo>
                      <a:lnTo>
                        <a:pt x="1908" y="2403"/>
                      </a:lnTo>
                      <a:lnTo>
                        <a:pt x="1908" y="2414"/>
                      </a:lnTo>
                      <a:lnTo>
                        <a:pt x="1905" y="2419"/>
                      </a:lnTo>
                      <a:lnTo>
                        <a:pt x="1902" y="2419"/>
                      </a:lnTo>
                      <a:lnTo>
                        <a:pt x="1896" y="2411"/>
                      </a:lnTo>
                      <a:lnTo>
                        <a:pt x="1888" y="2411"/>
                      </a:lnTo>
                      <a:lnTo>
                        <a:pt x="1885" y="2411"/>
                      </a:lnTo>
                      <a:lnTo>
                        <a:pt x="1885" y="2414"/>
                      </a:lnTo>
                      <a:lnTo>
                        <a:pt x="1885" y="2417"/>
                      </a:lnTo>
                      <a:lnTo>
                        <a:pt x="1893" y="2427"/>
                      </a:lnTo>
                      <a:lnTo>
                        <a:pt x="1890" y="2434"/>
                      </a:lnTo>
                      <a:lnTo>
                        <a:pt x="1888" y="2434"/>
                      </a:lnTo>
                      <a:lnTo>
                        <a:pt x="1885" y="2434"/>
                      </a:lnTo>
                      <a:lnTo>
                        <a:pt x="1885" y="2425"/>
                      </a:lnTo>
                      <a:lnTo>
                        <a:pt x="1882" y="2425"/>
                      </a:lnTo>
                      <a:lnTo>
                        <a:pt x="1880" y="2427"/>
                      </a:lnTo>
                      <a:lnTo>
                        <a:pt x="1877" y="2437"/>
                      </a:lnTo>
                      <a:lnTo>
                        <a:pt x="1865" y="2442"/>
                      </a:lnTo>
                      <a:lnTo>
                        <a:pt x="1860" y="2450"/>
                      </a:lnTo>
                      <a:lnTo>
                        <a:pt x="1860" y="2453"/>
                      </a:lnTo>
                      <a:lnTo>
                        <a:pt x="1860" y="2461"/>
                      </a:lnTo>
                      <a:lnTo>
                        <a:pt x="1860" y="2463"/>
                      </a:lnTo>
                      <a:lnTo>
                        <a:pt x="1855" y="2463"/>
                      </a:lnTo>
                      <a:lnTo>
                        <a:pt x="1849" y="2466"/>
                      </a:lnTo>
                      <a:lnTo>
                        <a:pt x="1849" y="2478"/>
                      </a:lnTo>
                      <a:lnTo>
                        <a:pt x="1836" y="2494"/>
                      </a:lnTo>
                      <a:lnTo>
                        <a:pt x="1829" y="2494"/>
                      </a:lnTo>
                      <a:lnTo>
                        <a:pt x="1824" y="2494"/>
                      </a:lnTo>
                      <a:lnTo>
                        <a:pt x="1824" y="2503"/>
                      </a:lnTo>
                      <a:lnTo>
                        <a:pt x="1821" y="2508"/>
                      </a:lnTo>
                      <a:lnTo>
                        <a:pt x="1819" y="2514"/>
                      </a:lnTo>
                      <a:lnTo>
                        <a:pt x="1821" y="2522"/>
                      </a:lnTo>
                      <a:lnTo>
                        <a:pt x="1821" y="2524"/>
                      </a:lnTo>
                      <a:lnTo>
                        <a:pt x="1816" y="2530"/>
                      </a:lnTo>
                      <a:lnTo>
                        <a:pt x="1808" y="2544"/>
                      </a:lnTo>
                      <a:lnTo>
                        <a:pt x="1805" y="2544"/>
                      </a:lnTo>
                      <a:lnTo>
                        <a:pt x="1796" y="2539"/>
                      </a:lnTo>
                      <a:lnTo>
                        <a:pt x="1783" y="2544"/>
                      </a:lnTo>
                      <a:lnTo>
                        <a:pt x="1778" y="2544"/>
                      </a:lnTo>
                      <a:lnTo>
                        <a:pt x="1770" y="2547"/>
                      </a:lnTo>
                      <a:lnTo>
                        <a:pt x="1764" y="2552"/>
                      </a:lnTo>
                      <a:lnTo>
                        <a:pt x="1755" y="2560"/>
                      </a:lnTo>
                      <a:lnTo>
                        <a:pt x="1744" y="2563"/>
                      </a:lnTo>
                      <a:lnTo>
                        <a:pt x="1734" y="2568"/>
                      </a:lnTo>
                      <a:lnTo>
                        <a:pt x="1734" y="2571"/>
                      </a:lnTo>
                      <a:lnTo>
                        <a:pt x="1727" y="2571"/>
                      </a:lnTo>
                      <a:lnTo>
                        <a:pt x="1722" y="2577"/>
                      </a:lnTo>
                      <a:lnTo>
                        <a:pt x="1719" y="2588"/>
                      </a:lnTo>
                      <a:lnTo>
                        <a:pt x="1717" y="2588"/>
                      </a:lnTo>
                      <a:lnTo>
                        <a:pt x="1703" y="2591"/>
                      </a:lnTo>
                      <a:lnTo>
                        <a:pt x="1700" y="2599"/>
                      </a:lnTo>
                      <a:lnTo>
                        <a:pt x="1698" y="2601"/>
                      </a:lnTo>
                      <a:lnTo>
                        <a:pt x="1689" y="2608"/>
                      </a:lnTo>
                      <a:lnTo>
                        <a:pt x="1689" y="2610"/>
                      </a:lnTo>
                      <a:lnTo>
                        <a:pt x="1681" y="2624"/>
                      </a:lnTo>
                      <a:lnTo>
                        <a:pt x="1673" y="2626"/>
                      </a:lnTo>
                      <a:lnTo>
                        <a:pt x="1670" y="2629"/>
                      </a:lnTo>
                      <a:lnTo>
                        <a:pt x="1665" y="2632"/>
                      </a:lnTo>
                      <a:lnTo>
                        <a:pt x="1662" y="2632"/>
                      </a:lnTo>
                      <a:lnTo>
                        <a:pt x="1658" y="2643"/>
                      </a:lnTo>
                      <a:lnTo>
                        <a:pt x="1656" y="2646"/>
                      </a:lnTo>
                      <a:lnTo>
                        <a:pt x="1653" y="2660"/>
                      </a:lnTo>
                      <a:lnTo>
                        <a:pt x="1648" y="2660"/>
                      </a:lnTo>
                      <a:lnTo>
                        <a:pt x="1645" y="2660"/>
                      </a:lnTo>
                      <a:lnTo>
                        <a:pt x="1642" y="2660"/>
                      </a:lnTo>
                      <a:lnTo>
                        <a:pt x="1637" y="2657"/>
                      </a:lnTo>
                      <a:lnTo>
                        <a:pt x="1631" y="2646"/>
                      </a:lnTo>
                      <a:lnTo>
                        <a:pt x="1614" y="2652"/>
                      </a:lnTo>
                      <a:lnTo>
                        <a:pt x="1612" y="2649"/>
                      </a:lnTo>
                      <a:lnTo>
                        <a:pt x="1601" y="2646"/>
                      </a:lnTo>
                      <a:lnTo>
                        <a:pt x="1598" y="2652"/>
                      </a:lnTo>
                      <a:lnTo>
                        <a:pt x="1587" y="2657"/>
                      </a:lnTo>
                      <a:lnTo>
                        <a:pt x="1584" y="2660"/>
                      </a:lnTo>
                      <a:lnTo>
                        <a:pt x="1584" y="2662"/>
                      </a:lnTo>
                      <a:lnTo>
                        <a:pt x="1581" y="2665"/>
                      </a:lnTo>
                      <a:lnTo>
                        <a:pt x="1579" y="2670"/>
                      </a:lnTo>
                      <a:lnTo>
                        <a:pt x="1573" y="2673"/>
                      </a:lnTo>
                      <a:lnTo>
                        <a:pt x="1568" y="2670"/>
                      </a:lnTo>
                      <a:lnTo>
                        <a:pt x="1565" y="2673"/>
                      </a:lnTo>
                      <a:lnTo>
                        <a:pt x="1563" y="2679"/>
                      </a:lnTo>
                      <a:lnTo>
                        <a:pt x="1560" y="2685"/>
                      </a:lnTo>
                      <a:lnTo>
                        <a:pt x="1556" y="2690"/>
                      </a:lnTo>
                      <a:lnTo>
                        <a:pt x="1553" y="2693"/>
                      </a:lnTo>
                      <a:lnTo>
                        <a:pt x="1551" y="2690"/>
                      </a:lnTo>
                      <a:lnTo>
                        <a:pt x="1543" y="2693"/>
                      </a:lnTo>
                      <a:lnTo>
                        <a:pt x="1537" y="2695"/>
                      </a:lnTo>
                      <a:lnTo>
                        <a:pt x="1532" y="2695"/>
                      </a:lnTo>
                      <a:lnTo>
                        <a:pt x="1529" y="2695"/>
                      </a:lnTo>
                      <a:lnTo>
                        <a:pt x="1524" y="2701"/>
                      </a:lnTo>
                      <a:lnTo>
                        <a:pt x="1518" y="2701"/>
                      </a:lnTo>
                      <a:lnTo>
                        <a:pt x="1507" y="2709"/>
                      </a:lnTo>
                      <a:lnTo>
                        <a:pt x="1502" y="2706"/>
                      </a:lnTo>
                      <a:lnTo>
                        <a:pt x="1499" y="2706"/>
                      </a:lnTo>
                      <a:lnTo>
                        <a:pt x="1491" y="2703"/>
                      </a:lnTo>
                      <a:lnTo>
                        <a:pt x="1474" y="2709"/>
                      </a:lnTo>
                      <a:lnTo>
                        <a:pt x="1471" y="2711"/>
                      </a:lnTo>
                      <a:lnTo>
                        <a:pt x="1466" y="2711"/>
                      </a:lnTo>
                      <a:lnTo>
                        <a:pt x="1463" y="2709"/>
                      </a:lnTo>
                      <a:lnTo>
                        <a:pt x="1455" y="2715"/>
                      </a:lnTo>
                      <a:lnTo>
                        <a:pt x="1451" y="2723"/>
                      </a:lnTo>
                      <a:lnTo>
                        <a:pt x="1443" y="2726"/>
                      </a:lnTo>
                      <a:lnTo>
                        <a:pt x="1438" y="2731"/>
                      </a:lnTo>
                      <a:lnTo>
                        <a:pt x="1435" y="2731"/>
                      </a:lnTo>
                      <a:lnTo>
                        <a:pt x="1435" y="2729"/>
                      </a:lnTo>
                      <a:lnTo>
                        <a:pt x="1430" y="2726"/>
                      </a:lnTo>
                      <a:lnTo>
                        <a:pt x="1427" y="2726"/>
                      </a:lnTo>
                      <a:lnTo>
                        <a:pt x="1425" y="2729"/>
                      </a:lnTo>
                      <a:lnTo>
                        <a:pt x="1418" y="2734"/>
                      </a:lnTo>
                      <a:lnTo>
                        <a:pt x="1410" y="2731"/>
                      </a:lnTo>
                      <a:lnTo>
                        <a:pt x="1405" y="2734"/>
                      </a:lnTo>
                      <a:lnTo>
                        <a:pt x="1402" y="2734"/>
                      </a:lnTo>
                      <a:lnTo>
                        <a:pt x="1394" y="2734"/>
                      </a:lnTo>
                      <a:lnTo>
                        <a:pt x="1389" y="2737"/>
                      </a:lnTo>
                      <a:lnTo>
                        <a:pt x="1386" y="2742"/>
                      </a:lnTo>
                      <a:lnTo>
                        <a:pt x="1374" y="2754"/>
                      </a:lnTo>
                      <a:lnTo>
                        <a:pt x="1369" y="2751"/>
                      </a:lnTo>
                      <a:lnTo>
                        <a:pt x="1366" y="2751"/>
                      </a:lnTo>
                      <a:lnTo>
                        <a:pt x="1364" y="2756"/>
                      </a:lnTo>
                      <a:lnTo>
                        <a:pt x="1364" y="2762"/>
                      </a:lnTo>
                      <a:lnTo>
                        <a:pt x="1361" y="2764"/>
                      </a:lnTo>
                      <a:lnTo>
                        <a:pt x="1358" y="2764"/>
                      </a:lnTo>
                      <a:lnTo>
                        <a:pt x="1358" y="2767"/>
                      </a:lnTo>
                      <a:lnTo>
                        <a:pt x="1356" y="2770"/>
                      </a:lnTo>
                      <a:lnTo>
                        <a:pt x="1349" y="2770"/>
                      </a:lnTo>
                      <a:lnTo>
                        <a:pt x="1347" y="2772"/>
                      </a:lnTo>
                      <a:lnTo>
                        <a:pt x="1349" y="2778"/>
                      </a:lnTo>
                      <a:lnTo>
                        <a:pt x="1347" y="2778"/>
                      </a:lnTo>
                      <a:lnTo>
                        <a:pt x="1341" y="2775"/>
                      </a:lnTo>
                      <a:lnTo>
                        <a:pt x="1338" y="2775"/>
                      </a:lnTo>
                      <a:lnTo>
                        <a:pt x="1338" y="2778"/>
                      </a:lnTo>
                      <a:lnTo>
                        <a:pt x="1344" y="2780"/>
                      </a:lnTo>
                      <a:lnTo>
                        <a:pt x="1338" y="2784"/>
                      </a:lnTo>
                      <a:lnTo>
                        <a:pt x="1336" y="2784"/>
                      </a:lnTo>
                      <a:lnTo>
                        <a:pt x="1336" y="2789"/>
                      </a:lnTo>
                      <a:lnTo>
                        <a:pt x="1336" y="2792"/>
                      </a:lnTo>
                      <a:lnTo>
                        <a:pt x="1330" y="2795"/>
                      </a:lnTo>
                      <a:lnTo>
                        <a:pt x="1328" y="2800"/>
                      </a:lnTo>
                      <a:lnTo>
                        <a:pt x="1330" y="2806"/>
                      </a:lnTo>
                      <a:lnTo>
                        <a:pt x="1330" y="2808"/>
                      </a:lnTo>
                      <a:lnTo>
                        <a:pt x="1328" y="2808"/>
                      </a:lnTo>
                      <a:lnTo>
                        <a:pt x="1328" y="2806"/>
                      </a:lnTo>
                      <a:lnTo>
                        <a:pt x="1325" y="2808"/>
                      </a:lnTo>
                      <a:lnTo>
                        <a:pt x="1328" y="2814"/>
                      </a:lnTo>
                      <a:lnTo>
                        <a:pt x="1325" y="2820"/>
                      </a:lnTo>
                      <a:lnTo>
                        <a:pt x="1328" y="2823"/>
                      </a:lnTo>
                      <a:lnTo>
                        <a:pt x="1325" y="2825"/>
                      </a:lnTo>
                      <a:lnTo>
                        <a:pt x="1322" y="2823"/>
                      </a:lnTo>
                      <a:lnTo>
                        <a:pt x="1322" y="2828"/>
                      </a:lnTo>
                      <a:lnTo>
                        <a:pt x="1316" y="2831"/>
                      </a:lnTo>
                      <a:lnTo>
                        <a:pt x="1320" y="2839"/>
                      </a:lnTo>
                      <a:lnTo>
                        <a:pt x="1316" y="2844"/>
                      </a:lnTo>
                      <a:lnTo>
                        <a:pt x="1311" y="2847"/>
                      </a:lnTo>
                      <a:lnTo>
                        <a:pt x="1311" y="2853"/>
                      </a:lnTo>
                      <a:lnTo>
                        <a:pt x="1308" y="2856"/>
                      </a:lnTo>
                      <a:lnTo>
                        <a:pt x="1305" y="2856"/>
                      </a:lnTo>
                      <a:lnTo>
                        <a:pt x="1308" y="2861"/>
                      </a:lnTo>
                      <a:lnTo>
                        <a:pt x="1313" y="2864"/>
                      </a:lnTo>
                      <a:lnTo>
                        <a:pt x="1313" y="2867"/>
                      </a:lnTo>
                      <a:lnTo>
                        <a:pt x="1305" y="2869"/>
                      </a:lnTo>
                      <a:lnTo>
                        <a:pt x="1313" y="2875"/>
                      </a:lnTo>
                      <a:lnTo>
                        <a:pt x="1313" y="2877"/>
                      </a:lnTo>
                      <a:lnTo>
                        <a:pt x="1308" y="2880"/>
                      </a:lnTo>
                      <a:lnTo>
                        <a:pt x="1305" y="2880"/>
                      </a:lnTo>
                      <a:lnTo>
                        <a:pt x="1305" y="2883"/>
                      </a:lnTo>
                      <a:lnTo>
                        <a:pt x="1305" y="2889"/>
                      </a:lnTo>
                      <a:lnTo>
                        <a:pt x="1303" y="2892"/>
                      </a:lnTo>
                      <a:lnTo>
                        <a:pt x="1300" y="2894"/>
                      </a:lnTo>
                      <a:lnTo>
                        <a:pt x="1303" y="2897"/>
                      </a:lnTo>
                      <a:lnTo>
                        <a:pt x="1303" y="2900"/>
                      </a:lnTo>
                      <a:lnTo>
                        <a:pt x="1300" y="2902"/>
                      </a:lnTo>
                      <a:lnTo>
                        <a:pt x="1295" y="2910"/>
                      </a:lnTo>
                      <a:lnTo>
                        <a:pt x="1303" y="2916"/>
                      </a:lnTo>
                      <a:lnTo>
                        <a:pt x="1303" y="2919"/>
                      </a:lnTo>
                      <a:lnTo>
                        <a:pt x="1300" y="2919"/>
                      </a:lnTo>
                      <a:lnTo>
                        <a:pt x="1297" y="2919"/>
                      </a:lnTo>
                      <a:lnTo>
                        <a:pt x="1292" y="2925"/>
                      </a:lnTo>
                      <a:lnTo>
                        <a:pt x="1297" y="2933"/>
                      </a:lnTo>
                      <a:lnTo>
                        <a:pt x="1295" y="2936"/>
                      </a:lnTo>
                      <a:lnTo>
                        <a:pt x="1295" y="2944"/>
                      </a:lnTo>
                      <a:lnTo>
                        <a:pt x="1289" y="2954"/>
                      </a:lnTo>
                      <a:lnTo>
                        <a:pt x="1292" y="2961"/>
                      </a:lnTo>
                      <a:lnTo>
                        <a:pt x="1289" y="2966"/>
                      </a:lnTo>
                      <a:lnTo>
                        <a:pt x="1287" y="2971"/>
                      </a:lnTo>
                      <a:lnTo>
                        <a:pt x="1289" y="2979"/>
                      </a:lnTo>
                      <a:lnTo>
                        <a:pt x="1287" y="2985"/>
                      </a:lnTo>
                      <a:lnTo>
                        <a:pt x="1280" y="2985"/>
                      </a:lnTo>
                      <a:lnTo>
                        <a:pt x="1277" y="2990"/>
                      </a:lnTo>
                      <a:lnTo>
                        <a:pt x="1275" y="2994"/>
                      </a:lnTo>
                      <a:lnTo>
                        <a:pt x="1277" y="2999"/>
                      </a:lnTo>
                      <a:lnTo>
                        <a:pt x="1256" y="3018"/>
                      </a:lnTo>
                      <a:lnTo>
                        <a:pt x="1256" y="3035"/>
                      </a:lnTo>
                      <a:lnTo>
                        <a:pt x="1251" y="3040"/>
                      </a:lnTo>
                      <a:lnTo>
                        <a:pt x="1251" y="3048"/>
                      </a:lnTo>
                      <a:lnTo>
                        <a:pt x="1244" y="3054"/>
                      </a:lnTo>
                      <a:lnTo>
                        <a:pt x="1244" y="3063"/>
                      </a:lnTo>
                      <a:lnTo>
                        <a:pt x="1244" y="3066"/>
                      </a:lnTo>
                      <a:lnTo>
                        <a:pt x="1239" y="3068"/>
                      </a:lnTo>
                      <a:lnTo>
                        <a:pt x="1242" y="3074"/>
                      </a:lnTo>
                      <a:lnTo>
                        <a:pt x="1239" y="3076"/>
                      </a:lnTo>
                      <a:lnTo>
                        <a:pt x="1236" y="3076"/>
                      </a:lnTo>
                      <a:lnTo>
                        <a:pt x="1231" y="3079"/>
                      </a:lnTo>
                      <a:lnTo>
                        <a:pt x="1234" y="3082"/>
                      </a:lnTo>
                      <a:lnTo>
                        <a:pt x="1228" y="3084"/>
                      </a:lnTo>
                      <a:lnTo>
                        <a:pt x="1228" y="3087"/>
                      </a:lnTo>
                      <a:lnTo>
                        <a:pt x="1228" y="3090"/>
                      </a:lnTo>
                      <a:lnTo>
                        <a:pt x="1228" y="3092"/>
                      </a:lnTo>
                      <a:lnTo>
                        <a:pt x="1226" y="3099"/>
                      </a:lnTo>
                      <a:lnTo>
                        <a:pt x="1223" y="3101"/>
                      </a:lnTo>
                      <a:lnTo>
                        <a:pt x="1226" y="3112"/>
                      </a:lnTo>
                      <a:lnTo>
                        <a:pt x="1223" y="3120"/>
                      </a:lnTo>
                      <a:lnTo>
                        <a:pt x="1226" y="3123"/>
                      </a:lnTo>
                      <a:lnTo>
                        <a:pt x="1220" y="3132"/>
                      </a:lnTo>
                      <a:lnTo>
                        <a:pt x="1217" y="3135"/>
                      </a:lnTo>
                      <a:lnTo>
                        <a:pt x="1220" y="3140"/>
                      </a:lnTo>
                      <a:lnTo>
                        <a:pt x="1217" y="3143"/>
                      </a:lnTo>
                      <a:lnTo>
                        <a:pt x="1217" y="3148"/>
                      </a:lnTo>
                      <a:lnTo>
                        <a:pt x="1215" y="3151"/>
                      </a:lnTo>
                      <a:lnTo>
                        <a:pt x="1203" y="3159"/>
                      </a:lnTo>
                      <a:lnTo>
                        <a:pt x="1203" y="3161"/>
                      </a:lnTo>
                      <a:lnTo>
                        <a:pt x="1215" y="3168"/>
                      </a:lnTo>
                      <a:lnTo>
                        <a:pt x="1208" y="3173"/>
                      </a:lnTo>
                      <a:lnTo>
                        <a:pt x="1200" y="3170"/>
                      </a:lnTo>
                      <a:lnTo>
                        <a:pt x="1200" y="3173"/>
                      </a:lnTo>
                      <a:lnTo>
                        <a:pt x="1198" y="3173"/>
                      </a:lnTo>
                      <a:lnTo>
                        <a:pt x="1195" y="3178"/>
                      </a:lnTo>
                      <a:lnTo>
                        <a:pt x="1192" y="3186"/>
                      </a:lnTo>
                      <a:lnTo>
                        <a:pt x="1195" y="3189"/>
                      </a:lnTo>
                      <a:lnTo>
                        <a:pt x="1192" y="3192"/>
                      </a:lnTo>
                      <a:lnTo>
                        <a:pt x="1184" y="3212"/>
                      </a:lnTo>
                      <a:lnTo>
                        <a:pt x="1178" y="3212"/>
                      </a:lnTo>
                      <a:lnTo>
                        <a:pt x="1173" y="3214"/>
                      </a:lnTo>
                      <a:lnTo>
                        <a:pt x="1175" y="3220"/>
                      </a:lnTo>
                      <a:lnTo>
                        <a:pt x="1170" y="3220"/>
                      </a:lnTo>
                      <a:lnTo>
                        <a:pt x="1165" y="3222"/>
                      </a:lnTo>
                      <a:lnTo>
                        <a:pt x="1162" y="3233"/>
                      </a:lnTo>
                      <a:lnTo>
                        <a:pt x="1157" y="3230"/>
                      </a:lnTo>
                      <a:lnTo>
                        <a:pt x="1149" y="3239"/>
                      </a:lnTo>
                      <a:lnTo>
                        <a:pt x="1146" y="3239"/>
                      </a:lnTo>
                      <a:lnTo>
                        <a:pt x="1146" y="3242"/>
                      </a:lnTo>
                      <a:lnTo>
                        <a:pt x="1142" y="3247"/>
                      </a:lnTo>
                      <a:lnTo>
                        <a:pt x="1137" y="3250"/>
                      </a:lnTo>
                      <a:lnTo>
                        <a:pt x="1134" y="3255"/>
                      </a:lnTo>
                      <a:lnTo>
                        <a:pt x="1137" y="3258"/>
                      </a:lnTo>
                      <a:lnTo>
                        <a:pt x="1142" y="3261"/>
                      </a:lnTo>
                      <a:lnTo>
                        <a:pt x="1142" y="3264"/>
                      </a:lnTo>
                      <a:lnTo>
                        <a:pt x="1139" y="3266"/>
                      </a:lnTo>
                      <a:lnTo>
                        <a:pt x="1137" y="3266"/>
                      </a:lnTo>
                      <a:lnTo>
                        <a:pt x="1134" y="3269"/>
                      </a:lnTo>
                      <a:lnTo>
                        <a:pt x="1131" y="3275"/>
                      </a:lnTo>
                      <a:lnTo>
                        <a:pt x="1129" y="3278"/>
                      </a:lnTo>
                      <a:lnTo>
                        <a:pt x="1131" y="3281"/>
                      </a:lnTo>
                      <a:lnTo>
                        <a:pt x="1126" y="3283"/>
                      </a:lnTo>
                      <a:lnTo>
                        <a:pt x="1126" y="3286"/>
                      </a:lnTo>
                      <a:lnTo>
                        <a:pt x="1126" y="3291"/>
                      </a:lnTo>
                      <a:lnTo>
                        <a:pt x="1126" y="3294"/>
                      </a:lnTo>
                      <a:lnTo>
                        <a:pt x="1126" y="3297"/>
                      </a:lnTo>
                      <a:lnTo>
                        <a:pt x="1121" y="3302"/>
                      </a:lnTo>
                      <a:lnTo>
                        <a:pt x="1123" y="3308"/>
                      </a:lnTo>
                      <a:lnTo>
                        <a:pt x="1126" y="3316"/>
                      </a:lnTo>
                      <a:lnTo>
                        <a:pt x="1126" y="3319"/>
                      </a:lnTo>
                      <a:lnTo>
                        <a:pt x="1131" y="3324"/>
                      </a:lnTo>
                      <a:lnTo>
                        <a:pt x="1134" y="3333"/>
                      </a:lnTo>
                      <a:lnTo>
                        <a:pt x="1142" y="3338"/>
                      </a:lnTo>
                      <a:lnTo>
                        <a:pt x="1142" y="3344"/>
                      </a:lnTo>
                      <a:lnTo>
                        <a:pt x="1146" y="3350"/>
                      </a:lnTo>
                      <a:lnTo>
                        <a:pt x="1142" y="3355"/>
                      </a:lnTo>
                      <a:lnTo>
                        <a:pt x="1146" y="3358"/>
                      </a:lnTo>
                      <a:lnTo>
                        <a:pt x="1149" y="3360"/>
                      </a:lnTo>
                      <a:lnTo>
                        <a:pt x="1149" y="3366"/>
                      </a:lnTo>
                      <a:lnTo>
                        <a:pt x="1149" y="3368"/>
                      </a:lnTo>
                      <a:lnTo>
                        <a:pt x="1151" y="3368"/>
                      </a:lnTo>
                      <a:lnTo>
                        <a:pt x="1151" y="3374"/>
                      </a:lnTo>
                      <a:lnTo>
                        <a:pt x="1149" y="3374"/>
                      </a:lnTo>
                      <a:lnTo>
                        <a:pt x="1149" y="3380"/>
                      </a:lnTo>
                      <a:lnTo>
                        <a:pt x="1149" y="3391"/>
                      </a:lnTo>
                      <a:lnTo>
                        <a:pt x="1151" y="3393"/>
                      </a:lnTo>
                      <a:lnTo>
                        <a:pt x="1154" y="3401"/>
                      </a:lnTo>
                      <a:lnTo>
                        <a:pt x="1157" y="3404"/>
                      </a:lnTo>
                      <a:lnTo>
                        <a:pt x="1162" y="3411"/>
                      </a:lnTo>
                      <a:lnTo>
                        <a:pt x="1159" y="3413"/>
                      </a:lnTo>
                      <a:lnTo>
                        <a:pt x="1157" y="3413"/>
                      </a:lnTo>
                      <a:lnTo>
                        <a:pt x="1159" y="3421"/>
                      </a:lnTo>
                      <a:lnTo>
                        <a:pt x="1159" y="3429"/>
                      </a:lnTo>
                      <a:lnTo>
                        <a:pt x="1162" y="3429"/>
                      </a:lnTo>
                      <a:lnTo>
                        <a:pt x="1159" y="3437"/>
                      </a:lnTo>
                      <a:lnTo>
                        <a:pt x="1159" y="3443"/>
                      </a:lnTo>
                      <a:lnTo>
                        <a:pt x="1162" y="3449"/>
                      </a:lnTo>
                      <a:lnTo>
                        <a:pt x="1162" y="3454"/>
                      </a:lnTo>
                      <a:lnTo>
                        <a:pt x="1157" y="3454"/>
                      </a:lnTo>
                      <a:lnTo>
                        <a:pt x="1157" y="3457"/>
                      </a:lnTo>
                      <a:lnTo>
                        <a:pt x="1159" y="3462"/>
                      </a:lnTo>
                      <a:lnTo>
                        <a:pt x="1159" y="3465"/>
                      </a:lnTo>
                      <a:lnTo>
                        <a:pt x="1162" y="3465"/>
                      </a:lnTo>
                      <a:lnTo>
                        <a:pt x="1162" y="3470"/>
                      </a:lnTo>
                      <a:lnTo>
                        <a:pt x="1165" y="3470"/>
                      </a:lnTo>
                      <a:lnTo>
                        <a:pt x="1162" y="3476"/>
                      </a:lnTo>
                      <a:lnTo>
                        <a:pt x="1165" y="3480"/>
                      </a:lnTo>
                      <a:lnTo>
                        <a:pt x="1167" y="3476"/>
                      </a:lnTo>
                      <a:lnTo>
                        <a:pt x="1170" y="3480"/>
                      </a:lnTo>
                      <a:lnTo>
                        <a:pt x="1175" y="3482"/>
                      </a:lnTo>
                      <a:lnTo>
                        <a:pt x="1182" y="3482"/>
                      </a:lnTo>
                      <a:lnTo>
                        <a:pt x="1184" y="3485"/>
                      </a:lnTo>
                      <a:lnTo>
                        <a:pt x="1190" y="3490"/>
                      </a:lnTo>
                      <a:lnTo>
                        <a:pt x="1192" y="3496"/>
                      </a:lnTo>
                      <a:lnTo>
                        <a:pt x="1200" y="3506"/>
                      </a:lnTo>
                      <a:lnTo>
                        <a:pt x="1200" y="3509"/>
                      </a:lnTo>
                      <a:lnTo>
                        <a:pt x="1200" y="3515"/>
                      </a:lnTo>
                      <a:lnTo>
                        <a:pt x="1203" y="3515"/>
                      </a:lnTo>
                      <a:lnTo>
                        <a:pt x="1200" y="3518"/>
                      </a:lnTo>
                      <a:lnTo>
                        <a:pt x="1203" y="3518"/>
                      </a:lnTo>
                      <a:lnTo>
                        <a:pt x="1203" y="3521"/>
                      </a:lnTo>
                      <a:lnTo>
                        <a:pt x="1206" y="3523"/>
                      </a:lnTo>
                      <a:lnTo>
                        <a:pt x="1203" y="3526"/>
                      </a:lnTo>
                      <a:lnTo>
                        <a:pt x="1206" y="3526"/>
                      </a:lnTo>
                      <a:lnTo>
                        <a:pt x="1203" y="3529"/>
                      </a:lnTo>
                      <a:lnTo>
                        <a:pt x="1206" y="3534"/>
                      </a:lnTo>
                      <a:lnTo>
                        <a:pt x="1200" y="3537"/>
                      </a:lnTo>
                      <a:lnTo>
                        <a:pt x="1200" y="3539"/>
                      </a:lnTo>
                      <a:lnTo>
                        <a:pt x="1195" y="3542"/>
                      </a:lnTo>
                      <a:lnTo>
                        <a:pt x="1192" y="3551"/>
                      </a:lnTo>
                      <a:lnTo>
                        <a:pt x="1192" y="3554"/>
                      </a:lnTo>
                      <a:lnTo>
                        <a:pt x="1187" y="3557"/>
                      </a:lnTo>
                      <a:lnTo>
                        <a:pt x="1190" y="3562"/>
                      </a:lnTo>
                      <a:lnTo>
                        <a:pt x="1184" y="3567"/>
                      </a:lnTo>
                      <a:lnTo>
                        <a:pt x="1184" y="3573"/>
                      </a:lnTo>
                      <a:lnTo>
                        <a:pt x="1187" y="3578"/>
                      </a:lnTo>
                      <a:lnTo>
                        <a:pt x="1184" y="3581"/>
                      </a:lnTo>
                      <a:lnTo>
                        <a:pt x="1187" y="3583"/>
                      </a:lnTo>
                      <a:lnTo>
                        <a:pt x="1190" y="3587"/>
                      </a:lnTo>
                      <a:lnTo>
                        <a:pt x="1192" y="3592"/>
                      </a:lnTo>
                      <a:lnTo>
                        <a:pt x="1192" y="3595"/>
                      </a:lnTo>
                      <a:lnTo>
                        <a:pt x="1190" y="3595"/>
                      </a:lnTo>
                      <a:lnTo>
                        <a:pt x="1190" y="3598"/>
                      </a:lnTo>
                      <a:lnTo>
                        <a:pt x="1187" y="3606"/>
                      </a:lnTo>
                      <a:lnTo>
                        <a:pt x="1190" y="3616"/>
                      </a:lnTo>
                      <a:lnTo>
                        <a:pt x="1184" y="3626"/>
                      </a:lnTo>
                      <a:lnTo>
                        <a:pt x="1190" y="3628"/>
                      </a:lnTo>
                      <a:lnTo>
                        <a:pt x="1187" y="3631"/>
                      </a:lnTo>
                      <a:lnTo>
                        <a:pt x="1190" y="3634"/>
                      </a:lnTo>
                      <a:lnTo>
                        <a:pt x="1190" y="3636"/>
                      </a:lnTo>
                      <a:lnTo>
                        <a:pt x="1192" y="3642"/>
                      </a:lnTo>
                      <a:lnTo>
                        <a:pt x="1190" y="3644"/>
                      </a:lnTo>
                      <a:lnTo>
                        <a:pt x="1192" y="3650"/>
                      </a:lnTo>
                      <a:lnTo>
                        <a:pt x="1192" y="3652"/>
                      </a:lnTo>
                      <a:lnTo>
                        <a:pt x="1192" y="3656"/>
                      </a:lnTo>
                      <a:lnTo>
                        <a:pt x="1190" y="3664"/>
                      </a:lnTo>
                      <a:lnTo>
                        <a:pt x="1184" y="3667"/>
                      </a:lnTo>
                      <a:lnTo>
                        <a:pt x="1182" y="3669"/>
                      </a:lnTo>
                      <a:lnTo>
                        <a:pt x="1182" y="3672"/>
                      </a:lnTo>
                      <a:lnTo>
                        <a:pt x="1178" y="3683"/>
                      </a:lnTo>
                      <a:lnTo>
                        <a:pt x="1178" y="3685"/>
                      </a:lnTo>
                      <a:lnTo>
                        <a:pt x="1173" y="3695"/>
                      </a:lnTo>
                      <a:lnTo>
                        <a:pt x="1173" y="3697"/>
                      </a:lnTo>
                      <a:lnTo>
                        <a:pt x="1175" y="3700"/>
                      </a:lnTo>
                      <a:lnTo>
                        <a:pt x="1175" y="3703"/>
                      </a:lnTo>
                      <a:lnTo>
                        <a:pt x="1175" y="3713"/>
                      </a:lnTo>
                      <a:lnTo>
                        <a:pt x="1178" y="3716"/>
                      </a:lnTo>
                      <a:lnTo>
                        <a:pt x="1182" y="3719"/>
                      </a:lnTo>
                      <a:lnTo>
                        <a:pt x="1184" y="3728"/>
                      </a:lnTo>
                      <a:lnTo>
                        <a:pt x="1182" y="3733"/>
                      </a:lnTo>
                      <a:lnTo>
                        <a:pt x="1182" y="3736"/>
                      </a:lnTo>
                      <a:lnTo>
                        <a:pt x="1178" y="3744"/>
                      </a:lnTo>
                      <a:lnTo>
                        <a:pt x="1178" y="3749"/>
                      </a:lnTo>
                      <a:lnTo>
                        <a:pt x="1173" y="3755"/>
                      </a:lnTo>
                      <a:lnTo>
                        <a:pt x="1173" y="3757"/>
                      </a:lnTo>
                      <a:lnTo>
                        <a:pt x="1170" y="3769"/>
                      </a:lnTo>
                      <a:lnTo>
                        <a:pt x="1170" y="3774"/>
                      </a:lnTo>
                      <a:lnTo>
                        <a:pt x="1167" y="3774"/>
                      </a:lnTo>
                      <a:lnTo>
                        <a:pt x="1173" y="3780"/>
                      </a:lnTo>
                      <a:lnTo>
                        <a:pt x="1167" y="3797"/>
                      </a:lnTo>
                      <a:lnTo>
                        <a:pt x="1165" y="3799"/>
                      </a:lnTo>
                      <a:lnTo>
                        <a:pt x="1162" y="3807"/>
                      </a:lnTo>
                      <a:lnTo>
                        <a:pt x="1159" y="3815"/>
                      </a:lnTo>
                      <a:lnTo>
                        <a:pt x="1154" y="3818"/>
                      </a:lnTo>
                      <a:lnTo>
                        <a:pt x="1154" y="3821"/>
                      </a:lnTo>
                      <a:lnTo>
                        <a:pt x="1151" y="3824"/>
                      </a:lnTo>
                      <a:lnTo>
                        <a:pt x="1149" y="3833"/>
                      </a:lnTo>
                      <a:lnTo>
                        <a:pt x="1146" y="3833"/>
                      </a:lnTo>
                      <a:lnTo>
                        <a:pt x="1139" y="3833"/>
                      </a:lnTo>
                      <a:lnTo>
                        <a:pt x="1139" y="3838"/>
                      </a:lnTo>
                      <a:lnTo>
                        <a:pt x="1137" y="3843"/>
                      </a:lnTo>
                      <a:lnTo>
                        <a:pt x="1139" y="3859"/>
                      </a:lnTo>
                      <a:lnTo>
                        <a:pt x="1129" y="3854"/>
                      </a:lnTo>
                      <a:lnTo>
                        <a:pt x="1121" y="3857"/>
                      </a:lnTo>
                      <a:lnTo>
                        <a:pt x="1118" y="3859"/>
                      </a:lnTo>
                      <a:lnTo>
                        <a:pt x="1113" y="3851"/>
                      </a:lnTo>
                      <a:lnTo>
                        <a:pt x="1109" y="3826"/>
                      </a:lnTo>
                      <a:lnTo>
                        <a:pt x="1106" y="3824"/>
                      </a:lnTo>
                      <a:lnTo>
                        <a:pt x="1104" y="3824"/>
                      </a:lnTo>
                      <a:lnTo>
                        <a:pt x="1098" y="3826"/>
                      </a:lnTo>
                      <a:lnTo>
                        <a:pt x="1080" y="3841"/>
                      </a:lnTo>
                      <a:lnTo>
                        <a:pt x="1062" y="3838"/>
                      </a:lnTo>
                      <a:lnTo>
                        <a:pt x="1052" y="3841"/>
                      </a:lnTo>
                      <a:lnTo>
                        <a:pt x="1044" y="3830"/>
                      </a:lnTo>
                      <a:lnTo>
                        <a:pt x="1040" y="3826"/>
                      </a:lnTo>
                      <a:lnTo>
                        <a:pt x="1037" y="3824"/>
                      </a:lnTo>
                      <a:lnTo>
                        <a:pt x="1032" y="3821"/>
                      </a:lnTo>
                      <a:lnTo>
                        <a:pt x="1021" y="3824"/>
                      </a:lnTo>
                      <a:lnTo>
                        <a:pt x="1008" y="3826"/>
                      </a:lnTo>
                      <a:lnTo>
                        <a:pt x="996" y="3826"/>
                      </a:lnTo>
                      <a:lnTo>
                        <a:pt x="991" y="3824"/>
                      </a:lnTo>
                      <a:lnTo>
                        <a:pt x="985" y="3830"/>
                      </a:lnTo>
                      <a:lnTo>
                        <a:pt x="977" y="3824"/>
                      </a:lnTo>
                      <a:lnTo>
                        <a:pt x="968" y="3821"/>
                      </a:lnTo>
                      <a:lnTo>
                        <a:pt x="963" y="3802"/>
                      </a:lnTo>
                      <a:lnTo>
                        <a:pt x="950" y="3785"/>
                      </a:lnTo>
                      <a:lnTo>
                        <a:pt x="947" y="3785"/>
                      </a:lnTo>
                      <a:lnTo>
                        <a:pt x="938" y="3782"/>
                      </a:lnTo>
                      <a:lnTo>
                        <a:pt x="935" y="3774"/>
                      </a:lnTo>
                      <a:lnTo>
                        <a:pt x="933" y="3772"/>
                      </a:lnTo>
                      <a:lnTo>
                        <a:pt x="933" y="3757"/>
                      </a:lnTo>
                      <a:lnTo>
                        <a:pt x="924" y="3747"/>
                      </a:lnTo>
                      <a:lnTo>
                        <a:pt x="927" y="3741"/>
                      </a:lnTo>
                      <a:lnTo>
                        <a:pt x="924" y="3730"/>
                      </a:lnTo>
                      <a:lnTo>
                        <a:pt x="930" y="3725"/>
                      </a:lnTo>
                      <a:lnTo>
                        <a:pt x="924" y="3719"/>
                      </a:lnTo>
                      <a:lnTo>
                        <a:pt x="924" y="3711"/>
                      </a:lnTo>
                      <a:lnTo>
                        <a:pt x="927" y="3708"/>
                      </a:lnTo>
                      <a:lnTo>
                        <a:pt x="927" y="3700"/>
                      </a:lnTo>
                      <a:lnTo>
                        <a:pt x="919" y="3697"/>
                      </a:lnTo>
                      <a:lnTo>
                        <a:pt x="919" y="3695"/>
                      </a:lnTo>
                      <a:lnTo>
                        <a:pt x="924" y="3692"/>
                      </a:lnTo>
                      <a:lnTo>
                        <a:pt x="919" y="3685"/>
                      </a:lnTo>
                      <a:lnTo>
                        <a:pt x="916" y="3685"/>
                      </a:lnTo>
                      <a:lnTo>
                        <a:pt x="919" y="3677"/>
                      </a:lnTo>
                      <a:lnTo>
                        <a:pt x="914" y="3672"/>
                      </a:lnTo>
                      <a:lnTo>
                        <a:pt x="911" y="3667"/>
                      </a:lnTo>
                      <a:lnTo>
                        <a:pt x="899" y="3672"/>
                      </a:lnTo>
                      <a:lnTo>
                        <a:pt x="891" y="3672"/>
                      </a:lnTo>
                      <a:lnTo>
                        <a:pt x="883" y="3669"/>
                      </a:lnTo>
                      <a:lnTo>
                        <a:pt x="883" y="3667"/>
                      </a:lnTo>
                      <a:lnTo>
                        <a:pt x="886" y="3659"/>
                      </a:lnTo>
                      <a:lnTo>
                        <a:pt x="889" y="3656"/>
                      </a:lnTo>
                      <a:lnTo>
                        <a:pt x="886" y="3650"/>
                      </a:lnTo>
                      <a:lnTo>
                        <a:pt x="878" y="3644"/>
                      </a:lnTo>
                      <a:lnTo>
                        <a:pt x="864" y="3644"/>
                      </a:lnTo>
                      <a:lnTo>
                        <a:pt x="858" y="3644"/>
                      </a:lnTo>
                      <a:lnTo>
                        <a:pt x="858" y="3642"/>
                      </a:lnTo>
                      <a:lnTo>
                        <a:pt x="855" y="3639"/>
                      </a:lnTo>
                      <a:lnTo>
                        <a:pt x="855" y="3634"/>
                      </a:lnTo>
                      <a:lnTo>
                        <a:pt x="853" y="3623"/>
                      </a:lnTo>
                      <a:lnTo>
                        <a:pt x="869" y="3611"/>
                      </a:lnTo>
                      <a:lnTo>
                        <a:pt x="873" y="3606"/>
                      </a:lnTo>
                      <a:lnTo>
                        <a:pt x="873" y="3595"/>
                      </a:lnTo>
                      <a:lnTo>
                        <a:pt x="878" y="3587"/>
                      </a:lnTo>
                      <a:lnTo>
                        <a:pt x="878" y="3578"/>
                      </a:lnTo>
                      <a:lnTo>
                        <a:pt x="883" y="3575"/>
                      </a:lnTo>
                      <a:lnTo>
                        <a:pt x="899" y="3565"/>
                      </a:lnTo>
                      <a:lnTo>
                        <a:pt x="899" y="3562"/>
                      </a:lnTo>
                      <a:lnTo>
                        <a:pt x="891" y="3559"/>
                      </a:lnTo>
                      <a:lnTo>
                        <a:pt x="891" y="3557"/>
                      </a:lnTo>
                      <a:lnTo>
                        <a:pt x="886" y="3548"/>
                      </a:lnTo>
                      <a:lnTo>
                        <a:pt x="886" y="3545"/>
                      </a:lnTo>
                      <a:lnTo>
                        <a:pt x="891" y="3539"/>
                      </a:lnTo>
                      <a:lnTo>
                        <a:pt x="891" y="3534"/>
                      </a:lnTo>
                      <a:lnTo>
                        <a:pt x="886" y="3531"/>
                      </a:lnTo>
                      <a:lnTo>
                        <a:pt x="878" y="3534"/>
                      </a:lnTo>
                      <a:lnTo>
                        <a:pt x="875" y="3529"/>
                      </a:lnTo>
                      <a:lnTo>
                        <a:pt x="869" y="3526"/>
                      </a:lnTo>
                      <a:lnTo>
                        <a:pt x="864" y="3526"/>
                      </a:lnTo>
                      <a:lnTo>
                        <a:pt x="858" y="3521"/>
                      </a:lnTo>
                      <a:lnTo>
                        <a:pt x="855" y="3518"/>
                      </a:lnTo>
                      <a:lnTo>
                        <a:pt x="855" y="3512"/>
                      </a:lnTo>
                      <a:lnTo>
                        <a:pt x="858" y="3506"/>
                      </a:lnTo>
                      <a:lnTo>
                        <a:pt x="861" y="3504"/>
                      </a:lnTo>
                      <a:lnTo>
                        <a:pt x="853" y="3501"/>
                      </a:lnTo>
                      <a:lnTo>
                        <a:pt x="847" y="3496"/>
                      </a:lnTo>
                      <a:lnTo>
                        <a:pt x="845" y="3496"/>
                      </a:lnTo>
                      <a:lnTo>
                        <a:pt x="837" y="3498"/>
                      </a:lnTo>
                      <a:lnTo>
                        <a:pt x="825" y="3498"/>
                      </a:lnTo>
                      <a:lnTo>
                        <a:pt x="820" y="3501"/>
                      </a:lnTo>
                      <a:lnTo>
                        <a:pt x="817" y="3504"/>
                      </a:lnTo>
                      <a:lnTo>
                        <a:pt x="817" y="3506"/>
                      </a:lnTo>
                      <a:lnTo>
                        <a:pt x="809" y="3504"/>
                      </a:lnTo>
                      <a:lnTo>
                        <a:pt x="809" y="3501"/>
                      </a:lnTo>
                      <a:lnTo>
                        <a:pt x="812" y="3493"/>
                      </a:lnTo>
                      <a:lnTo>
                        <a:pt x="806" y="3485"/>
                      </a:lnTo>
                      <a:lnTo>
                        <a:pt x="803" y="3482"/>
                      </a:lnTo>
                      <a:lnTo>
                        <a:pt x="800" y="3480"/>
                      </a:lnTo>
                      <a:lnTo>
                        <a:pt x="794" y="3473"/>
                      </a:lnTo>
                      <a:lnTo>
                        <a:pt x="789" y="3465"/>
                      </a:lnTo>
                      <a:lnTo>
                        <a:pt x="789" y="3460"/>
                      </a:lnTo>
                      <a:lnTo>
                        <a:pt x="786" y="3460"/>
                      </a:lnTo>
                      <a:lnTo>
                        <a:pt x="778" y="3462"/>
                      </a:lnTo>
                      <a:lnTo>
                        <a:pt x="776" y="3457"/>
                      </a:lnTo>
                      <a:lnTo>
                        <a:pt x="776" y="3454"/>
                      </a:lnTo>
                      <a:lnTo>
                        <a:pt x="776" y="3452"/>
                      </a:lnTo>
                      <a:lnTo>
                        <a:pt x="781" y="3449"/>
                      </a:lnTo>
                      <a:lnTo>
                        <a:pt x="781" y="3446"/>
                      </a:lnTo>
                      <a:lnTo>
                        <a:pt x="784" y="3443"/>
                      </a:lnTo>
                      <a:lnTo>
                        <a:pt x="786" y="3440"/>
                      </a:lnTo>
                      <a:lnTo>
                        <a:pt x="781" y="3432"/>
                      </a:lnTo>
                      <a:lnTo>
                        <a:pt x="784" y="3427"/>
                      </a:lnTo>
                      <a:lnTo>
                        <a:pt x="786" y="3421"/>
                      </a:lnTo>
                      <a:lnTo>
                        <a:pt x="784" y="3416"/>
                      </a:lnTo>
                      <a:lnTo>
                        <a:pt x="784" y="3413"/>
                      </a:lnTo>
                      <a:lnTo>
                        <a:pt x="778" y="3416"/>
                      </a:lnTo>
                      <a:lnTo>
                        <a:pt x="773" y="3413"/>
                      </a:lnTo>
                      <a:lnTo>
                        <a:pt x="773" y="3411"/>
                      </a:lnTo>
                      <a:lnTo>
                        <a:pt x="776" y="3401"/>
                      </a:lnTo>
                      <a:lnTo>
                        <a:pt x="773" y="3396"/>
                      </a:lnTo>
                      <a:lnTo>
                        <a:pt x="770" y="3393"/>
                      </a:lnTo>
                      <a:lnTo>
                        <a:pt x="759" y="3391"/>
                      </a:lnTo>
                      <a:lnTo>
                        <a:pt x="756" y="3391"/>
                      </a:lnTo>
                      <a:lnTo>
                        <a:pt x="756" y="3385"/>
                      </a:lnTo>
                      <a:lnTo>
                        <a:pt x="756" y="3383"/>
                      </a:lnTo>
                      <a:lnTo>
                        <a:pt x="753" y="3385"/>
                      </a:lnTo>
                      <a:lnTo>
                        <a:pt x="751" y="3388"/>
                      </a:lnTo>
                      <a:lnTo>
                        <a:pt x="745" y="3388"/>
                      </a:lnTo>
                      <a:lnTo>
                        <a:pt x="743" y="3388"/>
                      </a:lnTo>
                      <a:lnTo>
                        <a:pt x="740" y="3383"/>
                      </a:lnTo>
                      <a:lnTo>
                        <a:pt x="743" y="3383"/>
                      </a:lnTo>
                      <a:lnTo>
                        <a:pt x="740" y="3377"/>
                      </a:lnTo>
                      <a:lnTo>
                        <a:pt x="743" y="3374"/>
                      </a:lnTo>
                      <a:lnTo>
                        <a:pt x="740" y="3371"/>
                      </a:lnTo>
                      <a:lnTo>
                        <a:pt x="743" y="3371"/>
                      </a:lnTo>
                      <a:lnTo>
                        <a:pt x="740" y="3368"/>
                      </a:lnTo>
                      <a:lnTo>
                        <a:pt x="743" y="3368"/>
                      </a:lnTo>
                      <a:lnTo>
                        <a:pt x="745" y="3368"/>
                      </a:lnTo>
                      <a:lnTo>
                        <a:pt x="748" y="3366"/>
                      </a:lnTo>
                      <a:lnTo>
                        <a:pt x="745" y="3360"/>
                      </a:lnTo>
                      <a:lnTo>
                        <a:pt x="737" y="3360"/>
                      </a:lnTo>
                      <a:lnTo>
                        <a:pt x="723" y="3366"/>
                      </a:lnTo>
                      <a:lnTo>
                        <a:pt x="717" y="3363"/>
                      </a:lnTo>
                      <a:lnTo>
                        <a:pt x="712" y="3363"/>
                      </a:lnTo>
                      <a:lnTo>
                        <a:pt x="712" y="3366"/>
                      </a:lnTo>
                      <a:lnTo>
                        <a:pt x="709" y="3366"/>
                      </a:lnTo>
                      <a:lnTo>
                        <a:pt x="707" y="3366"/>
                      </a:lnTo>
                      <a:lnTo>
                        <a:pt x="709" y="3360"/>
                      </a:lnTo>
                      <a:lnTo>
                        <a:pt x="704" y="3363"/>
                      </a:lnTo>
                      <a:lnTo>
                        <a:pt x="699" y="3360"/>
                      </a:lnTo>
                      <a:lnTo>
                        <a:pt x="692" y="3360"/>
                      </a:lnTo>
                      <a:lnTo>
                        <a:pt x="692" y="3363"/>
                      </a:lnTo>
                      <a:lnTo>
                        <a:pt x="684" y="3358"/>
                      </a:lnTo>
                      <a:lnTo>
                        <a:pt x="684" y="3355"/>
                      </a:lnTo>
                      <a:lnTo>
                        <a:pt x="690" y="3355"/>
                      </a:lnTo>
                      <a:lnTo>
                        <a:pt x="687" y="3352"/>
                      </a:lnTo>
                      <a:lnTo>
                        <a:pt x="690" y="3352"/>
                      </a:lnTo>
                      <a:lnTo>
                        <a:pt x="690" y="3350"/>
                      </a:lnTo>
                      <a:lnTo>
                        <a:pt x="690" y="3347"/>
                      </a:lnTo>
                      <a:lnTo>
                        <a:pt x="695" y="3344"/>
                      </a:lnTo>
                      <a:lnTo>
                        <a:pt x="695" y="3342"/>
                      </a:lnTo>
                      <a:lnTo>
                        <a:pt x="692" y="3342"/>
                      </a:lnTo>
                      <a:lnTo>
                        <a:pt x="692" y="3338"/>
                      </a:lnTo>
                      <a:lnTo>
                        <a:pt x="690" y="3342"/>
                      </a:lnTo>
                      <a:lnTo>
                        <a:pt x="684" y="3338"/>
                      </a:lnTo>
                      <a:lnTo>
                        <a:pt x="687" y="3335"/>
                      </a:lnTo>
                      <a:lnTo>
                        <a:pt x="695" y="3335"/>
                      </a:lnTo>
                      <a:lnTo>
                        <a:pt x="695" y="3333"/>
                      </a:lnTo>
                      <a:lnTo>
                        <a:pt x="699" y="3327"/>
                      </a:lnTo>
                      <a:lnTo>
                        <a:pt x="699" y="3324"/>
                      </a:lnTo>
                      <a:lnTo>
                        <a:pt x="699" y="3327"/>
                      </a:lnTo>
                      <a:lnTo>
                        <a:pt x="704" y="3327"/>
                      </a:lnTo>
                      <a:lnTo>
                        <a:pt x="704" y="3324"/>
                      </a:lnTo>
                      <a:lnTo>
                        <a:pt x="707" y="3322"/>
                      </a:lnTo>
                      <a:lnTo>
                        <a:pt x="707" y="3319"/>
                      </a:lnTo>
                      <a:lnTo>
                        <a:pt x="704" y="3314"/>
                      </a:lnTo>
                      <a:lnTo>
                        <a:pt x="707" y="3311"/>
                      </a:lnTo>
                      <a:lnTo>
                        <a:pt x="709" y="3311"/>
                      </a:lnTo>
                      <a:lnTo>
                        <a:pt x="715" y="3308"/>
                      </a:lnTo>
                      <a:lnTo>
                        <a:pt x="715" y="3306"/>
                      </a:lnTo>
                      <a:lnTo>
                        <a:pt x="720" y="3302"/>
                      </a:lnTo>
                      <a:lnTo>
                        <a:pt x="720" y="3299"/>
                      </a:lnTo>
                      <a:lnTo>
                        <a:pt x="725" y="3297"/>
                      </a:lnTo>
                      <a:lnTo>
                        <a:pt x="723" y="3291"/>
                      </a:lnTo>
                      <a:lnTo>
                        <a:pt x="720" y="3291"/>
                      </a:lnTo>
                      <a:lnTo>
                        <a:pt x="717" y="3289"/>
                      </a:lnTo>
                      <a:lnTo>
                        <a:pt x="717" y="3286"/>
                      </a:lnTo>
                      <a:lnTo>
                        <a:pt x="715" y="3281"/>
                      </a:lnTo>
                      <a:lnTo>
                        <a:pt x="720" y="3278"/>
                      </a:lnTo>
                      <a:lnTo>
                        <a:pt x="723" y="3278"/>
                      </a:lnTo>
                      <a:lnTo>
                        <a:pt x="725" y="3278"/>
                      </a:lnTo>
                      <a:lnTo>
                        <a:pt x="728" y="3281"/>
                      </a:lnTo>
                      <a:lnTo>
                        <a:pt x="731" y="3278"/>
                      </a:lnTo>
                      <a:lnTo>
                        <a:pt x="737" y="3273"/>
                      </a:lnTo>
                      <a:lnTo>
                        <a:pt x="745" y="3273"/>
                      </a:lnTo>
                      <a:lnTo>
                        <a:pt x="748" y="3269"/>
                      </a:lnTo>
                      <a:lnTo>
                        <a:pt x="745" y="3266"/>
                      </a:lnTo>
                      <a:lnTo>
                        <a:pt x="745" y="3264"/>
                      </a:lnTo>
                      <a:lnTo>
                        <a:pt x="748" y="3264"/>
                      </a:lnTo>
                      <a:lnTo>
                        <a:pt x="751" y="3261"/>
                      </a:lnTo>
                      <a:lnTo>
                        <a:pt x="748" y="3258"/>
                      </a:lnTo>
                      <a:lnTo>
                        <a:pt x="751" y="3255"/>
                      </a:lnTo>
                      <a:lnTo>
                        <a:pt x="751" y="3247"/>
                      </a:lnTo>
                      <a:lnTo>
                        <a:pt x="753" y="3245"/>
                      </a:lnTo>
                      <a:lnTo>
                        <a:pt x="751" y="3237"/>
                      </a:lnTo>
                      <a:lnTo>
                        <a:pt x="748" y="3237"/>
                      </a:lnTo>
                      <a:lnTo>
                        <a:pt x="748" y="3233"/>
                      </a:lnTo>
                      <a:lnTo>
                        <a:pt x="745" y="3233"/>
                      </a:lnTo>
                      <a:lnTo>
                        <a:pt x="745" y="3228"/>
                      </a:lnTo>
                      <a:lnTo>
                        <a:pt x="743" y="3225"/>
                      </a:lnTo>
                      <a:lnTo>
                        <a:pt x="740" y="3217"/>
                      </a:lnTo>
                      <a:lnTo>
                        <a:pt x="743" y="3217"/>
                      </a:lnTo>
                      <a:lnTo>
                        <a:pt x="745" y="3217"/>
                      </a:lnTo>
                      <a:lnTo>
                        <a:pt x="748" y="3217"/>
                      </a:lnTo>
                      <a:lnTo>
                        <a:pt x="748" y="3209"/>
                      </a:lnTo>
                      <a:lnTo>
                        <a:pt x="753" y="3203"/>
                      </a:lnTo>
                      <a:lnTo>
                        <a:pt x="756" y="3203"/>
                      </a:lnTo>
                      <a:lnTo>
                        <a:pt x="759" y="3201"/>
                      </a:lnTo>
                      <a:lnTo>
                        <a:pt x="756" y="3194"/>
                      </a:lnTo>
                      <a:lnTo>
                        <a:pt x="753" y="3192"/>
                      </a:lnTo>
                      <a:lnTo>
                        <a:pt x="756" y="3189"/>
                      </a:lnTo>
                      <a:lnTo>
                        <a:pt x="751" y="3189"/>
                      </a:lnTo>
                      <a:lnTo>
                        <a:pt x="753" y="3186"/>
                      </a:lnTo>
                      <a:lnTo>
                        <a:pt x="751" y="3186"/>
                      </a:lnTo>
                      <a:lnTo>
                        <a:pt x="745" y="3184"/>
                      </a:lnTo>
                      <a:lnTo>
                        <a:pt x="748" y="3181"/>
                      </a:lnTo>
                      <a:lnTo>
                        <a:pt x="745" y="3178"/>
                      </a:lnTo>
                      <a:lnTo>
                        <a:pt x="748" y="3176"/>
                      </a:lnTo>
                      <a:lnTo>
                        <a:pt x="748" y="3173"/>
                      </a:lnTo>
                      <a:lnTo>
                        <a:pt x="751" y="3173"/>
                      </a:lnTo>
                      <a:lnTo>
                        <a:pt x="751" y="3170"/>
                      </a:lnTo>
                      <a:lnTo>
                        <a:pt x="753" y="3170"/>
                      </a:lnTo>
                      <a:lnTo>
                        <a:pt x="751" y="3168"/>
                      </a:lnTo>
                      <a:lnTo>
                        <a:pt x="753" y="3168"/>
                      </a:lnTo>
                      <a:lnTo>
                        <a:pt x="753" y="3164"/>
                      </a:lnTo>
                      <a:lnTo>
                        <a:pt x="751" y="3161"/>
                      </a:lnTo>
                      <a:lnTo>
                        <a:pt x="748" y="3164"/>
                      </a:lnTo>
                      <a:lnTo>
                        <a:pt x="748" y="3161"/>
                      </a:lnTo>
                      <a:lnTo>
                        <a:pt x="745" y="3161"/>
                      </a:lnTo>
                      <a:lnTo>
                        <a:pt x="748" y="3161"/>
                      </a:lnTo>
                      <a:lnTo>
                        <a:pt x="748" y="3159"/>
                      </a:lnTo>
                      <a:lnTo>
                        <a:pt x="751" y="3161"/>
                      </a:lnTo>
                      <a:lnTo>
                        <a:pt x="753" y="3161"/>
                      </a:lnTo>
                      <a:lnTo>
                        <a:pt x="753" y="3159"/>
                      </a:lnTo>
                      <a:lnTo>
                        <a:pt x="753" y="3156"/>
                      </a:lnTo>
                      <a:lnTo>
                        <a:pt x="753" y="3153"/>
                      </a:lnTo>
                      <a:lnTo>
                        <a:pt x="756" y="3156"/>
                      </a:lnTo>
                      <a:lnTo>
                        <a:pt x="756" y="3151"/>
                      </a:lnTo>
                      <a:lnTo>
                        <a:pt x="756" y="3153"/>
                      </a:lnTo>
                      <a:lnTo>
                        <a:pt x="759" y="3153"/>
                      </a:lnTo>
                      <a:lnTo>
                        <a:pt x="759" y="3151"/>
                      </a:lnTo>
                      <a:lnTo>
                        <a:pt x="761" y="3153"/>
                      </a:lnTo>
                      <a:lnTo>
                        <a:pt x="761" y="3151"/>
                      </a:lnTo>
                      <a:lnTo>
                        <a:pt x="764" y="3151"/>
                      </a:lnTo>
                      <a:lnTo>
                        <a:pt x="761" y="3148"/>
                      </a:lnTo>
                      <a:lnTo>
                        <a:pt x="764" y="3148"/>
                      </a:lnTo>
                      <a:lnTo>
                        <a:pt x="764" y="3145"/>
                      </a:lnTo>
                      <a:lnTo>
                        <a:pt x="768" y="3148"/>
                      </a:lnTo>
                      <a:lnTo>
                        <a:pt x="770" y="3145"/>
                      </a:lnTo>
                      <a:lnTo>
                        <a:pt x="770" y="3143"/>
                      </a:lnTo>
                      <a:lnTo>
                        <a:pt x="773" y="3140"/>
                      </a:lnTo>
                      <a:lnTo>
                        <a:pt x="773" y="3137"/>
                      </a:lnTo>
                      <a:lnTo>
                        <a:pt x="776" y="3137"/>
                      </a:lnTo>
                      <a:lnTo>
                        <a:pt x="773" y="3135"/>
                      </a:lnTo>
                      <a:lnTo>
                        <a:pt x="776" y="3132"/>
                      </a:lnTo>
                      <a:lnTo>
                        <a:pt x="773" y="3128"/>
                      </a:lnTo>
                      <a:lnTo>
                        <a:pt x="776" y="3125"/>
                      </a:lnTo>
                      <a:lnTo>
                        <a:pt x="773" y="3123"/>
                      </a:lnTo>
                      <a:lnTo>
                        <a:pt x="776" y="3123"/>
                      </a:lnTo>
                      <a:lnTo>
                        <a:pt x="773" y="3117"/>
                      </a:lnTo>
                      <a:lnTo>
                        <a:pt x="773" y="3112"/>
                      </a:lnTo>
                      <a:lnTo>
                        <a:pt x="778" y="3112"/>
                      </a:lnTo>
                      <a:lnTo>
                        <a:pt x="778" y="3109"/>
                      </a:lnTo>
                      <a:lnTo>
                        <a:pt x="781" y="3107"/>
                      </a:lnTo>
                      <a:lnTo>
                        <a:pt x="784" y="3112"/>
                      </a:lnTo>
                      <a:lnTo>
                        <a:pt x="786" y="3109"/>
                      </a:lnTo>
                      <a:lnTo>
                        <a:pt x="794" y="3101"/>
                      </a:lnTo>
                      <a:lnTo>
                        <a:pt x="792" y="3099"/>
                      </a:lnTo>
                      <a:lnTo>
                        <a:pt x="794" y="3092"/>
                      </a:lnTo>
                      <a:lnTo>
                        <a:pt x="794" y="3090"/>
                      </a:lnTo>
                      <a:lnTo>
                        <a:pt x="794" y="3087"/>
                      </a:lnTo>
                      <a:lnTo>
                        <a:pt x="792" y="3079"/>
                      </a:lnTo>
                      <a:lnTo>
                        <a:pt x="794" y="3082"/>
                      </a:lnTo>
                      <a:lnTo>
                        <a:pt x="800" y="3079"/>
                      </a:lnTo>
                      <a:lnTo>
                        <a:pt x="797" y="3074"/>
                      </a:lnTo>
                      <a:lnTo>
                        <a:pt x="800" y="3074"/>
                      </a:lnTo>
                      <a:lnTo>
                        <a:pt x="800" y="3071"/>
                      </a:lnTo>
                      <a:lnTo>
                        <a:pt x="800" y="3068"/>
                      </a:lnTo>
                      <a:lnTo>
                        <a:pt x="809" y="3071"/>
                      </a:lnTo>
                      <a:lnTo>
                        <a:pt x="814" y="3071"/>
                      </a:lnTo>
                      <a:lnTo>
                        <a:pt x="817" y="3071"/>
                      </a:lnTo>
                      <a:lnTo>
                        <a:pt x="820" y="3071"/>
                      </a:lnTo>
                      <a:lnTo>
                        <a:pt x="822" y="3074"/>
                      </a:lnTo>
                      <a:lnTo>
                        <a:pt x="825" y="3068"/>
                      </a:lnTo>
                      <a:lnTo>
                        <a:pt x="828" y="3066"/>
                      </a:lnTo>
                      <a:lnTo>
                        <a:pt x="830" y="3059"/>
                      </a:lnTo>
                      <a:lnTo>
                        <a:pt x="839" y="3056"/>
                      </a:lnTo>
                      <a:lnTo>
                        <a:pt x="845" y="3054"/>
                      </a:lnTo>
                      <a:lnTo>
                        <a:pt x="850" y="3051"/>
                      </a:lnTo>
                      <a:lnTo>
                        <a:pt x="861" y="3046"/>
                      </a:lnTo>
                      <a:lnTo>
                        <a:pt x="873" y="3051"/>
                      </a:lnTo>
                      <a:lnTo>
                        <a:pt x="878" y="3051"/>
                      </a:lnTo>
                      <a:lnTo>
                        <a:pt x="883" y="3048"/>
                      </a:lnTo>
                      <a:lnTo>
                        <a:pt x="891" y="3048"/>
                      </a:lnTo>
                      <a:lnTo>
                        <a:pt x="897" y="3046"/>
                      </a:lnTo>
                      <a:lnTo>
                        <a:pt x="902" y="3040"/>
                      </a:lnTo>
                      <a:lnTo>
                        <a:pt x="908" y="3035"/>
                      </a:lnTo>
                      <a:lnTo>
                        <a:pt x="914" y="3027"/>
                      </a:lnTo>
                      <a:lnTo>
                        <a:pt x="911" y="3013"/>
                      </a:lnTo>
                      <a:lnTo>
                        <a:pt x="914" y="3005"/>
                      </a:lnTo>
                      <a:lnTo>
                        <a:pt x="919" y="2999"/>
                      </a:lnTo>
                      <a:lnTo>
                        <a:pt x="922" y="2997"/>
                      </a:lnTo>
                      <a:lnTo>
                        <a:pt x="916" y="2990"/>
                      </a:lnTo>
                      <a:lnTo>
                        <a:pt x="911" y="2988"/>
                      </a:lnTo>
                      <a:lnTo>
                        <a:pt x="911" y="2985"/>
                      </a:lnTo>
                      <a:lnTo>
                        <a:pt x="911" y="2982"/>
                      </a:lnTo>
                      <a:lnTo>
                        <a:pt x="919" y="2961"/>
                      </a:lnTo>
                      <a:lnTo>
                        <a:pt x="919" y="2954"/>
                      </a:lnTo>
                      <a:lnTo>
                        <a:pt x="922" y="2949"/>
                      </a:lnTo>
                      <a:lnTo>
                        <a:pt x="927" y="2949"/>
                      </a:lnTo>
                      <a:lnTo>
                        <a:pt x="930" y="2946"/>
                      </a:lnTo>
                      <a:lnTo>
                        <a:pt x="930" y="2941"/>
                      </a:lnTo>
                      <a:lnTo>
                        <a:pt x="924" y="2936"/>
                      </a:lnTo>
                      <a:lnTo>
                        <a:pt x="924" y="2930"/>
                      </a:lnTo>
                      <a:lnTo>
                        <a:pt x="924" y="2919"/>
                      </a:lnTo>
                      <a:lnTo>
                        <a:pt x="924" y="2916"/>
                      </a:lnTo>
                      <a:lnTo>
                        <a:pt x="922" y="2913"/>
                      </a:lnTo>
                      <a:lnTo>
                        <a:pt x="922" y="2910"/>
                      </a:lnTo>
                      <a:lnTo>
                        <a:pt x="919" y="2905"/>
                      </a:lnTo>
                      <a:lnTo>
                        <a:pt x="908" y="2897"/>
                      </a:lnTo>
                      <a:lnTo>
                        <a:pt x="897" y="2892"/>
                      </a:lnTo>
                      <a:lnTo>
                        <a:pt x="891" y="2889"/>
                      </a:lnTo>
                      <a:lnTo>
                        <a:pt x="891" y="2883"/>
                      </a:lnTo>
                      <a:lnTo>
                        <a:pt x="891" y="2880"/>
                      </a:lnTo>
                      <a:lnTo>
                        <a:pt x="886" y="2877"/>
                      </a:lnTo>
                      <a:lnTo>
                        <a:pt x="883" y="2875"/>
                      </a:lnTo>
                      <a:lnTo>
                        <a:pt x="878" y="2875"/>
                      </a:lnTo>
                      <a:lnTo>
                        <a:pt x="878" y="2872"/>
                      </a:lnTo>
                      <a:lnTo>
                        <a:pt x="873" y="2869"/>
                      </a:lnTo>
                      <a:lnTo>
                        <a:pt x="864" y="2869"/>
                      </a:lnTo>
                      <a:lnTo>
                        <a:pt x="858" y="2875"/>
                      </a:lnTo>
                      <a:lnTo>
                        <a:pt x="855" y="2875"/>
                      </a:lnTo>
                      <a:lnTo>
                        <a:pt x="850" y="2872"/>
                      </a:lnTo>
                      <a:lnTo>
                        <a:pt x="847" y="2872"/>
                      </a:lnTo>
                      <a:lnTo>
                        <a:pt x="845" y="2877"/>
                      </a:lnTo>
                      <a:lnTo>
                        <a:pt x="839" y="2877"/>
                      </a:lnTo>
                      <a:lnTo>
                        <a:pt x="837" y="2877"/>
                      </a:lnTo>
                      <a:lnTo>
                        <a:pt x="830" y="2875"/>
                      </a:lnTo>
                      <a:lnTo>
                        <a:pt x="828" y="2877"/>
                      </a:lnTo>
                      <a:lnTo>
                        <a:pt x="825" y="2877"/>
                      </a:lnTo>
                      <a:lnTo>
                        <a:pt x="822" y="2880"/>
                      </a:lnTo>
                      <a:lnTo>
                        <a:pt x="820" y="2880"/>
                      </a:lnTo>
                      <a:lnTo>
                        <a:pt x="817" y="2880"/>
                      </a:lnTo>
                      <a:lnTo>
                        <a:pt x="814" y="2883"/>
                      </a:lnTo>
                      <a:lnTo>
                        <a:pt x="812" y="2880"/>
                      </a:lnTo>
                      <a:lnTo>
                        <a:pt x="809" y="2889"/>
                      </a:lnTo>
                      <a:lnTo>
                        <a:pt x="806" y="2889"/>
                      </a:lnTo>
                      <a:lnTo>
                        <a:pt x="806" y="2885"/>
                      </a:lnTo>
                      <a:lnTo>
                        <a:pt x="803" y="2889"/>
                      </a:lnTo>
                      <a:lnTo>
                        <a:pt x="800" y="2892"/>
                      </a:lnTo>
                      <a:lnTo>
                        <a:pt x="800" y="2894"/>
                      </a:lnTo>
                      <a:lnTo>
                        <a:pt x="797" y="2892"/>
                      </a:lnTo>
                      <a:lnTo>
                        <a:pt x="797" y="2894"/>
                      </a:lnTo>
                      <a:lnTo>
                        <a:pt x="794" y="2894"/>
                      </a:lnTo>
                      <a:lnTo>
                        <a:pt x="792" y="2892"/>
                      </a:lnTo>
                      <a:lnTo>
                        <a:pt x="789" y="2894"/>
                      </a:lnTo>
                      <a:lnTo>
                        <a:pt x="781" y="2897"/>
                      </a:lnTo>
                      <a:lnTo>
                        <a:pt x="778" y="2897"/>
                      </a:lnTo>
                      <a:lnTo>
                        <a:pt x="778" y="2900"/>
                      </a:lnTo>
                      <a:lnTo>
                        <a:pt x="776" y="2900"/>
                      </a:lnTo>
                      <a:lnTo>
                        <a:pt x="773" y="2894"/>
                      </a:lnTo>
                      <a:lnTo>
                        <a:pt x="770" y="2897"/>
                      </a:lnTo>
                      <a:lnTo>
                        <a:pt x="768" y="2900"/>
                      </a:lnTo>
                      <a:lnTo>
                        <a:pt x="764" y="2897"/>
                      </a:lnTo>
                      <a:lnTo>
                        <a:pt x="764" y="2894"/>
                      </a:lnTo>
                      <a:lnTo>
                        <a:pt x="759" y="2897"/>
                      </a:lnTo>
                      <a:lnTo>
                        <a:pt x="759" y="2902"/>
                      </a:lnTo>
                      <a:lnTo>
                        <a:pt x="756" y="2902"/>
                      </a:lnTo>
                      <a:lnTo>
                        <a:pt x="753" y="2908"/>
                      </a:lnTo>
                      <a:lnTo>
                        <a:pt x="751" y="2908"/>
                      </a:lnTo>
                      <a:lnTo>
                        <a:pt x="748" y="2905"/>
                      </a:lnTo>
                      <a:lnTo>
                        <a:pt x="745" y="2905"/>
                      </a:lnTo>
                      <a:lnTo>
                        <a:pt x="745" y="2908"/>
                      </a:lnTo>
                      <a:lnTo>
                        <a:pt x="745" y="2910"/>
                      </a:lnTo>
                      <a:lnTo>
                        <a:pt x="743" y="2910"/>
                      </a:lnTo>
                      <a:lnTo>
                        <a:pt x="737" y="2910"/>
                      </a:lnTo>
                      <a:lnTo>
                        <a:pt x="735" y="2916"/>
                      </a:lnTo>
                      <a:lnTo>
                        <a:pt x="731" y="2916"/>
                      </a:lnTo>
                      <a:lnTo>
                        <a:pt x="731" y="2919"/>
                      </a:lnTo>
                      <a:lnTo>
                        <a:pt x="731" y="2925"/>
                      </a:lnTo>
                      <a:lnTo>
                        <a:pt x="725" y="2928"/>
                      </a:lnTo>
                      <a:lnTo>
                        <a:pt x="728" y="2930"/>
                      </a:lnTo>
                      <a:lnTo>
                        <a:pt x="720" y="2933"/>
                      </a:lnTo>
                      <a:lnTo>
                        <a:pt x="720" y="2936"/>
                      </a:lnTo>
                      <a:lnTo>
                        <a:pt x="717" y="2933"/>
                      </a:lnTo>
                      <a:lnTo>
                        <a:pt x="715" y="2941"/>
                      </a:lnTo>
                      <a:lnTo>
                        <a:pt x="712" y="2941"/>
                      </a:lnTo>
                      <a:lnTo>
                        <a:pt x="712" y="2938"/>
                      </a:lnTo>
                      <a:lnTo>
                        <a:pt x="709" y="2938"/>
                      </a:lnTo>
                      <a:lnTo>
                        <a:pt x="707" y="2938"/>
                      </a:lnTo>
                      <a:lnTo>
                        <a:pt x="704" y="2938"/>
                      </a:lnTo>
                      <a:lnTo>
                        <a:pt x="704" y="2936"/>
                      </a:lnTo>
                      <a:lnTo>
                        <a:pt x="695" y="2936"/>
                      </a:lnTo>
                      <a:lnTo>
                        <a:pt x="695" y="2933"/>
                      </a:lnTo>
                      <a:lnTo>
                        <a:pt x="690" y="2930"/>
                      </a:lnTo>
                      <a:lnTo>
                        <a:pt x="692" y="2928"/>
                      </a:lnTo>
                      <a:lnTo>
                        <a:pt x="687" y="2925"/>
                      </a:lnTo>
                      <a:lnTo>
                        <a:pt x="687" y="2916"/>
                      </a:lnTo>
                      <a:lnTo>
                        <a:pt x="679" y="2908"/>
                      </a:lnTo>
                      <a:lnTo>
                        <a:pt x="668" y="2908"/>
                      </a:lnTo>
                      <a:lnTo>
                        <a:pt x="674" y="2905"/>
                      </a:lnTo>
                      <a:lnTo>
                        <a:pt x="668" y="2900"/>
                      </a:lnTo>
                      <a:lnTo>
                        <a:pt x="671" y="2900"/>
                      </a:lnTo>
                      <a:lnTo>
                        <a:pt x="671" y="2897"/>
                      </a:lnTo>
                      <a:lnTo>
                        <a:pt x="671" y="2894"/>
                      </a:lnTo>
                      <a:lnTo>
                        <a:pt x="668" y="2897"/>
                      </a:lnTo>
                      <a:lnTo>
                        <a:pt x="666" y="2894"/>
                      </a:lnTo>
                      <a:lnTo>
                        <a:pt x="668" y="2885"/>
                      </a:lnTo>
                      <a:lnTo>
                        <a:pt x="666" y="2889"/>
                      </a:lnTo>
                      <a:lnTo>
                        <a:pt x="662" y="2880"/>
                      </a:lnTo>
                      <a:lnTo>
                        <a:pt x="659" y="2880"/>
                      </a:lnTo>
                      <a:lnTo>
                        <a:pt x="654" y="2883"/>
                      </a:lnTo>
                      <a:lnTo>
                        <a:pt x="654" y="2877"/>
                      </a:lnTo>
                      <a:lnTo>
                        <a:pt x="654" y="2869"/>
                      </a:lnTo>
                      <a:lnTo>
                        <a:pt x="648" y="2869"/>
                      </a:lnTo>
                      <a:lnTo>
                        <a:pt x="648" y="2867"/>
                      </a:lnTo>
                      <a:lnTo>
                        <a:pt x="646" y="2864"/>
                      </a:lnTo>
                      <a:lnTo>
                        <a:pt x="640" y="2859"/>
                      </a:lnTo>
                      <a:lnTo>
                        <a:pt x="640" y="2856"/>
                      </a:lnTo>
                      <a:lnTo>
                        <a:pt x="640" y="2853"/>
                      </a:lnTo>
                      <a:lnTo>
                        <a:pt x="638" y="2853"/>
                      </a:lnTo>
                      <a:lnTo>
                        <a:pt x="638" y="2847"/>
                      </a:lnTo>
                      <a:lnTo>
                        <a:pt x="632" y="2850"/>
                      </a:lnTo>
                      <a:lnTo>
                        <a:pt x="632" y="2847"/>
                      </a:lnTo>
                      <a:lnTo>
                        <a:pt x="630" y="2847"/>
                      </a:lnTo>
                      <a:lnTo>
                        <a:pt x="630" y="2844"/>
                      </a:lnTo>
                      <a:lnTo>
                        <a:pt x="623" y="2844"/>
                      </a:lnTo>
                      <a:lnTo>
                        <a:pt x="621" y="2841"/>
                      </a:lnTo>
                      <a:lnTo>
                        <a:pt x="618" y="2839"/>
                      </a:lnTo>
                      <a:lnTo>
                        <a:pt x="618" y="2836"/>
                      </a:lnTo>
                      <a:lnTo>
                        <a:pt x="615" y="2836"/>
                      </a:lnTo>
                      <a:lnTo>
                        <a:pt x="613" y="2836"/>
                      </a:lnTo>
                      <a:lnTo>
                        <a:pt x="613" y="2833"/>
                      </a:lnTo>
                      <a:lnTo>
                        <a:pt x="618" y="2831"/>
                      </a:lnTo>
                      <a:lnTo>
                        <a:pt x="613" y="2831"/>
                      </a:lnTo>
                      <a:lnTo>
                        <a:pt x="615" y="2828"/>
                      </a:lnTo>
                      <a:lnTo>
                        <a:pt x="613" y="2823"/>
                      </a:lnTo>
                      <a:lnTo>
                        <a:pt x="610" y="2814"/>
                      </a:lnTo>
                      <a:lnTo>
                        <a:pt x="613" y="2811"/>
                      </a:lnTo>
                      <a:lnTo>
                        <a:pt x="610" y="2811"/>
                      </a:lnTo>
                      <a:lnTo>
                        <a:pt x="607" y="2811"/>
                      </a:lnTo>
                      <a:lnTo>
                        <a:pt x="605" y="2814"/>
                      </a:lnTo>
                      <a:lnTo>
                        <a:pt x="607" y="2808"/>
                      </a:lnTo>
                      <a:lnTo>
                        <a:pt x="607" y="2806"/>
                      </a:lnTo>
                      <a:lnTo>
                        <a:pt x="602" y="2806"/>
                      </a:lnTo>
                      <a:lnTo>
                        <a:pt x="602" y="2803"/>
                      </a:lnTo>
                      <a:lnTo>
                        <a:pt x="602" y="2800"/>
                      </a:lnTo>
                      <a:lnTo>
                        <a:pt x="599" y="2803"/>
                      </a:lnTo>
                      <a:lnTo>
                        <a:pt x="593" y="2800"/>
                      </a:lnTo>
                      <a:lnTo>
                        <a:pt x="590" y="2803"/>
                      </a:lnTo>
                      <a:lnTo>
                        <a:pt x="588" y="2800"/>
                      </a:lnTo>
                      <a:lnTo>
                        <a:pt x="585" y="2800"/>
                      </a:lnTo>
                      <a:lnTo>
                        <a:pt x="585" y="2795"/>
                      </a:lnTo>
                      <a:lnTo>
                        <a:pt x="588" y="2792"/>
                      </a:lnTo>
                      <a:lnTo>
                        <a:pt x="585" y="2789"/>
                      </a:lnTo>
                      <a:lnTo>
                        <a:pt x="585" y="2787"/>
                      </a:lnTo>
                      <a:lnTo>
                        <a:pt x="588" y="2789"/>
                      </a:lnTo>
                      <a:lnTo>
                        <a:pt x="590" y="2789"/>
                      </a:lnTo>
                      <a:lnTo>
                        <a:pt x="590" y="2784"/>
                      </a:lnTo>
                      <a:lnTo>
                        <a:pt x="577" y="2780"/>
                      </a:lnTo>
                      <a:lnTo>
                        <a:pt x="577" y="2778"/>
                      </a:lnTo>
                      <a:lnTo>
                        <a:pt x="577" y="2775"/>
                      </a:lnTo>
                      <a:lnTo>
                        <a:pt x="574" y="2772"/>
                      </a:lnTo>
                      <a:lnTo>
                        <a:pt x="579" y="2772"/>
                      </a:lnTo>
                      <a:lnTo>
                        <a:pt x="582" y="2772"/>
                      </a:lnTo>
                      <a:lnTo>
                        <a:pt x="585" y="2770"/>
                      </a:lnTo>
                      <a:lnTo>
                        <a:pt x="582" y="2767"/>
                      </a:lnTo>
                      <a:lnTo>
                        <a:pt x="577" y="2762"/>
                      </a:lnTo>
                      <a:lnTo>
                        <a:pt x="571" y="2759"/>
                      </a:lnTo>
                      <a:lnTo>
                        <a:pt x="569" y="2754"/>
                      </a:lnTo>
                      <a:lnTo>
                        <a:pt x="566" y="2754"/>
                      </a:lnTo>
                      <a:lnTo>
                        <a:pt x="560" y="2754"/>
                      </a:lnTo>
                      <a:lnTo>
                        <a:pt x="560" y="2756"/>
                      </a:lnTo>
                      <a:lnTo>
                        <a:pt x="563" y="2762"/>
                      </a:lnTo>
                      <a:lnTo>
                        <a:pt x="569" y="2762"/>
                      </a:lnTo>
                      <a:lnTo>
                        <a:pt x="569" y="2764"/>
                      </a:lnTo>
                      <a:lnTo>
                        <a:pt x="563" y="2770"/>
                      </a:lnTo>
                      <a:lnTo>
                        <a:pt x="557" y="2767"/>
                      </a:lnTo>
                      <a:lnTo>
                        <a:pt x="554" y="2762"/>
                      </a:lnTo>
                      <a:lnTo>
                        <a:pt x="554" y="2759"/>
                      </a:lnTo>
                      <a:lnTo>
                        <a:pt x="557" y="2754"/>
                      </a:lnTo>
                      <a:lnTo>
                        <a:pt x="557" y="2745"/>
                      </a:lnTo>
                      <a:lnTo>
                        <a:pt x="549" y="2739"/>
                      </a:lnTo>
                      <a:lnTo>
                        <a:pt x="552" y="2734"/>
                      </a:lnTo>
                      <a:lnTo>
                        <a:pt x="549" y="2731"/>
                      </a:lnTo>
                      <a:lnTo>
                        <a:pt x="546" y="2731"/>
                      </a:lnTo>
                      <a:lnTo>
                        <a:pt x="541" y="2729"/>
                      </a:lnTo>
                      <a:lnTo>
                        <a:pt x="538" y="2729"/>
                      </a:lnTo>
                      <a:lnTo>
                        <a:pt x="536" y="2729"/>
                      </a:lnTo>
                      <a:lnTo>
                        <a:pt x="536" y="2726"/>
                      </a:lnTo>
                      <a:lnTo>
                        <a:pt x="538" y="2723"/>
                      </a:lnTo>
                      <a:lnTo>
                        <a:pt x="541" y="2721"/>
                      </a:lnTo>
                      <a:lnTo>
                        <a:pt x="541" y="2718"/>
                      </a:lnTo>
                      <a:lnTo>
                        <a:pt x="538" y="2715"/>
                      </a:lnTo>
                      <a:lnTo>
                        <a:pt x="536" y="2711"/>
                      </a:lnTo>
                      <a:lnTo>
                        <a:pt x="524" y="2711"/>
                      </a:lnTo>
                      <a:lnTo>
                        <a:pt x="521" y="2718"/>
                      </a:lnTo>
                      <a:lnTo>
                        <a:pt x="519" y="2718"/>
                      </a:lnTo>
                      <a:lnTo>
                        <a:pt x="516" y="2715"/>
                      </a:lnTo>
                      <a:lnTo>
                        <a:pt x="516" y="2701"/>
                      </a:lnTo>
                      <a:lnTo>
                        <a:pt x="510" y="2695"/>
                      </a:lnTo>
                      <a:lnTo>
                        <a:pt x="508" y="2682"/>
                      </a:lnTo>
                      <a:lnTo>
                        <a:pt x="508" y="2676"/>
                      </a:lnTo>
                      <a:lnTo>
                        <a:pt x="502" y="2676"/>
                      </a:lnTo>
                      <a:lnTo>
                        <a:pt x="497" y="2676"/>
                      </a:lnTo>
                      <a:lnTo>
                        <a:pt x="488" y="2679"/>
                      </a:lnTo>
                      <a:lnTo>
                        <a:pt x="483" y="2682"/>
                      </a:lnTo>
                      <a:lnTo>
                        <a:pt x="472" y="2679"/>
                      </a:lnTo>
                      <a:lnTo>
                        <a:pt x="477" y="2668"/>
                      </a:lnTo>
                      <a:lnTo>
                        <a:pt x="483" y="2665"/>
                      </a:lnTo>
                      <a:lnTo>
                        <a:pt x="505" y="2657"/>
                      </a:lnTo>
                      <a:lnTo>
                        <a:pt x="505" y="2654"/>
                      </a:lnTo>
                      <a:lnTo>
                        <a:pt x="516" y="2649"/>
                      </a:lnTo>
                      <a:lnTo>
                        <a:pt x="519" y="2634"/>
                      </a:lnTo>
                      <a:lnTo>
                        <a:pt x="516" y="2629"/>
                      </a:lnTo>
                      <a:lnTo>
                        <a:pt x="510" y="2618"/>
                      </a:lnTo>
                      <a:lnTo>
                        <a:pt x="494" y="2608"/>
                      </a:lnTo>
                      <a:lnTo>
                        <a:pt x="491" y="2604"/>
                      </a:lnTo>
                      <a:lnTo>
                        <a:pt x="472" y="2604"/>
                      </a:lnTo>
                      <a:lnTo>
                        <a:pt x="467" y="2608"/>
                      </a:lnTo>
                      <a:lnTo>
                        <a:pt x="459" y="2621"/>
                      </a:lnTo>
                      <a:lnTo>
                        <a:pt x="452" y="2621"/>
                      </a:lnTo>
                      <a:lnTo>
                        <a:pt x="450" y="2621"/>
                      </a:lnTo>
                      <a:lnTo>
                        <a:pt x="447" y="2621"/>
                      </a:lnTo>
                      <a:lnTo>
                        <a:pt x="439" y="2601"/>
                      </a:lnTo>
                      <a:lnTo>
                        <a:pt x="431" y="2593"/>
                      </a:lnTo>
                      <a:lnTo>
                        <a:pt x="414" y="2585"/>
                      </a:lnTo>
                      <a:lnTo>
                        <a:pt x="408" y="2580"/>
                      </a:lnTo>
                      <a:lnTo>
                        <a:pt x="408" y="2575"/>
                      </a:lnTo>
                      <a:lnTo>
                        <a:pt x="408" y="2565"/>
                      </a:lnTo>
                      <a:lnTo>
                        <a:pt x="408" y="2563"/>
                      </a:lnTo>
                      <a:lnTo>
                        <a:pt x="422" y="2555"/>
                      </a:lnTo>
                      <a:lnTo>
                        <a:pt x="425" y="2552"/>
                      </a:lnTo>
                      <a:lnTo>
                        <a:pt x="431" y="2552"/>
                      </a:lnTo>
                      <a:lnTo>
                        <a:pt x="439" y="2555"/>
                      </a:lnTo>
                      <a:lnTo>
                        <a:pt x="444" y="2557"/>
                      </a:lnTo>
                      <a:lnTo>
                        <a:pt x="450" y="2555"/>
                      </a:lnTo>
                      <a:lnTo>
                        <a:pt x="459" y="2544"/>
                      </a:lnTo>
                      <a:lnTo>
                        <a:pt x="461" y="2532"/>
                      </a:lnTo>
                      <a:lnTo>
                        <a:pt x="472" y="2519"/>
                      </a:lnTo>
                      <a:lnTo>
                        <a:pt x="477" y="2516"/>
                      </a:lnTo>
                      <a:lnTo>
                        <a:pt x="488" y="2506"/>
                      </a:lnTo>
                      <a:lnTo>
                        <a:pt x="491" y="2499"/>
                      </a:lnTo>
                      <a:lnTo>
                        <a:pt x="491" y="2496"/>
                      </a:lnTo>
                      <a:lnTo>
                        <a:pt x="494" y="2488"/>
                      </a:lnTo>
                      <a:lnTo>
                        <a:pt x="497" y="2483"/>
                      </a:lnTo>
                      <a:lnTo>
                        <a:pt x="497" y="2472"/>
                      </a:lnTo>
                      <a:lnTo>
                        <a:pt x="505" y="2455"/>
                      </a:lnTo>
                      <a:lnTo>
                        <a:pt x="508" y="2450"/>
                      </a:lnTo>
                      <a:lnTo>
                        <a:pt x="505" y="2442"/>
                      </a:lnTo>
                      <a:lnTo>
                        <a:pt x="500" y="2427"/>
                      </a:lnTo>
                      <a:lnTo>
                        <a:pt x="500" y="2425"/>
                      </a:lnTo>
                      <a:lnTo>
                        <a:pt x="497" y="2425"/>
                      </a:lnTo>
                      <a:lnTo>
                        <a:pt x="497" y="2422"/>
                      </a:lnTo>
                      <a:lnTo>
                        <a:pt x="502" y="2406"/>
                      </a:lnTo>
                      <a:lnTo>
                        <a:pt x="510" y="2392"/>
                      </a:lnTo>
                      <a:lnTo>
                        <a:pt x="510" y="2373"/>
                      </a:lnTo>
                      <a:lnTo>
                        <a:pt x="510" y="2368"/>
                      </a:lnTo>
                      <a:lnTo>
                        <a:pt x="513" y="2365"/>
                      </a:lnTo>
                      <a:lnTo>
                        <a:pt x="510" y="2356"/>
                      </a:lnTo>
                      <a:lnTo>
                        <a:pt x="519" y="2340"/>
                      </a:lnTo>
                      <a:lnTo>
                        <a:pt x="524" y="2332"/>
                      </a:lnTo>
                      <a:lnTo>
                        <a:pt x="524" y="2329"/>
                      </a:lnTo>
                      <a:lnTo>
                        <a:pt x="524" y="2320"/>
                      </a:lnTo>
                      <a:lnTo>
                        <a:pt x="524" y="2309"/>
                      </a:lnTo>
                      <a:lnTo>
                        <a:pt x="528" y="2307"/>
                      </a:lnTo>
                      <a:lnTo>
                        <a:pt x="528" y="2301"/>
                      </a:lnTo>
                      <a:lnTo>
                        <a:pt x="538" y="2284"/>
                      </a:lnTo>
                      <a:lnTo>
                        <a:pt x="541" y="2284"/>
                      </a:lnTo>
                      <a:lnTo>
                        <a:pt x="544" y="2279"/>
                      </a:lnTo>
                      <a:lnTo>
                        <a:pt x="536" y="2256"/>
                      </a:lnTo>
                      <a:lnTo>
                        <a:pt x="538" y="2254"/>
                      </a:lnTo>
                      <a:lnTo>
                        <a:pt x="541" y="2243"/>
                      </a:lnTo>
                      <a:lnTo>
                        <a:pt x="544" y="2232"/>
                      </a:lnTo>
                      <a:lnTo>
                        <a:pt x="546" y="2218"/>
                      </a:lnTo>
                      <a:lnTo>
                        <a:pt x="546" y="2215"/>
                      </a:lnTo>
                      <a:lnTo>
                        <a:pt x="557" y="2194"/>
                      </a:lnTo>
                      <a:lnTo>
                        <a:pt x="557" y="2187"/>
                      </a:lnTo>
                      <a:lnTo>
                        <a:pt x="557" y="2179"/>
                      </a:lnTo>
                      <a:lnTo>
                        <a:pt x="554" y="2171"/>
                      </a:lnTo>
                      <a:lnTo>
                        <a:pt x="549" y="2163"/>
                      </a:lnTo>
                      <a:lnTo>
                        <a:pt x="544" y="2149"/>
                      </a:lnTo>
                      <a:lnTo>
                        <a:pt x="538" y="2125"/>
                      </a:lnTo>
                      <a:lnTo>
                        <a:pt x="536" y="2113"/>
                      </a:lnTo>
                      <a:lnTo>
                        <a:pt x="538" y="2102"/>
                      </a:lnTo>
                      <a:lnTo>
                        <a:pt x="538" y="2094"/>
                      </a:lnTo>
                      <a:lnTo>
                        <a:pt x="538" y="2092"/>
                      </a:lnTo>
                      <a:lnTo>
                        <a:pt x="536" y="2080"/>
                      </a:lnTo>
                      <a:lnTo>
                        <a:pt x="530" y="2072"/>
                      </a:lnTo>
                      <a:lnTo>
                        <a:pt x="538" y="2047"/>
                      </a:lnTo>
                      <a:lnTo>
                        <a:pt x="538" y="2020"/>
                      </a:lnTo>
                      <a:lnTo>
                        <a:pt x="536" y="2017"/>
                      </a:lnTo>
                      <a:lnTo>
                        <a:pt x="533" y="2003"/>
                      </a:lnTo>
                      <a:lnTo>
                        <a:pt x="521" y="1978"/>
                      </a:lnTo>
                      <a:lnTo>
                        <a:pt x="516" y="1972"/>
                      </a:lnTo>
                      <a:lnTo>
                        <a:pt x="510" y="1962"/>
                      </a:lnTo>
                      <a:lnTo>
                        <a:pt x="513" y="1954"/>
                      </a:lnTo>
                      <a:lnTo>
                        <a:pt x="519" y="1934"/>
                      </a:lnTo>
                      <a:lnTo>
                        <a:pt x="519" y="1923"/>
                      </a:lnTo>
                      <a:lnTo>
                        <a:pt x="519" y="1918"/>
                      </a:lnTo>
                      <a:lnTo>
                        <a:pt x="516" y="1906"/>
                      </a:lnTo>
                      <a:lnTo>
                        <a:pt x="516" y="1893"/>
                      </a:lnTo>
                      <a:lnTo>
                        <a:pt x="510" y="1876"/>
                      </a:lnTo>
                      <a:lnTo>
                        <a:pt x="485" y="1851"/>
                      </a:lnTo>
                      <a:lnTo>
                        <a:pt x="483" y="1851"/>
                      </a:lnTo>
                      <a:lnTo>
                        <a:pt x="477" y="1854"/>
                      </a:lnTo>
                      <a:lnTo>
                        <a:pt x="461" y="1849"/>
                      </a:lnTo>
                      <a:lnTo>
                        <a:pt x="441" y="1832"/>
                      </a:lnTo>
                      <a:lnTo>
                        <a:pt x="433" y="1829"/>
                      </a:lnTo>
                      <a:lnTo>
                        <a:pt x="411" y="1815"/>
                      </a:lnTo>
                      <a:lnTo>
                        <a:pt x="400" y="1815"/>
                      </a:lnTo>
                      <a:lnTo>
                        <a:pt x="390" y="1818"/>
                      </a:lnTo>
                      <a:lnTo>
                        <a:pt x="375" y="1818"/>
                      </a:lnTo>
                      <a:lnTo>
                        <a:pt x="370" y="1813"/>
                      </a:lnTo>
                      <a:lnTo>
                        <a:pt x="359" y="1798"/>
                      </a:lnTo>
                      <a:lnTo>
                        <a:pt x="359" y="1785"/>
                      </a:lnTo>
                      <a:lnTo>
                        <a:pt x="359" y="1782"/>
                      </a:lnTo>
                      <a:lnTo>
                        <a:pt x="359" y="1780"/>
                      </a:lnTo>
                      <a:lnTo>
                        <a:pt x="356" y="1772"/>
                      </a:lnTo>
                      <a:lnTo>
                        <a:pt x="353" y="1765"/>
                      </a:lnTo>
                      <a:lnTo>
                        <a:pt x="334" y="1757"/>
                      </a:lnTo>
                      <a:lnTo>
                        <a:pt x="331" y="1757"/>
                      </a:lnTo>
                      <a:lnTo>
                        <a:pt x="323" y="1757"/>
                      </a:lnTo>
                      <a:lnTo>
                        <a:pt x="309" y="1755"/>
                      </a:lnTo>
                      <a:lnTo>
                        <a:pt x="303" y="1755"/>
                      </a:lnTo>
                      <a:lnTo>
                        <a:pt x="301" y="1755"/>
                      </a:lnTo>
                      <a:lnTo>
                        <a:pt x="287" y="1768"/>
                      </a:lnTo>
                      <a:lnTo>
                        <a:pt x="273" y="1772"/>
                      </a:lnTo>
                      <a:lnTo>
                        <a:pt x="262" y="1768"/>
                      </a:lnTo>
                      <a:lnTo>
                        <a:pt x="234" y="1765"/>
                      </a:lnTo>
                      <a:lnTo>
                        <a:pt x="229" y="1763"/>
                      </a:lnTo>
                      <a:lnTo>
                        <a:pt x="221" y="1760"/>
                      </a:lnTo>
                      <a:lnTo>
                        <a:pt x="215" y="1755"/>
                      </a:lnTo>
                      <a:lnTo>
                        <a:pt x="212" y="1755"/>
                      </a:lnTo>
                      <a:lnTo>
                        <a:pt x="207" y="1752"/>
                      </a:lnTo>
                      <a:lnTo>
                        <a:pt x="196" y="1746"/>
                      </a:lnTo>
                      <a:lnTo>
                        <a:pt x="188" y="1741"/>
                      </a:lnTo>
                      <a:lnTo>
                        <a:pt x="176" y="1741"/>
                      </a:lnTo>
                      <a:lnTo>
                        <a:pt x="163" y="1729"/>
                      </a:lnTo>
                      <a:lnTo>
                        <a:pt x="157" y="1727"/>
                      </a:lnTo>
                      <a:lnTo>
                        <a:pt x="116" y="1732"/>
                      </a:lnTo>
                      <a:lnTo>
                        <a:pt x="107" y="1738"/>
                      </a:lnTo>
                      <a:lnTo>
                        <a:pt x="94" y="1736"/>
                      </a:lnTo>
                      <a:lnTo>
                        <a:pt x="86" y="1741"/>
                      </a:lnTo>
                      <a:lnTo>
                        <a:pt x="77" y="1752"/>
                      </a:lnTo>
                      <a:lnTo>
                        <a:pt x="77" y="1757"/>
                      </a:lnTo>
                      <a:lnTo>
                        <a:pt x="74" y="1765"/>
                      </a:lnTo>
                      <a:lnTo>
                        <a:pt x="74" y="1774"/>
                      </a:lnTo>
                      <a:lnTo>
                        <a:pt x="69" y="1788"/>
                      </a:lnTo>
                      <a:lnTo>
                        <a:pt x="61" y="1796"/>
                      </a:lnTo>
                      <a:lnTo>
                        <a:pt x="58" y="1798"/>
                      </a:lnTo>
                      <a:lnTo>
                        <a:pt x="50" y="1796"/>
                      </a:lnTo>
                      <a:lnTo>
                        <a:pt x="47" y="1790"/>
                      </a:lnTo>
                      <a:lnTo>
                        <a:pt x="41" y="1788"/>
                      </a:lnTo>
                      <a:lnTo>
                        <a:pt x="30" y="1785"/>
                      </a:lnTo>
                      <a:lnTo>
                        <a:pt x="25" y="1788"/>
                      </a:lnTo>
                      <a:lnTo>
                        <a:pt x="22" y="1790"/>
                      </a:lnTo>
                      <a:lnTo>
                        <a:pt x="19" y="1801"/>
                      </a:lnTo>
                      <a:lnTo>
                        <a:pt x="17" y="1805"/>
                      </a:lnTo>
                      <a:lnTo>
                        <a:pt x="8" y="1801"/>
                      </a:lnTo>
                      <a:lnTo>
                        <a:pt x="5" y="1805"/>
                      </a:lnTo>
                      <a:lnTo>
                        <a:pt x="0" y="1801"/>
                      </a:lnTo>
                      <a:close/>
                      <a:moveTo>
                        <a:pt x="1192" y="47"/>
                      </a:moveTo>
                      <a:lnTo>
                        <a:pt x="1192" y="44"/>
                      </a:lnTo>
                      <a:lnTo>
                        <a:pt x="1192" y="47"/>
                      </a:lnTo>
                      <a:close/>
                      <a:moveTo>
                        <a:pt x="1405" y="157"/>
                      </a:moveTo>
                      <a:lnTo>
                        <a:pt x="1405" y="154"/>
                      </a:lnTo>
                      <a:lnTo>
                        <a:pt x="1402" y="149"/>
                      </a:lnTo>
                      <a:lnTo>
                        <a:pt x="1399" y="154"/>
                      </a:lnTo>
                      <a:lnTo>
                        <a:pt x="1397" y="152"/>
                      </a:lnTo>
                      <a:lnTo>
                        <a:pt x="1399" y="154"/>
                      </a:lnTo>
                      <a:lnTo>
                        <a:pt x="1402" y="152"/>
                      </a:lnTo>
                      <a:lnTo>
                        <a:pt x="1402" y="157"/>
                      </a:lnTo>
                      <a:lnTo>
                        <a:pt x="1405" y="157"/>
                      </a:lnTo>
                      <a:close/>
                      <a:moveTo>
                        <a:pt x="1504" y="127"/>
                      </a:moveTo>
                      <a:lnTo>
                        <a:pt x="1504" y="124"/>
                      </a:lnTo>
                      <a:lnTo>
                        <a:pt x="1504" y="118"/>
                      </a:lnTo>
                      <a:lnTo>
                        <a:pt x="1507" y="116"/>
                      </a:lnTo>
                      <a:lnTo>
                        <a:pt x="1507" y="118"/>
                      </a:lnTo>
                      <a:lnTo>
                        <a:pt x="1507" y="121"/>
                      </a:lnTo>
                      <a:lnTo>
                        <a:pt x="1504" y="124"/>
                      </a:lnTo>
                      <a:lnTo>
                        <a:pt x="1507" y="124"/>
                      </a:lnTo>
                      <a:lnTo>
                        <a:pt x="1512" y="144"/>
                      </a:lnTo>
                      <a:lnTo>
                        <a:pt x="1510" y="146"/>
                      </a:lnTo>
                      <a:lnTo>
                        <a:pt x="1510" y="144"/>
                      </a:lnTo>
                      <a:lnTo>
                        <a:pt x="1507" y="133"/>
                      </a:lnTo>
                      <a:lnTo>
                        <a:pt x="1507" y="127"/>
                      </a:lnTo>
                      <a:lnTo>
                        <a:pt x="1504" y="127"/>
                      </a:lnTo>
                      <a:close/>
                      <a:moveTo>
                        <a:pt x="1507" y="124"/>
                      </a:moveTo>
                      <a:lnTo>
                        <a:pt x="1504" y="124"/>
                      </a:lnTo>
                      <a:lnTo>
                        <a:pt x="1504" y="127"/>
                      </a:lnTo>
                      <a:lnTo>
                        <a:pt x="1507" y="124"/>
                      </a:lnTo>
                      <a:close/>
                      <a:moveTo>
                        <a:pt x="1261" y="93"/>
                      </a:moveTo>
                      <a:lnTo>
                        <a:pt x="1264" y="93"/>
                      </a:lnTo>
                      <a:lnTo>
                        <a:pt x="1261" y="91"/>
                      </a:lnTo>
                      <a:lnTo>
                        <a:pt x="1261" y="93"/>
                      </a:lnTo>
                      <a:close/>
                      <a:moveTo>
                        <a:pt x="1264" y="93"/>
                      </a:moveTo>
                      <a:lnTo>
                        <a:pt x="1261" y="100"/>
                      </a:lnTo>
                      <a:lnTo>
                        <a:pt x="1259" y="102"/>
                      </a:lnTo>
                      <a:lnTo>
                        <a:pt x="1259" y="105"/>
                      </a:lnTo>
                      <a:lnTo>
                        <a:pt x="1259" y="110"/>
                      </a:lnTo>
                      <a:lnTo>
                        <a:pt x="1261" y="110"/>
                      </a:lnTo>
                      <a:lnTo>
                        <a:pt x="1259" y="102"/>
                      </a:lnTo>
                      <a:lnTo>
                        <a:pt x="1264" y="100"/>
                      </a:lnTo>
                      <a:lnTo>
                        <a:pt x="1267" y="97"/>
                      </a:lnTo>
                      <a:lnTo>
                        <a:pt x="1264" y="93"/>
                      </a:lnTo>
                      <a:close/>
                      <a:moveTo>
                        <a:pt x="1629" y="264"/>
                      </a:moveTo>
                      <a:lnTo>
                        <a:pt x="1631" y="264"/>
                      </a:lnTo>
                      <a:lnTo>
                        <a:pt x="1631" y="266"/>
                      </a:lnTo>
                      <a:lnTo>
                        <a:pt x="1634" y="264"/>
                      </a:lnTo>
                      <a:lnTo>
                        <a:pt x="1637" y="271"/>
                      </a:lnTo>
                      <a:lnTo>
                        <a:pt x="1631" y="274"/>
                      </a:lnTo>
                      <a:lnTo>
                        <a:pt x="1625" y="271"/>
                      </a:lnTo>
                      <a:lnTo>
                        <a:pt x="1630" y="267"/>
                      </a:lnTo>
                      <a:lnTo>
                        <a:pt x="1629" y="267"/>
                      </a:lnTo>
                      <a:lnTo>
                        <a:pt x="1629" y="264"/>
                      </a:lnTo>
                      <a:close/>
                      <a:moveTo>
                        <a:pt x="1625" y="229"/>
                      </a:moveTo>
                      <a:lnTo>
                        <a:pt x="1622" y="229"/>
                      </a:lnTo>
                      <a:lnTo>
                        <a:pt x="1625" y="226"/>
                      </a:lnTo>
                      <a:lnTo>
                        <a:pt x="1625" y="229"/>
                      </a:lnTo>
                      <a:close/>
                      <a:moveTo>
                        <a:pt x="1192" y="91"/>
                      </a:moveTo>
                      <a:lnTo>
                        <a:pt x="1187" y="93"/>
                      </a:lnTo>
                      <a:lnTo>
                        <a:pt x="1184" y="100"/>
                      </a:lnTo>
                      <a:lnTo>
                        <a:pt x="1187" y="105"/>
                      </a:lnTo>
                      <a:lnTo>
                        <a:pt x="1192" y="105"/>
                      </a:lnTo>
                      <a:lnTo>
                        <a:pt x="1192" y="110"/>
                      </a:lnTo>
                      <a:lnTo>
                        <a:pt x="1195" y="113"/>
                      </a:lnTo>
                      <a:lnTo>
                        <a:pt x="1198" y="110"/>
                      </a:lnTo>
                      <a:lnTo>
                        <a:pt x="1200" y="116"/>
                      </a:lnTo>
                      <a:lnTo>
                        <a:pt x="1200" y="121"/>
                      </a:lnTo>
                      <a:lnTo>
                        <a:pt x="1200" y="124"/>
                      </a:lnTo>
                      <a:lnTo>
                        <a:pt x="1200" y="121"/>
                      </a:lnTo>
                      <a:lnTo>
                        <a:pt x="1203" y="116"/>
                      </a:lnTo>
                      <a:lnTo>
                        <a:pt x="1198" y="110"/>
                      </a:lnTo>
                      <a:lnTo>
                        <a:pt x="1195" y="113"/>
                      </a:lnTo>
                      <a:lnTo>
                        <a:pt x="1192" y="110"/>
                      </a:lnTo>
                      <a:lnTo>
                        <a:pt x="1192" y="105"/>
                      </a:lnTo>
                      <a:lnTo>
                        <a:pt x="1190" y="102"/>
                      </a:lnTo>
                      <a:lnTo>
                        <a:pt x="1184" y="100"/>
                      </a:lnTo>
                      <a:lnTo>
                        <a:pt x="1187" y="97"/>
                      </a:lnTo>
                      <a:lnTo>
                        <a:pt x="1194" y="91"/>
                      </a:lnTo>
                      <a:lnTo>
                        <a:pt x="1192" y="91"/>
                      </a:lnTo>
                      <a:close/>
                      <a:moveTo>
                        <a:pt x="1747" y="455"/>
                      </a:moveTo>
                      <a:lnTo>
                        <a:pt x="1747" y="453"/>
                      </a:lnTo>
                      <a:lnTo>
                        <a:pt x="1747" y="455"/>
                      </a:lnTo>
                      <a:lnTo>
                        <a:pt x="1750" y="455"/>
                      </a:lnTo>
                      <a:lnTo>
                        <a:pt x="1750" y="453"/>
                      </a:lnTo>
                      <a:lnTo>
                        <a:pt x="1750" y="455"/>
                      </a:lnTo>
                      <a:lnTo>
                        <a:pt x="1747" y="455"/>
                      </a:lnTo>
                      <a:close/>
                      <a:moveTo>
                        <a:pt x="1573" y="124"/>
                      </a:moveTo>
                      <a:lnTo>
                        <a:pt x="1573" y="121"/>
                      </a:lnTo>
                      <a:lnTo>
                        <a:pt x="1570" y="118"/>
                      </a:lnTo>
                      <a:lnTo>
                        <a:pt x="1565" y="118"/>
                      </a:lnTo>
                      <a:lnTo>
                        <a:pt x="1562" y="116"/>
                      </a:lnTo>
                      <a:lnTo>
                        <a:pt x="1562" y="118"/>
                      </a:lnTo>
                      <a:lnTo>
                        <a:pt x="1570" y="121"/>
                      </a:lnTo>
                      <a:lnTo>
                        <a:pt x="1560" y="127"/>
                      </a:lnTo>
                      <a:lnTo>
                        <a:pt x="1556" y="127"/>
                      </a:lnTo>
                      <a:lnTo>
                        <a:pt x="1556" y="124"/>
                      </a:lnTo>
                      <a:lnTo>
                        <a:pt x="1556" y="121"/>
                      </a:lnTo>
                      <a:lnTo>
                        <a:pt x="1556" y="127"/>
                      </a:lnTo>
                      <a:lnTo>
                        <a:pt x="1560" y="127"/>
                      </a:lnTo>
                      <a:lnTo>
                        <a:pt x="1568" y="124"/>
                      </a:lnTo>
                      <a:lnTo>
                        <a:pt x="1570" y="124"/>
                      </a:lnTo>
                      <a:lnTo>
                        <a:pt x="1568" y="127"/>
                      </a:lnTo>
                      <a:lnTo>
                        <a:pt x="1556" y="136"/>
                      </a:lnTo>
                      <a:lnTo>
                        <a:pt x="1556" y="138"/>
                      </a:lnTo>
                      <a:lnTo>
                        <a:pt x="1553" y="138"/>
                      </a:lnTo>
                      <a:lnTo>
                        <a:pt x="1548" y="138"/>
                      </a:lnTo>
                      <a:lnTo>
                        <a:pt x="1548" y="136"/>
                      </a:lnTo>
                      <a:lnTo>
                        <a:pt x="1548" y="144"/>
                      </a:lnTo>
                      <a:lnTo>
                        <a:pt x="1543" y="149"/>
                      </a:lnTo>
                      <a:lnTo>
                        <a:pt x="1540" y="149"/>
                      </a:lnTo>
                      <a:lnTo>
                        <a:pt x="1540" y="146"/>
                      </a:lnTo>
                      <a:lnTo>
                        <a:pt x="1537" y="152"/>
                      </a:lnTo>
                      <a:lnTo>
                        <a:pt x="1532" y="152"/>
                      </a:lnTo>
                      <a:lnTo>
                        <a:pt x="1520" y="144"/>
                      </a:lnTo>
                      <a:lnTo>
                        <a:pt x="1518" y="130"/>
                      </a:lnTo>
                      <a:lnTo>
                        <a:pt x="1518" y="133"/>
                      </a:lnTo>
                      <a:lnTo>
                        <a:pt x="1518" y="130"/>
                      </a:lnTo>
                      <a:lnTo>
                        <a:pt x="1524" y="124"/>
                      </a:lnTo>
                      <a:lnTo>
                        <a:pt x="1518" y="124"/>
                      </a:lnTo>
                      <a:lnTo>
                        <a:pt x="1515" y="121"/>
                      </a:lnTo>
                      <a:lnTo>
                        <a:pt x="1518" y="116"/>
                      </a:lnTo>
                      <a:lnTo>
                        <a:pt x="1524" y="113"/>
                      </a:lnTo>
                      <a:lnTo>
                        <a:pt x="1527" y="116"/>
                      </a:lnTo>
                      <a:lnTo>
                        <a:pt x="1529" y="118"/>
                      </a:lnTo>
                      <a:lnTo>
                        <a:pt x="1537" y="121"/>
                      </a:lnTo>
                      <a:lnTo>
                        <a:pt x="1537" y="118"/>
                      </a:lnTo>
                      <a:lnTo>
                        <a:pt x="1540" y="116"/>
                      </a:lnTo>
                      <a:lnTo>
                        <a:pt x="1548" y="124"/>
                      </a:lnTo>
                      <a:lnTo>
                        <a:pt x="1548" y="121"/>
                      </a:lnTo>
                      <a:lnTo>
                        <a:pt x="1540" y="116"/>
                      </a:lnTo>
                      <a:lnTo>
                        <a:pt x="1543" y="113"/>
                      </a:lnTo>
                      <a:lnTo>
                        <a:pt x="1543" y="110"/>
                      </a:lnTo>
                      <a:lnTo>
                        <a:pt x="1543" y="113"/>
                      </a:lnTo>
                      <a:lnTo>
                        <a:pt x="1537" y="113"/>
                      </a:lnTo>
                      <a:lnTo>
                        <a:pt x="1540" y="108"/>
                      </a:lnTo>
                      <a:lnTo>
                        <a:pt x="1535" y="110"/>
                      </a:lnTo>
                      <a:lnTo>
                        <a:pt x="1532" y="108"/>
                      </a:lnTo>
                      <a:lnTo>
                        <a:pt x="1537" y="100"/>
                      </a:lnTo>
                      <a:lnTo>
                        <a:pt x="1540" y="97"/>
                      </a:lnTo>
                      <a:lnTo>
                        <a:pt x="1545" y="97"/>
                      </a:lnTo>
                      <a:lnTo>
                        <a:pt x="1548" y="100"/>
                      </a:lnTo>
                      <a:lnTo>
                        <a:pt x="1553" y="100"/>
                      </a:lnTo>
                      <a:lnTo>
                        <a:pt x="1556" y="105"/>
                      </a:lnTo>
                      <a:lnTo>
                        <a:pt x="1556" y="108"/>
                      </a:lnTo>
                      <a:lnTo>
                        <a:pt x="1560" y="108"/>
                      </a:lnTo>
                      <a:lnTo>
                        <a:pt x="1556" y="102"/>
                      </a:lnTo>
                      <a:lnTo>
                        <a:pt x="1556" y="97"/>
                      </a:lnTo>
                      <a:lnTo>
                        <a:pt x="1565" y="97"/>
                      </a:lnTo>
                      <a:lnTo>
                        <a:pt x="1573" y="100"/>
                      </a:lnTo>
                      <a:lnTo>
                        <a:pt x="1584" y="105"/>
                      </a:lnTo>
                      <a:lnTo>
                        <a:pt x="1587" y="113"/>
                      </a:lnTo>
                      <a:lnTo>
                        <a:pt x="1587" y="116"/>
                      </a:lnTo>
                      <a:lnTo>
                        <a:pt x="1587" y="118"/>
                      </a:lnTo>
                      <a:lnTo>
                        <a:pt x="1589" y="121"/>
                      </a:lnTo>
                      <a:lnTo>
                        <a:pt x="1581" y="124"/>
                      </a:lnTo>
                      <a:lnTo>
                        <a:pt x="1576" y="130"/>
                      </a:lnTo>
                      <a:lnTo>
                        <a:pt x="1579" y="116"/>
                      </a:lnTo>
                      <a:lnTo>
                        <a:pt x="1576" y="121"/>
                      </a:lnTo>
                      <a:lnTo>
                        <a:pt x="1576" y="124"/>
                      </a:lnTo>
                      <a:lnTo>
                        <a:pt x="1573" y="124"/>
                      </a:lnTo>
                      <a:close/>
                      <a:moveTo>
                        <a:pt x="1614" y="218"/>
                      </a:moveTo>
                      <a:lnTo>
                        <a:pt x="1617" y="215"/>
                      </a:lnTo>
                      <a:lnTo>
                        <a:pt x="1617" y="218"/>
                      </a:lnTo>
                      <a:lnTo>
                        <a:pt x="1614" y="218"/>
                      </a:lnTo>
                      <a:close/>
                      <a:moveTo>
                        <a:pt x="1175" y="88"/>
                      </a:moveTo>
                      <a:lnTo>
                        <a:pt x="1175" y="85"/>
                      </a:lnTo>
                      <a:lnTo>
                        <a:pt x="1178" y="85"/>
                      </a:lnTo>
                      <a:lnTo>
                        <a:pt x="1178" y="88"/>
                      </a:lnTo>
                      <a:lnTo>
                        <a:pt x="1175" y="88"/>
                      </a:lnTo>
                      <a:close/>
                      <a:moveTo>
                        <a:pt x="1681" y="309"/>
                      </a:moveTo>
                      <a:lnTo>
                        <a:pt x="1681" y="307"/>
                      </a:lnTo>
                      <a:lnTo>
                        <a:pt x="1683" y="307"/>
                      </a:lnTo>
                      <a:lnTo>
                        <a:pt x="1686" y="303"/>
                      </a:lnTo>
                      <a:lnTo>
                        <a:pt x="1686" y="307"/>
                      </a:lnTo>
                      <a:lnTo>
                        <a:pt x="1683" y="307"/>
                      </a:lnTo>
                      <a:lnTo>
                        <a:pt x="1683" y="309"/>
                      </a:lnTo>
                      <a:lnTo>
                        <a:pt x="1681" y="309"/>
                      </a:lnTo>
                      <a:close/>
                      <a:moveTo>
                        <a:pt x="1267" y="105"/>
                      </a:moveTo>
                      <a:lnTo>
                        <a:pt x="1264" y="110"/>
                      </a:lnTo>
                      <a:lnTo>
                        <a:pt x="1267" y="110"/>
                      </a:lnTo>
                      <a:lnTo>
                        <a:pt x="1267" y="108"/>
                      </a:lnTo>
                      <a:lnTo>
                        <a:pt x="1267" y="105"/>
                      </a:lnTo>
                      <a:close/>
                      <a:moveTo>
                        <a:pt x="1295" y="93"/>
                      </a:moveTo>
                      <a:lnTo>
                        <a:pt x="1297" y="91"/>
                      </a:lnTo>
                      <a:lnTo>
                        <a:pt x="1300" y="88"/>
                      </a:lnTo>
                      <a:lnTo>
                        <a:pt x="1297" y="91"/>
                      </a:lnTo>
                      <a:lnTo>
                        <a:pt x="1300" y="91"/>
                      </a:lnTo>
                      <a:lnTo>
                        <a:pt x="1297" y="93"/>
                      </a:lnTo>
                      <a:lnTo>
                        <a:pt x="1295" y="93"/>
                      </a:lnTo>
                      <a:close/>
                      <a:moveTo>
                        <a:pt x="1596" y="215"/>
                      </a:moveTo>
                      <a:lnTo>
                        <a:pt x="1598" y="215"/>
                      </a:lnTo>
                      <a:lnTo>
                        <a:pt x="1596" y="207"/>
                      </a:lnTo>
                      <a:lnTo>
                        <a:pt x="1598" y="205"/>
                      </a:lnTo>
                      <a:lnTo>
                        <a:pt x="1606" y="198"/>
                      </a:lnTo>
                      <a:lnTo>
                        <a:pt x="1609" y="190"/>
                      </a:lnTo>
                      <a:lnTo>
                        <a:pt x="1609" y="187"/>
                      </a:lnTo>
                      <a:lnTo>
                        <a:pt x="1617" y="182"/>
                      </a:lnTo>
                      <a:lnTo>
                        <a:pt x="1622" y="182"/>
                      </a:lnTo>
                      <a:lnTo>
                        <a:pt x="1617" y="177"/>
                      </a:lnTo>
                      <a:lnTo>
                        <a:pt x="1617" y="174"/>
                      </a:lnTo>
                      <a:lnTo>
                        <a:pt x="1625" y="171"/>
                      </a:lnTo>
                      <a:lnTo>
                        <a:pt x="1631" y="177"/>
                      </a:lnTo>
                      <a:lnTo>
                        <a:pt x="1631" y="195"/>
                      </a:lnTo>
                      <a:lnTo>
                        <a:pt x="1629" y="198"/>
                      </a:lnTo>
                      <a:lnTo>
                        <a:pt x="1620" y="198"/>
                      </a:lnTo>
                      <a:lnTo>
                        <a:pt x="1614" y="202"/>
                      </a:lnTo>
                      <a:lnTo>
                        <a:pt x="1612" y="202"/>
                      </a:lnTo>
                      <a:lnTo>
                        <a:pt x="1612" y="205"/>
                      </a:lnTo>
                      <a:lnTo>
                        <a:pt x="1614" y="205"/>
                      </a:lnTo>
                      <a:lnTo>
                        <a:pt x="1612" y="207"/>
                      </a:lnTo>
                      <a:lnTo>
                        <a:pt x="1612" y="210"/>
                      </a:lnTo>
                      <a:lnTo>
                        <a:pt x="1609" y="215"/>
                      </a:lnTo>
                      <a:lnTo>
                        <a:pt x="1606" y="218"/>
                      </a:lnTo>
                      <a:lnTo>
                        <a:pt x="1598" y="215"/>
                      </a:lnTo>
                      <a:lnTo>
                        <a:pt x="1601" y="218"/>
                      </a:lnTo>
                      <a:lnTo>
                        <a:pt x="1601" y="221"/>
                      </a:lnTo>
                      <a:lnTo>
                        <a:pt x="1598" y="218"/>
                      </a:lnTo>
                      <a:lnTo>
                        <a:pt x="1596" y="215"/>
                      </a:lnTo>
                      <a:close/>
                      <a:moveTo>
                        <a:pt x="1926" y="571"/>
                      </a:moveTo>
                      <a:lnTo>
                        <a:pt x="1926" y="566"/>
                      </a:lnTo>
                      <a:lnTo>
                        <a:pt x="1929" y="566"/>
                      </a:lnTo>
                      <a:lnTo>
                        <a:pt x="1932" y="563"/>
                      </a:lnTo>
                      <a:lnTo>
                        <a:pt x="1932" y="568"/>
                      </a:lnTo>
                      <a:lnTo>
                        <a:pt x="1929" y="566"/>
                      </a:lnTo>
                      <a:lnTo>
                        <a:pt x="1926" y="571"/>
                      </a:lnTo>
                      <a:close/>
                      <a:moveTo>
                        <a:pt x="1518" y="146"/>
                      </a:moveTo>
                      <a:lnTo>
                        <a:pt x="1520" y="146"/>
                      </a:lnTo>
                      <a:lnTo>
                        <a:pt x="1527" y="149"/>
                      </a:lnTo>
                      <a:lnTo>
                        <a:pt x="1527" y="152"/>
                      </a:lnTo>
                      <a:lnTo>
                        <a:pt x="1524" y="152"/>
                      </a:lnTo>
                      <a:lnTo>
                        <a:pt x="1518" y="146"/>
                      </a:lnTo>
                      <a:close/>
                      <a:moveTo>
                        <a:pt x="1325" y="144"/>
                      </a:moveTo>
                      <a:lnTo>
                        <a:pt x="1328" y="141"/>
                      </a:lnTo>
                      <a:lnTo>
                        <a:pt x="1330" y="136"/>
                      </a:lnTo>
                      <a:lnTo>
                        <a:pt x="1325" y="138"/>
                      </a:lnTo>
                      <a:lnTo>
                        <a:pt x="1325" y="144"/>
                      </a:lnTo>
                      <a:close/>
                      <a:moveTo>
                        <a:pt x="1675" y="315"/>
                      </a:moveTo>
                      <a:lnTo>
                        <a:pt x="1675" y="312"/>
                      </a:lnTo>
                      <a:lnTo>
                        <a:pt x="1678" y="315"/>
                      </a:lnTo>
                      <a:lnTo>
                        <a:pt x="1678" y="323"/>
                      </a:lnTo>
                      <a:lnTo>
                        <a:pt x="1675" y="315"/>
                      </a:lnTo>
                      <a:close/>
                      <a:moveTo>
                        <a:pt x="1747" y="411"/>
                      </a:moveTo>
                      <a:lnTo>
                        <a:pt x="1750" y="402"/>
                      </a:lnTo>
                      <a:lnTo>
                        <a:pt x="1752" y="409"/>
                      </a:lnTo>
                      <a:lnTo>
                        <a:pt x="1750" y="411"/>
                      </a:lnTo>
                      <a:lnTo>
                        <a:pt x="1747" y="411"/>
                      </a:lnTo>
                      <a:close/>
                      <a:moveTo>
                        <a:pt x="1631" y="262"/>
                      </a:moveTo>
                      <a:lnTo>
                        <a:pt x="1634" y="259"/>
                      </a:lnTo>
                      <a:lnTo>
                        <a:pt x="1639" y="256"/>
                      </a:lnTo>
                      <a:lnTo>
                        <a:pt x="1639" y="259"/>
                      </a:lnTo>
                      <a:lnTo>
                        <a:pt x="1639" y="264"/>
                      </a:lnTo>
                      <a:lnTo>
                        <a:pt x="1631" y="262"/>
                      </a:lnTo>
                      <a:close/>
                      <a:moveTo>
                        <a:pt x="1358" y="152"/>
                      </a:moveTo>
                      <a:lnTo>
                        <a:pt x="1361" y="146"/>
                      </a:lnTo>
                      <a:lnTo>
                        <a:pt x="1364" y="146"/>
                      </a:lnTo>
                      <a:lnTo>
                        <a:pt x="1364" y="152"/>
                      </a:lnTo>
                      <a:lnTo>
                        <a:pt x="1361" y="154"/>
                      </a:lnTo>
                      <a:lnTo>
                        <a:pt x="1358" y="152"/>
                      </a:lnTo>
                      <a:close/>
                      <a:moveTo>
                        <a:pt x="1736" y="430"/>
                      </a:moveTo>
                      <a:lnTo>
                        <a:pt x="1752" y="422"/>
                      </a:lnTo>
                      <a:lnTo>
                        <a:pt x="1750" y="428"/>
                      </a:lnTo>
                      <a:lnTo>
                        <a:pt x="1742" y="430"/>
                      </a:lnTo>
                      <a:lnTo>
                        <a:pt x="1736" y="430"/>
                      </a:lnTo>
                      <a:close/>
                      <a:moveTo>
                        <a:pt x="1734" y="447"/>
                      </a:moveTo>
                      <a:lnTo>
                        <a:pt x="1739" y="447"/>
                      </a:lnTo>
                      <a:lnTo>
                        <a:pt x="1736" y="445"/>
                      </a:lnTo>
                      <a:lnTo>
                        <a:pt x="1739" y="441"/>
                      </a:lnTo>
                      <a:lnTo>
                        <a:pt x="1739" y="438"/>
                      </a:lnTo>
                      <a:lnTo>
                        <a:pt x="1742" y="441"/>
                      </a:lnTo>
                      <a:lnTo>
                        <a:pt x="1744" y="441"/>
                      </a:lnTo>
                      <a:lnTo>
                        <a:pt x="1742" y="445"/>
                      </a:lnTo>
                      <a:lnTo>
                        <a:pt x="1742" y="450"/>
                      </a:lnTo>
                      <a:lnTo>
                        <a:pt x="1742" y="453"/>
                      </a:lnTo>
                      <a:lnTo>
                        <a:pt x="1739" y="453"/>
                      </a:lnTo>
                      <a:lnTo>
                        <a:pt x="1742" y="450"/>
                      </a:lnTo>
                      <a:lnTo>
                        <a:pt x="1734" y="447"/>
                      </a:lnTo>
                      <a:close/>
                      <a:moveTo>
                        <a:pt x="1484" y="154"/>
                      </a:moveTo>
                      <a:lnTo>
                        <a:pt x="1491" y="149"/>
                      </a:lnTo>
                      <a:lnTo>
                        <a:pt x="1493" y="138"/>
                      </a:lnTo>
                      <a:lnTo>
                        <a:pt x="1493" y="136"/>
                      </a:lnTo>
                      <a:lnTo>
                        <a:pt x="1499" y="136"/>
                      </a:lnTo>
                      <a:lnTo>
                        <a:pt x="1499" y="138"/>
                      </a:lnTo>
                      <a:lnTo>
                        <a:pt x="1499" y="141"/>
                      </a:lnTo>
                      <a:lnTo>
                        <a:pt x="1493" y="144"/>
                      </a:lnTo>
                      <a:lnTo>
                        <a:pt x="1493" y="146"/>
                      </a:lnTo>
                      <a:lnTo>
                        <a:pt x="1487" y="154"/>
                      </a:lnTo>
                      <a:lnTo>
                        <a:pt x="1487" y="160"/>
                      </a:lnTo>
                      <a:lnTo>
                        <a:pt x="1484" y="154"/>
                      </a:lnTo>
                      <a:close/>
                      <a:moveTo>
                        <a:pt x="1200" y="64"/>
                      </a:moveTo>
                      <a:lnTo>
                        <a:pt x="1203" y="58"/>
                      </a:lnTo>
                      <a:lnTo>
                        <a:pt x="1206" y="58"/>
                      </a:lnTo>
                      <a:lnTo>
                        <a:pt x="1208" y="61"/>
                      </a:lnTo>
                      <a:lnTo>
                        <a:pt x="1208" y="64"/>
                      </a:lnTo>
                      <a:lnTo>
                        <a:pt x="1208" y="69"/>
                      </a:lnTo>
                      <a:lnTo>
                        <a:pt x="1206" y="75"/>
                      </a:lnTo>
                      <a:lnTo>
                        <a:pt x="1200" y="69"/>
                      </a:lnTo>
                      <a:lnTo>
                        <a:pt x="1200" y="64"/>
                      </a:lnTo>
                      <a:close/>
                      <a:moveTo>
                        <a:pt x="1192" y="33"/>
                      </a:moveTo>
                      <a:lnTo>
                        <a:pt x="1192" y="31"/>
                      </a:lnTo>
                      <a:lnTo>
                        <a:pt x="1198" y="28"/>
                      </a:lnTo>
                      <a:lnTo>
                        <a:pt x="1203" y="31"/>
                      </a:lnTo>
                      <a:lnTo>
                        <a:pt x="1203" y="33"/>
                      </a:lnTo>
                      <a:lnTo>
                        <a:pt x="1200" y="33"/>
                      </a:lnTo>
                      <a:lnTo>
                        <a:pt x="1203" y="39"/>
                      </a:lnTo>
                      <a:lnTo>
                        <a:pt x="1198" y="44"/>
                      </a:lnTo>
                      <a:lnTo>
                        <a:pt x="1198" y="41"/>
                      </a:lnTo>
                      <a:lnTo>
                        <a:pt x="1195" y="44"/>
                      </a:lnTo>
                      <a:lnTo>
                        <a:pt x="1192" y="41"/>
                      </a:lnTo>
                      <a:lnTo>
                        <a:pt x="1192" y="33"/>
                      </a:lnTo>
                      <a:close/>
                      <a:moveTo>
                        <a:pt x="1683" y="328"/>
                      </a:moveTo>
                      <a:lnTo>
                        <a:pt x="1686" y="331"/>
                      </a:lnTo>
                      <a:lnTo>
                        <a:pt x="1689" y="331"/>
                      </a:lnTo>
                      <a:lnTo>
                        <a:pt x="1686" y="328"/>
                      </a:lnTo>
                      <a:lnTo>
                        <a:pt x="1683" y="328"/>
                      </a:lnTo>
                      <a:close/>
                      <a:moveTo>
                        <a:pt x="1675" y="337"/>
                      </a:moveTo>
                      <a:lnTo>
                        <a:pt x="1673" y="340"/>
                      </a:lnTo>
                      <a:lnTo>
                        <a:pt x="1681" y="345"/>
                      </a:lnTo>
                      <a:lnTo>
                        <a:pt x="1686" y="343"/>
                      </a:lnTo>
                      <a:lnTo>
                        <a:pt x="1689" y="336"/>
                      </a:lnTo>
                      <a:lnTo>
                        <a:pt x="1686" y="340"/>
                      </a:lnTo>
                      <a:lnTo>
                        <a:pt x="1681" y="343"/>
                      </a:lnTo>
                      <a:lnTo>
                        <a:pt x="1675" y="340"/>
                      </a:lnTo>
                      <a:lnTo>
                        <a:pt x="1675" y="337"/>
                      </a:lnTo>
                      <a:close/>
                      <a:moveTo>
                        <a:pt x="1625" y="221"/>
                      </a:moveTo>
                      <a:lnTo>
                        <a:pt x="1625" y="213"/>
                      </a:lnTo>
                      <a:lnTo>
                        <a:pt x="1629" y="210"/>
                      </a:lnTo>
                      <a:lnTo>
                        <a:pt x="1631" y="205"/>
                      </a:lnTo>
                      <a:lnTo>
                        <a:pt x="1634" y="205"/>
                      </a:lnTo>
                      <a:lnTo>
                        <a:pt x="1639" y="210"/>
                      </a:lnTo>
                      <a:lnTo>
                        <a:pt x="1639" y="213"/>
                      </a:lnTo>
                      <a:lnTo>
                        <a:pt x="1637" y="215"/>
                      </a:lnTo>
                      <a:lnTo>
                        <a:pt x="1625" y="223"/>
                      </a:lnTo>
                      <a:lnTo>
                        <a:pt x="1625" y="221"/>
                      </a:lnTo>
                      <a:close/>
                      <a:moveTo>
                        <a:pt x="1537" y="121"/>
                      </a:moveTo>
                      <a:lnTo>
                        <a:pt x="1535" y="130"/>
                      </a:lnTo>
                      <a:lnTo>
                        <a:pt x="1537" y="124"/>
                      </a:lnTo>
                      <a:lnTo>
                        <a:pt x="1537" y="121"/>
                      </a:lnTo>
                      <a:close/>
                      <a:moveTo>
                        <a:pt x="1535" y="130"/>
                      </a:moveTo>
                      <a:lnTo>
                        <a:pt x="1527" y="124"/>
                      </a:lnTo>
                      <a:lnTo>
                        <a:pt x="1524" y="124"/>
                      </a:lnTo>
                      <a:lnTo>
                        <a:pt x="1532" y="130"/>
                      </a:lnTo>
                      <a:lnTo>
                        <a:pt x="1537" y="144"/>
                      </a:lnTo>
                      <a:lnTo>
                        <a:pt x="1540" y="144"/>
                      </a:lnTo>
                      <a:lnTo>
                        <a:pt x="1537" y="141"/>
                      </a:lnTo>
                      <a:lnTo>
                        <a:pt x="1535" y="130"/>
                      </a:lnTo>
                      <a:close/>
                      <a:moveTo>
                        <a:pt x="1691" y="336"/>
                      </a:moveTo>
                      <a:lnTo>
                        <a:pt x="1689" y="328"/>
                      </a:lnTo>
                      <a:lnTo>
                        <a:pt x="1691" y="320"/>
                      </a:lnTo>
                      <a:lnTo>
                        <a:pt x="1694" y="320"/>
                      </a:lnTo>
                      <a:lnTo>
                        <a:pt x="1698" y="320"/>
                      </a:lnTo>
                      <a:lnTo>
                        <a:pt x="1698" y="315"/>
                      </a:lnTo>
                      <a:lnTo>
                        <a:pt x="1700" y="315"/>
                      </a:lnTo>
                      <a:lnTo>
                        <a:pt x="1703" y="317"/>
                      </a:lnTo>
                      <a:lnTo>
                        <a:pt x="1700" y="320"/>
                      </a:lnTo>
                      <a:lnTo>
                        <a:pt x="1703" y="328"/>
                      </a:lnTo>
                      <a:lnTo>
                        <a:pt x="1700" y="333"/>
                      </a:lnTo>
                      <a:lnTo>
                        <a:pt x="1703" y="331"/>
                      </a:lnTo>
                      <a:lnTo>
                        <a:pt x="1700" y="336"/>
                      </a:lnTo>
                      <a:lnTo>
                        <a:pt x="1698" y="340"/>
                      </a:lnTo>
                      <a:lnTo>
                        <a:pt x="1694" y="340"/>
                      </a:lnTo>
                      <a:lnTo>
                        <a:pt x="1691" y="336"/>
                      </a:lnTo>
                      <a:close/>
                      <a:moveTo>
                        <a:pt x="1311" y="77"/>
                      </a:moveTo>
                      <a:lnTo>
                        <a:pt x="1308" y="77"/>
                      </a:lnTo>
                      <a:lnTo>
                        <a:pt x="1305" y="75"/>
                      </a:lnTo>
                      <a:lnTo>
                        <a:pt x="1300" y="75"/>
                      </a:lnTo>
                      <a:lnTo>
                        <a:pt x="1292" y="77"/>
                      </a:lnTo>
                      <a:lnTo>
                        <a:pt x="1286" y="83"/>
                      </a:lnTo>
                      <a:lnTo>
                        <a:pt x="1284" y="83"/>
                      </a:lnTo>
                      <a:lnTo>
                        <a:pt x="1292" y="75"/>
                      </a:lnTo>
                      <a:lnTo>
                        <a:pt x="1295" y="69"/>
                      </a:lnTo>
                      <a:lnTo>
                        <a:pt x="1297" y="69"/>
                      </a:lnTo>
                      <a:lnTo>
                        <a:pt x="1295" y="67"/>
                      </a:lnTo>
                      <a:lnTo>
                        <a:pt x="1295" y="64"/>
                      </a:lnTo>
                      <a:lnTo>
                        <a:pt x="1295" y="61"/>
                      </a:lnTo>
                      <a:lnTo>
                        <a:pt x="1300" y="58"/>
                      </a:lnTo>
                      <a:lnTo>
                        <a:pt x="1305" y="61"/>
                      </a:lnTo>
                      <a:lnTo>
                        <a:pt x="1305" y="64"/>
                      </a:lnTo>
                      <a:lnTo>
                        <a:pt x="1311" y="67"/>
                      </a:lnTo>
                      <a:lnTo>
                        <a:pt x="1313" y="75"/>
                      </a:lnTo>
                      <a:lnTo>
                        <a:pt x="1311" y="75"/>
                      </a:lnTo>
                      <a:lnTo>
                        <a:pt x="1311" y="72"/>
                      </a:lnTo>
                      <a:lnTo>
                        <a:pt x="1311" y="77"/>
                      </a:lnTo>
                      <a:close/>
                      <a:moveTo>
                        <a:pt x="1256" y="85"/>
                      </a:moveTo>
                      <a:lnTo>
                        <a:pt x="1247" y="91"/>
                      </a:lnTo>
                      <a:lnTo>
                        <a:pt x="1242" y="83"/>
                      </a:lnTo>
                      <a:lnTo>
                        <a:pt x="1244" y="83"/>
                      </a:lnTo>
                      <a:lnTo>
                        <a:pt x="1242" y="77"/>
                      </a:lnTo>
                      <a:lnTo>
                        <a:pt x="1242" y="72"/>
                      </a:lnTo>
                      <a:lnTo>
                        <a:pt x="1244" y="72"/>
                      </a:lnTo>
                      <a:lnTo>
                        <a:pt x="1242" y="69"/>
                      </a:lnTo>
                      <a:lnTo>
                        <a:pt x="1244" y="64"/>
                      </a:lnTo>
                      <a:lnTo>
                        <a:pt x="1247" y="72"/>
                      </a:lnTo>
                      <a:lnTo>
                        <a:pt x="1251" y="72"/>
                      </a:lnTo>
                      <a:lnTo>
                        <a:pt x="1253" y="77"/>
                      </a:lnTo>
                      <a:lnTo>
                        <a:pt x="1251" y="72"/>
                      </a:lnTo>
                      <a:lnTo>
                        <a:pt x="1247" y="69"/>
                      </a:lnTo>
                      <a:lnTo>
                        <a:pt x="1247" y="64"/>
                      </a:lnTo>
                      <a:lnTo>
                        <a:pt x="1251" y="58"/>
                      </a:lnTo>
                      <a:lnTo>
                        <a:pt x="1256" y="69"/>
                      </a:lnTo>
                      <a:lnTo>
                        <a:pt x="1259" y="72"/>
                      </a:lnTo>
                      <a:lnTo>
                        <a:pt x="1256" y="80"/>
                      </a:lnTo>
                      <a:lnTo>
                        <a:pt x="1259" y="83"/>
                      </a:lnTo>
                      <a:lnTo>
                        <a:pt x="1256" y="85"/>
                      </a:lnTo>
                      <a:close/>
                      <a:moveTo>
                        <a:pt x="1612" y="202"/>
                      </a:moveTo>
                      <a:lnTo>
                        <a:pt x="1614" y="195"/>
                      </a:lnTo>
                      <a:lnTo>
                        <a:pt x="1622" y="185"/>
                      </a:lnTo>
                      <a:lnTo>
                        <a:pt x="1622" y="182"/>
                      </a:lnTo>
                      <a:lnTo>
                        <a:pt x="1609" y="202"/>
                      </a:lnTo>
                      <a:lnTo>
                        <a:pt x="1604" y="205"/>
                      </a:lnTo>
                      <a:lnTo>
                        <a:pt x="1612" y="202"/>
                      </a:lnTo>
                      <a:close/>
                      <a:moveTo>
                        <a:pt x="1562" y="116"/>
                      </a:moveTo>
                      <a:lnTo>
                        <a:pt x="1568" y="113"/>
                      </a:lnTo>
                      <a:lnTo>
                        <a:pt x="1568" y="110"/>
                      </a:lnTo>
                      <a:lnTo>
                        <a:pt x="1565" y="110"/>
                      </a:lnTo>
                      <a:lnTo>
                        <a:pt x="1562" y="116"/>
                      </a:lnTo>
                      <a:close/>
                      <a:moveTo>
                        <a:pt x="1565" y="110"/>
                      </a:moveTo>
                      <a:lnTo>
                        <a:pt x="1562" y="110"/>
                      </a:lnTo>
                      <a:lnTo>
                        <a:pt x="1562" y="113"/>
                      </a:lnTo>
                      <a:lnTo>
                        <a:pt x="1565" y="110"/>
                      </a:lnTo>
                      <a:close/>
                      <a:moveTo>
                        <a:pt x="1562" y="110"/>
                      </a:moveTo>
                      <a:lnTo>
                        <a:pt x="1565" y="108"/>
                      </a:lnTo>
                      <a:lnTo>
                        <a:pt x="1562" y="108"/>
                      </a:lnTo>
                      <a:lnTo>
                        <a:pt x="1562" y="110"/>
                      </a:lnTo>
                      <a:close/>
                    </a:path>
                  </a:pathLst>
                </a:custGeom>
                <a:grpFill/>
                <a:ln w="12700" cap="flat" cmpd="sng" algn="ctr">
                  <a:solidFill>
                    <a:schemeClr val="bg1">
                      <a:lumMod val="85000"/>
                    </a:schemeClr>
                  </a:solidFill>
                  <a:prstDash val="solid"/>
                  <a:round/>
                  <a:headEnd type="none" w="med" len="med"/>
                  <a:tailEnd type="none" w="med" len="med"/>
                </a:ln>
              </p:spPr>
            </p:sp>
            <p:sp>
              <p:nvSpPr>
                <p:cNvPr id="49" name="ee4p_BR_10"/>
                <p:cNvSpPr>
                  <a:spLocks/>
                </p:cNvSpPr>
                <p:nvPr>
                  <p:custDataLst>
                    <p:tags r:id="rId11"/>
                  </p:custDataLst>
                </p:nvPr>
              </p:nvSpPr>
              <p:spPr bwMode="auto">
                <a:xfrm>
                  <a:off x="3811409" y="3027368"/>
                  <a:ext cx="1198961" cy="1250166"/>
                </a:xfrm>
                <a:custGeom>
                  <a:avLst/>
                  <a:gdLst/>
                  <a:ahLst/>
                  <a:cxnLst>
                    <a:cxn ang="0">
                      <a:pos x="317" y="607"/>
                    </a:cxn>
                    <a:cxn ang="0">
                      <a:pos x="1336" y="416"/>
                    </a:cxn>
                    <a:cxn ang="0">
                      <a:pos x="1419" y="6"/>
                    </a:cxn>
                    <a:cxn ang="0">
                      <a:pos x="1607" y="456"/>
                    </a:cxn>
                    <a:cxn ang="0">
                      <a:pos x="1843" y="698"/>
                    </a:cxn>
                    <a:cxn ang="0">
                      <a:pos x="2696" y="902"/>
                    </a:cxn>
                    <a:cxn ang="0">
                      <a:pos x="4530" y="1308"/>
                    </a:cxn>
                    <a:cxn ang="0">
                      <a:pos x="4477" y="1567"/>
                    </a:cxn>
                    <a:cxn ang="0">
                      <a:pos x="4438" y="1846"/>
                    </a:cxn>
                    <a:cxn ang="0">
                      <a:pos x="4474" y="2141"/>
                    </a:cxn>
                    <a:cxn ang="0">
                      <a:pos x="4523" y="2321"/>
                    </a:cxn>
                    <a:cxn ang="0">
                      <a:pos x="4416" y="2618"/>
                    </a:cxn>
                    <a:cxn ang="0">
                      <a:pos x="4325" y="2939"/>
                    </a:cxn>
                    <a:cxn ang="0">
                      <a:pos x="4190" y="3195"/>
                    </a:cxn>
                    <a:cxn ang="0">
                      <a:pos x="4024" y="3425"/>
                    </a:cxn>
                    <a:cxn ang="0">
                      <a:pos x="3809" y="3598"/>
                    </a:cxn>
                    <a:cxn ang="0">
                      <a:pos x="3657" y="3744"/>
                    </a:cxn>
                    <a:cxn ang="0">
                      <a:pos x="3646" y="3855"/>
                    </a:cxn>
                    <a:cxn ang="0">
                      <a:pos x="3574" y="3946"/>
                    </a:cxn>
                    <a:cxn ang="0">
                      <a:pos x="3503" y="4001"/>
                    </a:cxn>
                    <a:cxn ang="0">
                      <a:pos x="3472" y="4083"/>
                    </a:cxn>
                    <a:cxn ang="0">
                      <a:pos x="3425" y="4192"/>
                    </a:cxn>
                    <a:cxn ang="0">
                      <a:pos x="3411" y="4287"/>
                    </a:cxn>
                    <a:cxn ang="0">
                      <a:pos x="3455" y="4428"/>
                    </a:cxn>
                    <a:cxn ang="0">
                      <a:pos x="3298" y="4473"/>
                    </a:cxn>
                    <a:cxn ang="0">
                      <a:pos x="3174" y="4442"/>
                    </a:cxn>
                    <a:cxn ang="0">
                      <a:pos x="3160" y="4338"/>
                    </a:cxn>
                    <a:cxn ang="0">
                      <a:pos x="3105" y="4241"/>
                    </a:cxn>
                    <a:cxn ang="0">
                      <a:pos x="2987" y="4318"/>
                    </a:cxn>
                    <a:cxn ang="0">
                      <a:pos x="2875" y="4249"/>
                    </a:cxn>
                    <a:cxn ang="0">
                      <a:pos x="2711" y="4302"/>
                    </a:cxn>
                    <a:cxn ang="0">
                      <a:pos x="2616" y="4307"/>
                    </a:cxn>
                    <a:cxn ang="0">
                      <a:pos x="2550" y="4266"/>
                    </a:cxn>
                    <a:cxn ang="0">
                      <a:pos x="2459" y="4210"/>
                    </a:cxn>
                    <a:cxn ang="0">
                      <a:pos x="2354" y="4169"/>
                    </a:cxn>
                    <a:cxn ang="0">
                      <a:pos x="2263" y="4116"/>
                    </a:cxn>
                    <a:cxn ang="0">
                      <a:pos x="2159" y="4161"/>
                    </a:cxn>
                    <a:cxn ang="0">
                      <a:pos x="2042" y="4183"/>
                    </a:cxn>
                    <a:cxn ang="0">
                      <a:pos x="1954" y="4233"/>
                    </a:cxn>
                    <a:cxn ang="0">
                      <a:pos x="1835" y="4368"/>
                    </a:cxn>
                    <a:cxn ang="0">
                      <a:pos x="1700" y="4423"/>
                    </a:cxn>
                    <a:cxn ang="0">
                      <a:pos x="1598" y="4296"/>
                    </a:cxn>
                    <a:cxn ang="0">
                      <a:pos x="1363" y="4180"/>
                    </a:cxn>
                    <a:cxn ang="0">
                      <a:pos x="1294" y="4031"/>
                    </a:cxn>
                    <a:cxn ang="0">
                      <a:pos x="1336" y="3791"/>
                    </a:cxn>
                    <a:cxn ang="0">
                      <a:pos x="516" y="2991"/>
                    </a:cxn>
                    <a:cxn ang="0">
                      <a:pos x="480" y="2891"/>
                    </a:cxn>
                    <a:cxn ang="0">
                      <a:pos x="491" y="2762"/>
                    </a:cxn>
                    <a:cxn ang="0">
                      <a:pos x="447" y="2691"/>
                    </a:cxn>
                    <a:cxn ang="0">
                      <a:pos x="383" y="2635"/>
                    </a:cxn>
                    <a:cxn ang="0">
                      <a:pos x="511" y="2525"/>
                    </a:cxn>
                    <a:cxn ang="0">
                      <a:pos x="577" y="2379"/>
                    </a:cxn>
                    <a:cxn ang="0">
                      <a:pos x="698" y="2150"/>
                    </a:cxn>
                    <a:cxn ang="0">
                      <a:pos x="673" y="1957"/>
                    </a:cxn>
                    <a:cxn ang="0">
                      <a:pos x="624" y="1865"/>
                    </a:cxn>
                    <a:cxn ang="0">
                      <a:pos x="632" y="1761"/>
                    </a:cxn>
                    <a:cxn ang="0">
                      <a:pos x="667" y="1597"/>
                    </a:cxn>
                    <a:cxn ang="0">
                      <a:pos x="547" y="1556"/>
                    </a:cxn>
                    <a:cxn ang="0">
                      <a:pos x="44" y="1485"/>
                    </a:cxn>
                    <a:cxn ang="0">
                      <a:pos x="66" y="1300"/>
                    </a:cxn>
                    <a:cxn ang="0">
                      <a:pos x="36" y="1109"/>
                    </a:cxn>
                    <a:cxn ang="0">
                      <a:pos x="52" y="930"/>
                    </a:cxn>
                  </a:cxnLst>
                  <a:rect l="0" t="0" r="r" b="b"/>
                  <a:pathLst>
                    <a:path w="4637" h="4481">
                      <a:moveTo>
                        <a:pt x="0" y="809"/>
                      </a:moveTo>
                      <a:lnTo>
                        <a:pt x="0" y="803"/>
                      </a:lnTo>
                      <a:lnTo>
                        <a:pt x="0" y="800"/>
                      </a:lnTo>
                      <a:lnTo>
                        <a:pt x="14" y="800"/>
                      </a:lnTo>
                      <a:lnTo>
                        <a:pt x="16" y="795"/>
                      </a:lnTo>
                      <a:lnTo>
                        <a:pt x="22" y="792"/>
                      </a:lnTo>
                      <a:lnTo>
                        <a:pt x="31" y="792"/>
                      </a:lnTo>
                      <a:lnTo>
                        <a:pt x="39" y="795"/>
                      </a:lnTo>
                      <a:lnTo>
                        <a:pt x="41" y="797"/>
                      </a:lnTo>
                      <a:lnTo>
                        <a:pt x="44" y="795"/>
                      </a:lnTo>
                      <a:lnTo>
                        <a:pt x="41" y="789"/>
                      </a:lnTo>
                      <a:lnTo>
                        <a:pt x="44" y="776"/>
                      </a:lnTo>
                      <a:lnTo>
                        <a:pt x="44" y="773"/>
                      </a:lnTo>
                      <a:lnTo>
                        <a:pt x="44" y="767"/>
                      </a:lnTo>
                      <a:lnTo>
                        <a:pt x="41" y="764"/>
                      </a:lnTo>
                      <a:lnTo>
                        <a:pt x="39" y="756"/>
                      </a:lnTo>
                      <a:lnTo>
                        <a:pt x="36" y="753"/>
                      </a:lnTo>
                      <a:lnTo>
                        <a:pt x="31" y="745"/>
                      </a:lnTo>
                      <a:lnTo>
                        <a:pt x="31" y="740"/>
                      </a:lnTo>
                      <a:lnTo>
                        <a:pt x="31" y="734"/>
                      </a:lnTo>
                      <a:lnTo>
                        <a:pt x="31" y="728"/>
                      </a:lnTo>
                      <a:lnTo>
                        <a:pt x="33" y="720"/>
                      </a:lnTo>
                      <a:lnTo>
                        <a:pt x="36" y="720"/>
                      </a:lnTo>
                      <a:lnTo>
                        <a:pt x="36" y="715"/>
                      </a:lnTo>
                      <a:lnTo>
                        <a:pt x="41" y="710"/>
                      </a:lnTo>
                      <a:lnTo>
                        <a:pt x="41" y="701"/>
                      </a:lnTo>
                      <a:lnTo>
                        <a:pt x="44" y="692"/>
                      </a:lnTo>
                      <a:lnTo>
                        <a:pt x="55" y="671"/>
                      </a:lnTo>
                      <a:lnTo>
                        <a:pt x="57" y="668"/>
                      </a:lnTo>
                      <a:lnTo>
                        <a:pt x="66" y="657"/>
                      </a:lnTo>
                      <a:lnTo>
                        <a:pt x="61" y="651"/>
                      </a:lnTo>
                      <a:lnTo>
                        <a:pt x="57" y="643"/>
                      </a:lnTo>
                      <a:lnTo>
                        <a:pt x="49" y="635"/>
                      </a:lnTo>
                      <a:lnTo>
                        <a:pt x="47" y="623"/>
                      </a:lnTo>
                      <a:lnTo>
                        <a:pt x="44" y="621"/>
                      </a:lnTo>
                      <a:lnTo>
                        <a:pt x="44" y="618"/>
                      </a:lnTo>
                      <a:lnTo>
                        <a:pt x="44" y="615"/>
                      </a:lnTo>
                      <a:lnTo>
                        <a:pt x="39" y="615"/>
                      </a:lnTo>
                      <a:lnTo>
                        <a:pt x="36" y="615"/>
                      </a:lnTo>
                      <a:lnTo>
                        <a:pt x="25" y="610"/>
                      </a:lnTo>
                      <a:lnTo>
                        <a:pt x="22" y="610"/>
                      </a:lnTo>
                      <a:lnTo>
                        <a:pt x="19" y="607"/>
                      </a:lnTo>
                      <a:lnTo>
                        <a:pt x="317" y="607"/>
                      </a:lnTo>
                      <a:lnTo>
                        <a:pt x="323" y="607"/>
                      </a:lnTo>
                      <a:lnTo>
                        <a:pt x="358" y="607"/>
                      </a:lnTo>
                      <a:lnTo>
                        <a:pt x="491" y="607"/>
                      </a:lnTo>
                      <a:lnTo>
                        <a:pt x="721" y="610"/>
                      </a:lnTo>
                      <a:lnTo>
                        <a:pt x="1018" y="610"/>
                      </a:lnTo>
                      <a:lnTo>
                        <a:pt x="1030" y="610"/>
                      </a:lnTo>
                      <a:lnTo>
                        <a:pt x="1273" y="610"/>
                      </a:lnTo>
                      <a:lnTo>
                        <a:pt x="1298" y="607"/>
                      </a:lnTo>
                      <a:lnTo>
                        <a:pt x="1303" y="605"/>
                      </a:lnTo>
                      <a:lnTo>
                        <a:pt x="1306" y="605"/>
                      </a:lnTo>
                      <a:lnTo>
                        <a:pt x="1308" y="605"/>
                      </a:lnTo>
                      <a:lnTo>
                        <a:pt x="1311" y="605"/>
                      </a:lnTo>
                      <a:lnTo>
                        <a:pt x="1316" y="599"/>
                      </a:lnTo>
                      <a:lnTo>
                        <a:pt x="1333" y="582"/>
                      </a:lnTo>
                      <a:lnTo>
                        <a:pt x="1342" y="577"/>
                      </a:lnTo>
                      <a:lnTo>
                        <a:pt x="1344" y="574"/>
                      </a:lnTo>
                      <a:lnTo>
                        <a:pt x="1344" y="572"/>
                      </a:lnTo>
                      <a:lnTo>
                        <a:pt x="1333" y="566"/>
                      </a:lnTo>
                      <a:lnTo>
                        <a:pt x="1322" y="569"/>
                      </a:lnTo>
                      <a:lnTo>
                        <a:pt x="1319" y="569"/>
                      </a:lnTo>
                      <a:lnTo>
                        <a:pt x="1308" y="574"/>
                      </a:lnTo>
                      <a:lnTo>
                        <a:pt x="1300" y="572"/>
                      </a:lnTo>
                      <a:lnTo>
                        <a:pt x="1298" y="569"/>
                      </a:lnTo>
                      <a:lnTo>
                        <a:pt x="1308" y="544"/>
                      </a:lnTo>
                      <a:lnTo>
                        <a:pt x="1311" y="538"/>
                      </a:lnTo>
                      <a:lnTo>
                        <a:pt x="1314" y="530"/>
                      </a:lnTo>
                      <a:lnTo>
                        <a:pt x="1316" y="528"/>
                      </a:lnTo>
                      <a:lnTo>
                        <a:pt x="1316" y="521"/>
                      </a:lnTo>
                      <a:lnTo>
                        <a:pt x="1314" y="516"/>
                      </a:lnTo>
                      <a:lnTo>
                        <a:pt x="1308" y="511"/>
                      </a:lnTo>
                      <a:lnTo>
                        <a:pt x="1311" y="500"/>
                      </a:lnTo>
                      <a:lnTo>
                        <a:pt x="1311" y="494"/>
                      </a:lnTo>
                      <a:lnTo>
                        <a:pt x="1308" y="488"/>
                      </a:lnTo>
                      <a:lnTo>
                        <a:pt x="1306" y="480"/>
                      </a:lnTo>
                      <a:lnTo>
                        <a:pt x="1311" y="469"/>
                      </a:lnTo>
                      <a:lnTo>
                        <a:pt x="1314" y="467"/>
                      </a:lnTo>
                      <a:lnTo>
                        <a:pt x="1319" y="459"/>
                      </a:lnTo>
                      <a:lnTo>
                        <a:pt x="1322" y="452"/>
                      </a:lnTo>
                      <a:lnTo>
                        <a:pt x="1333" y="439"/>
                      </a:lnTo>
                      <a:lnTo>
                        <a:pt x="1333" y="433"/>
                      </a:lnTo>
                      <a:lnTo>
                        <a:pt x="1336" y="428"/>
                      </a:lnTo>
                      <a:lnTo>
                        <a:pt x="1333" y="423"/>
                      </a:lnTo>
                      <a:lnTo>
                        <a:pt x="1336" y="416"/>
                      </a:lnTo>
                      <a:lnTo>
                        <a:pt x="1347" y="411"/>
                      </a:lnTo>
                      <a:lnTo>
                        <a:pt x="1350" y="408"/>
                      </a:lnTo>
                      <a:lnTo>
                        <a:pt x="1347" y="400"/>
                      </a:lnTo>
                      <a:lnTo>
                        <a:pt x="1344" y="398"/>
                      </a:lnTo>
                      <a:lnTo>
                        <a:pt x="1344" y="392"/>
                      </a:lnTo>
                      <a:lnTo>
                        <a:pt x="1347" y="387"/>
                      </a:lnTo>
                      <a:lnTo>
                        <a:pt x="1344" y="370"/>
                      </a:lnTo>
                      <a:lnTo>
                        <a:pt x="1350" y="362"/>
                      </a:lnTo>
                      <a:lnTo>
                        <a:pt x="1344" y="345"/>
                      </a:lnTo>
                      <a:lnTo>
                        <a:pt x="1347" y="337"/>
                      </a:lnTo>
                      <a:lnTo>
                        <a:pt x="1358" y="331"/>
                      </a:lnTo>
                      <a:lnTo>
                        <a:pt x="1360" y="326"/>
                      </a:lnTo>
                      <a:lnTo>
                        <a:pt x="1358" y="318"/>
                      </a:lnTo>
                      <a:lnTo>
                        <a:pt x="1360" y="309"/>
                      </a:lnTo>
                      <a:lnTo>
                        <a:pt x="1358" y="304"/>
                      </a:lnTo>
                      <a:lnTo>
                        <a:pt x="1347" y="285"/>
                      </a:lnTo>
                      <a:lnTo>
                        <a:pt x="1344" y="276"/>
                      </a:lnTo>
                      <a:lnTo>
                        <a:pt x="1344" y="270"/>
                      </a:lnTo>
                      <a:lnTo>
                        <a:pt x="1342" y="260"/>
                      </a:lnTo>
                      <a:lnTo>
                        <a:pt x="1333" y="249"/>
                      </a:lnTo>
                      <a:lnTo>
                        <a:pt x="1324" y="235"/>
                      </a:lnTo>
                      <a:lnTo>
                        <a:pt x="1324" y="216"/>
                      </a:lnTo>
                      <a:lnTo>
                        <a:pt x="1319" y="209"/>
                      </a:lnTo>
                      <a:lnTo>
                        <a:pt x="1319" y="204"/>
                      </a:lnTo>
                      <a:lnTo>
                        <a:pt x="1322" y="204"/>
                      </a:lnTo>
                      <a:lnTo>
                        <a:pt x="1324" y="199"/>
                      </a:lnTo>
                      <a:lnTo>
                        <a:pt x="1342" y="191"/>
                      </a:lnTo>
                      <a:lnTo>
                        <a:pt x="1355" y="177"/>
                      </a:lnTo>
                      <a:lnTo>
                        <a:pt x="1360" y="168"/>
                      </a:lnTo>
                      <a:lnTo>
                        <a:pt x="1360" y="163"/>
                      </a:lnTo>
                      <a:lnTo>
                        <a:pt x="1360" y="152"/>
                      </a:lnTo>
                      <a:lnTo>
                        <a:pt x="1363" y="149"/>
                      </a:lnTo>
                      <a:lnTo>
                        <a:pt x="1375" y="138"/>
                      </a:lnTo>
                      <a:lnTo>
                        <a:pt x="1380" y="127"/>
                      </a:lnTo>
                      <a:lnTo>
                        <a:pt x="1393" y="114"/>
                      </a:lnTo>
                      <a:lnTo>
                        <a:pt x="1393" y="105"/>
                      </a:lnTo>
                      <a:lnTo>
                        <a:pt x="1391" y="99"/>
                      </a:lnTo>
                      <a:lnTo>
                        <a:pt x="1388" y="86"/>
                      </a:lnTo>
                      <a:lnTo>
                        <a:pt x="1385" y="75"/>
                      </a:lnTo>
                      <a:lnTo>
                        <a:pt x="1388" y="61"/>
                      </a:lnTo>
                      <a:lnTo>
                        <a:pt x="1391" y="47"/>
                      </a:lnTo>
                      <a:lnTo>
                        <a:pt x="1405" y="19"/>
                      </a:lnTo>
                      <a:lnTo>
                        <a:pt x="1419" y="6"/>
                      </a:lnTo>
                      <a:lnTo>
                        <a:pt x="1421" y="3"/>
                      </a:lnTo>
                      <a:lnTo>
                        <a:pt x="1421" y="0"/>
                      </a:lnTo>
                      <a:lnTo>
                        <a:pt x="1427" y="3"/>
                      </a:lnTo>
                      <a:lnTo>
                        <a:pt x="1449" y="17"/>
                      </a:lnTo>
                      <a:lnTo>
                        <a:pt x="1452" y="22"/>
                      </a:lnTo>
                      <a:lnTo>
                        <a:pt x="1462" y="45"/>
                      </a:lnTo>
                      <a:lnTo>
                        <a:pt x="1477" y="58"/>
                      </a:lnTo>
                      <a:lnTo>
                        <a:pt x="1488" y="78"/>
                      </a:lnTo>
                      <a:lnTo>
                        <a:pt x="1498" y="105"/>
                      </a:lnTo>
                      <a:lnTo>
                        <a:pt x="1498" y="108"/>
                      </a:lnTo>
                      <a:lnTo>
                        <a:pt x="1502" y="127"/>
                      </a:lnTo>
                      <a:lnTo>
                        <a:pt x="1505" y="130"/>
                      </a:lnTo>
                      <a:lnTo>
                        <a:pt x="1510" y="130"/>
                      </a:lnTo>
                      <a:lnTo>
                        <a:pt x="1515" y="132"/>
                      </a:lnTo>
                      <a:lnTo>
                        <a:pt x="1518" y="138"/>
                      </a:lnTo>
                      <a:lnTo>
                        <a:pt x="1523" y="174"/>
                      </a:lnTo>
                      <a:lnTo>
                        <a:pt x="1526" y="191"/>
                      </a:lnTo>
                      <a:lnTo>
                        <a:pt x="1540" y="216"/>
                      </a:lnTo>
                      <a:lnTo>
                        <a:pt x="1543" y="224"/>
                      </a:lnTo>
                      <a:lnTo>
                        <a:pt x="1546" y="254"/>
                      </a:lnTo>
                      <a:lnTo>
                        <a:pt x="1546" y="262"/>
                      </a:lnTo>
                      <a:lnTo>
                        <a:pt x="1557" y="273"/>
                      </a:lnTo>
                      <a:lnTo>
                        <a:pt x="1567" y="296"/>
                      </a:lnTo>
                      <a:lnTo>
                        <a:pt x="1587" y="312"/>
                      </a:lnTo>
                      <a:lnTo>
                        <a:pt x="1590" y="334"/>
                      </a:lnTo>
                      <a:lnTo>
                        <a:pt x="1592" y="339"/>
                      </a:lnTo>
                      <a:lnTo>
                        <a:pt x="1595" y="342"/>
                      </a:lnTo>
                      <a:lnTo>
                        <a:pt x="1607" y="345"/>
                      </a:lnTo>
                      <a:lnTo>
                        <a:pt x="1612" y="347"/>
                      </a:lnTo>
                      <a:lnTo>
                        <a:pt x="1620" y="362"/>
                      </a:lnTo>
                      <a:lnTo>
                        <a:pt x="1620" y="367"/>
                      </a:lnTo>
                      <a:lnTo>
                        <a:pt x="1620" y="370"/>
                      </a:lnTo>
                      <a:lnTo>
                        <a:pt x="1615" y="383"/>
                      </a:lnTo>
                      <a:lnTo>
                        <a:pt x="1612" y="398"/>
                      </a:lnTo>
                      <a:lnTo>
                        <a:pt x="1607" y="406"/>
                      </a:lnTo>
                      <a:lnTo>
                        <a:pt x="1607" y="408"/>
                      </a:lnTo>
                      <a:lnTo>
                        <a:pt x="1607" y="414"/>
                      </a:lnTo>
                      <a:lnTo>
                        <a:pt x="1612" y="425"/>
                      </a:lnTo>
                      <a:lnTo>
                        <a:pt x="1612" y="428"/>
                      </a:lnTo>
                      <a:lnTo>
                        <a:pt x="1612" y="431"/>
                      </a:lnTo>
                      <a:lnTo>
                        <a:pt x="1603" y="444"/>
                      </a:lnTo>
                      <a:lnTo>
                        <a:pt x="1603" y="447"/>
                      </a:lnTo>
                      <a:lnTo>
                        <a:pt x="1607" y="456"/>
                      </a:lnTo>
                      <a:lnTo>
                        <a:pt x="1618" y="469"/>
                      </a:lnTo>
                      <a:lnTo>
                        <a:pt x="1618" y="475"/>
                      </a:lnTo>
                      <a:lnTo>
                        <a:pt x="1615" y="480"/>
                      </a:lnTo>
                      <a:lnTo>
                        <a:pt x="1615" y="483"/>
                      </a:lnTo>
                      <a:lnTo>
                        <a:pt x="1623" y="488"/>
                      </a:lnTo>
                      <a:lnTo>
                        <a:pt x="1626" y="492"/>
                      </a:lnTo>
                      <a:lnTo>
                        <a:pt x="1623" y="500"/>
                      </a:lnTo>
                      <a:lnTo>
                        <a:pt x="1618" y="505"/>
                      </a:lnTo>
                      <a:lnTo>
                        <a:pt x="1620" y="513"/>
                      </a:lnTo>
                      <a:lnTo>
                        <a:pt x="1620" y="516"/>
                      </a:lnTo>
                      <a:lnTo>
                        <a:pt x="1626" y="519"/>
                      </a:lnTo>
                      <a:lnTo>
                        <a:pt x="1631" y="521"/>
                      </a:lnTo>
                      <a:lnTo>
                        <a:pt x="1628" y="541"/>
                      </a:lnTo>
                      <a:lnTo>
                        <a:pt x="1631" y="544"/>
                      </a:lnTo>
                      <a:lnTo>
                        <a:pt x="1636" y="552"/>
                      </a:lnTo>
                      <a:lnTo>
                        <a:pt x="1643" y="569"/>
                      </a:lnTo>
                      <a:lnTo>
                        <a:pt x="1640" y="582"/>
                      </a:lnTo>
                      <a:lnTo>
                        <a:pt x="1643" y="590"/>
                      </a:lnTo>
                      <a:lnTo>
                        <a:pt x="1653" y="590"/>
                      </a:lnTo>
                      <a:lnTo>
                        <a:pt x="1667" y="585"/>
                      </a:lnTo>
                      <a:lnTo>
                        <a:pt x="1687" y="597"/>
                      </a:lnTo>
                      <a:lnTo>
                        <a:pt x="1695" y="602"/>
                      </a:lnTo>
                      <a:lnTo>
                        <a:pt x="1700" y="602"/>
                      </a:lnTo>
                      <a:lnTo>
                        <a:pt x="1709" y="602"/>
                      </a:lnTo>
                      <a:lnTo>
                        <a:pt x="1714" y="607"/>
                      </a:lnTo>
                      <a:lnTo>
                        <a:pt x="1714" y="618"/>
                      </a:lnTo>
                      <a:lnTo>
                        <a:pt x="1712" y="629"/>
                      </a:lnTo>
                      <a:lnTo>
                        <a:pt x="1714" y="632"/>
                      </a:lnTo>
                      <a:lnTo>
                        <a:pt x="1720" y="635"/>
                      </a:lnTo>
                      <a:lnTo>
                        <a:pt x="1728" y="643"/>
                      </a:lnTo>
                      <a:lnTo>
                        <a:pt x="1741" y="643"/>
                      </a:lnTo>
                      <a:lnTo>
                        <a:pt x="1756" y="646"/>
                      </a:lnTo>
                      <a:lnTo>
                        <a:pt x="1758" y="654"/>
                      </a:lnTo>
                      <a:lnTo>
                        <a:pt x="1761" y="657"/>
                      </a:lnTo>
                      <a:lnTo>
                        <a:pt x="1766" y="657"/>
                      </a:lnTo>
                      <a:lnTo>
                        <a:pt x="1781" y="654"/>
                      </a:lnTo>
                      <a:lnTo>
                        <a:pt x="1783" y="651"/>
                      </a:lnTo>
                      <a:lnTo>
                        <a:pt x="1789" y="654"/>
                      </a:lnTo>
                      <a:lnTo>
                        <a:pt x="1797" y="657"/>
                      </a:lnTo>
                      <a:lnTo>
                        <a:pt x="1802" y="659"/>
                      </a:lnTo>
                      <a:lnTo>
                        <a:pt x="1805" y="662"/>
                      </a:lnTo>
                      <a:lnTo>
                        <a:pt x="1827" y="690"/>
                      </a:lnTo>
                      <a:lnTo>
                        <a:pt x="1843" y="698"/>
                      </a:lnTo>
                      <a:lnTo>
                        <a:pt x="1847" y="707"/>
                      </a:lnTo>
                      <a:lnTo>
                        <a:pt x="1852" y="715"/>
                      </a:lnTo>
                      <a:lnTo>
                        <a:pt x="1858" y="718"/>
                      </a:lnTo>
                      <a:lnTo>
                        <a:pt x="1858" y="726"/>
                      </a:lnTo>
                      <a:lnTo>
                        <a:pt x="1863" y="728"/>
                      </a:lnTo>
                      <a:lnTo>
                        <a:pt x="1866" y="734"/>
                      </a:lnTo>
                      <a:lnTo>
                        <a:pt x="1866" y="740"/>
                      </a:lnTo>
                      <a:lnTo>
                        <a:pt x="1858" y="751"/>
                      </a:lnTo>
                      <a:lnTo>
                        <a:pt x="1860" y="759"/>
                      </a:lnTo>
                      <a:lnTo>
                        <a:pt x="1858" y="764"/>
                      </a:lnTo>
                      <a:lnTo>
                        <a:pt x="1858" y="767"/>
                      </a:lnTo>
                      <a:lnTo>
                        <a:pt x="1860" y="769"/>
                      </a:lnTo>
                      <a:lnTo>
                        <a:pt x="1866" y="776"/>
                      </a:lnTo>
                      <a:lnTo>
                        <a:pt x="1868" y="781"/>
                      </a:lnTo>
                      <a:lnTo>
                        <a:pt x="1874" y="784"/>
                      </a:lnTo>
                      <a:lnTo>
                        <a:pt x="1880" y="787"/>
                      </a:lnTo>
                      <a:lnTo>
                        <a:pt x="1885" y="789"/>
                      </a:lnTo>
                      <a:lnTo>
                        <a:pt x="1902" y="787"/>
                      </a:lnTo>
                      <a:lnTo>
                        <a:pt x="1907" y="789"/>
                      </a:lnTo>
                      <a:lnTo>
                        <a:pt x="1932" y="792"/>
                      </a:lnTo>
                      <a:lnTo>
                        <a:pt x="1935" y="792"/>
                      </a:lnTo>
                      <a:lnTo>
                        <a:pt x="1940" y="789"/>
                      </a:lnTo>
                      <a:lnTo>
                        <a:pt x="1945" y="792"/>
                      </a:lnTo>
                      <a:lnTo>
                        <a:pt x="1957" y="795"/>
                      </a:lnTo>
                      <a:lnTo>
                        <a:pt x="1962" y="803"/>
                      </a:lnTo>
                      <a:lnTo>
                        <a:pt x="1971" y="825"/>
                      </a:lnTo>
                      <a:lnTo>
                        <a:pt x="1973" y="825"/>
                      </a:lnTo>
                      <a:lnTo>
                        <a:pt x="1973" y="830"/>
                      </a:lnTo>
                      <a:lnTo>
                        <a:pt x="1973" y="845"/>
                      </a:lnTo>
                      <a:lnTo>
                        <a:pt x="1976" y="850"/>
                      </a:lnTo>
                      <a:lnTo>
                        <a:pt x="1976" y="856"/>
                      </a:lnTo>
                      <a:lnTo>
                        <a:pt x="1979" y="861"/>
                      </a:lnTo>
                      <a:lnTo>
                        <a:pt x="1981" y="861"/>
                      </a:lnTo>
                      <a:lnTo>
                        <a:pt x="1990" y="858"/>
                      </a:lnTo>
                      <a:lnTo>
                        <a:pt x="1998" y="853"/>
                      </a:lnTo>
                      <a:lnTo>
                        <a:pt x="1998" y="850"/>
                      </a:lnTo>
                      <a:lnTo>
                        <a:pt x="2001" y="850"/>
                      </a:lnTo>
                      <a:lnTo>
                        <a:pt x="2006" y="850"/>
                      </a:lnTo>
                      <a:lnTo>
                        <a:pt x="2018" y="847"/>
                      </a:lnTo>
                      <a:lnTo>
                        <a:pt x="2178" y="861"/>
                      </a:lnTo>
                      <a:lnTo>
                        <a:pt x="2225" y="864"/>
                      </a:lnTo>
                      <a:lnTo>
                        <a:pt x="2374" y="878"/>
                      </a:lnTo>
                      <a:lnTo>
                        <a:pt x="2696" y="902"/>
                      </a:lnTo>
                      <a:lnTo>
                        <a:pt x="2804" y="914"/>
                      </a:lnTo>
                      <a:lnTo>
                        <a:pt x="2854" y="916"/>
                      </a:lnTo>
                      <a:lnTo>
                        <a:pt x="3058" y="933"/>
                      </a:lnTo>
                      <a:lnTo>
                        <a:pt x="3271" y="950"/>
                      </a:lnTo>
                      <a:lnTo>
                        <a:pt x="3455" y="963"/>
                      </a:lnTo>
                      <a:lnTo>
                        <a:pt x="3641" y="976"/>
                      </a:lnTo>
                      <a:lnTo>
                        <a:pt x="3662" y="976"/>
                      </a:lnTo>
                      <a:lnTo>
                        <a:pt x="3812" y="988"/>
                      </a:lnTo>
                      <a:lnTo>
                        <a:pt x="4135" y="1010"/>
                      </a:lnTo>
                      <a:lnTo>
                        <a:pt x="4198" y="1016"/>
                      </a:lnTo>
                      <a:lnTo>
                        <a:pt x="4298" y="1021"/>
                      </a:lnTo>
                      <a:lnTo>
                        <a:pt x="4385" y="1027"/>
                      </a:lnTo>
                      <a:lnTo>
                        <a:pt x="4637" y="1043"/>
                      </a:lnTo>
                      <a:lnTo>
                        <a:pt x="4637" y="1045"/>
                      </a:lnTo>
                      <a:lnTo>
                        <a:pt x="4637" y="1048"/>
                      </a:lnTo>
                      <a:lnTo>
                        <a:pt x="4629" y="1057"/>
                      </a:lnTo>
                      <a:lnTo>
                        <a:pt x="4620" y="1073"/>
                      </a:lnTo>
                      <a:lnTo>
                        <a:pt x="4620" y="1085"/>
                      </a:lnTo>
                      <a:lnTo>
                        <a:pt x="4615" y="1093"/>
                      </a:lnTo>
                      <a:lnTo>
                        <a:pt x="4615" y="1098"/>
                      </a:lnTo>
                      <a:lnTo>
                        <a:pt x="4609" y="1106"/>
                      </a:lnTo>
                      <a:lnTo>
                        <a:pt x="4609" y="1117"/>
                      </a:lnTo>
                      <a:lnTo>
                        <a:pt x="4607" y="1126"/>
                      </a:lnTo>
                      <a:lnTo>
                        <a:pt x="4601" y="1132"/>
                      </a:lnTo>
                      <a:lnTo>
                        <a:pt x="4590" y="1137"/>
                      </a:lnTo>
                      <a:lnTo>
                        <a:pt x="4584" y="1142"/>
                      </a:lnTo>
                      <a:lnTo>
                        <a:pt x="4582" y="1150"/>
                      </a:lnTo>
                      <a:lnTo>
                        <a:pt x="4576" y="1157"/>
                      </a:lnTo>
                      <a:lnTo>
                        <a:pt x="4571" y="1167"/>
                      </a:lnTo>
                      <a:lnTo>
                        <a:pt x="4568" y="1181"/>
                      </a:lnTo>
                      <a:lnTo>
                        <a:pt x="4568" y="1183"/>
                      </a:lnTo>
                      <a:lnTo>
                        <a:pt x="4571" y="1183"/>
                      </a:lnTo>
                      <a:lnTo>
                        <a:pt x="4574" y="1203"/>
                      </a:lnTo>
                      <a:lnTo>
                        <a:pt x="4568" y="1217"/>
                      </a:lnTo>
                      <a:lnTo>
                        <a:pt x="4566" y="1231"/>
                      </a:lnTo>
                      <a:lnTo>
                        <a:pt x="4556" y="1250"/>
                      </a:lnTo>
                      <a:lnTo>
                        <a:pt x="4556" y="1252"/>
                      </a:lnTo>
                      <a:lnTo>
                        <a:pt x="4559" y="1261"/>
                      </a:lnTo>
                      <a:lnTo>
                        <a:pt x="4556" y="1264"/>
                      </a:lnTo>
                      <a:lnTo>
                        <a:pt x="4548" y="1270"/>
                      </a:lnTo>
                      <a:lnTo>
                        <a:pt x="4546" y="1275"/>
                      </a:lnTo>
                      <a:lnTo>
                        <a:pt x="4535" y="1280"/>
                      </a:lnTo>
                      <a:lnTo>
                        <a:pt x="4530" y="1308"/>
                      </a:lnTo>
                      <a:lnTo>
                        <a:pt x="4532" y="1316"/>
                      </a:lnTo>
                      <a:lnTo>
                        <a:pt x="4530" y="1319"/>
                      </a:lnTo>
                      <a:lnTo>
                        <a:pt x="4527" y="1319"/>
                      </a:lnTo>
                      <a:lnTo>
                        <a:pt x="4518" y="1321"/>
                      </a:lnTo>
                      <a:lnTo>
                        <a:pt x="4518" y="1330"/>
                      </a:lnTo>
                      <a:lnTo>
                        <a:pt x="4515" y="1338"/>
                      </a:lnTo>
                      <a:lnTo>
                        <a:pt x="4518" y="1347"/>
                      </a:lnTo>
                      <a:lnTo>
                        <a:pt x="4513" y="1355"/>
                      </a:lnTo>
                      <a:lnTo>
                        <a:pt x="4510" y="1364"/>
                      </a:lnTo>
                      <a:lnTo>
                        <a:pt x="4507" y="1366"/>
                      </a:lnTo>
                      <a:lnTo>
                        <a:pt x="4505" y="1366"/>
                      </a:lnTo>
                      <a:lnTo>
                        <a:pt x="4499" y="1366"/>
                      </a:lnTo>
                      <a:lnTo>
                        <a:pt x="4497" y="1372"/>
                      </a:lnTo>
                      <a:lnTo>
                        <a:pt x="4490" y="1380"/>
                      </a:lnTo>
                      <a:lnTo>
                        <a:pt x="4482" y="1388"/>
                      </a:lnTo>
                      <a:lnTo>
                        <a:pt x="4482" y="1393"/>
                      </a:lnTo>
                      <a:lnTo>
                        <a:pt x="4490" y="1399"/>
                      </a:lnTo>
                      <a:lnTo>
                        <a:pt x="4490" y="1407"/>
                      </a:lnTo>
                      <a:lnTo>
                        <a:pt x="4494" y="1413"/>
                      </a:lnTo>
                      <a:lnTo>
                        <a:pt x="4494" y="1418"/>
                      </a:lnTo>
                      <a:lnTo>
                        <a:pt x="4497" y="1426"/>
                      </a:lnTo>
                      <a:lnTo>
                        <a:pt x="4487" y="1441"/>
                      </a:lnTo>
                      <a:lnTo>
                        <a:pt x="4487" y="1446"/>
                      </a:lnTo>
                      <a:lnTo>
                        <a:pt x="4487" y="1449"/>
                      </a:lnTo>
                      <a:lnTo>
                        <a:pt x="4482" y="1449"/>
                      </a:lnTo>
                      <a:lnTo>
                        <a:pt x="4479" y="1451"/>
                      </a:lnTo>
                      <a:lnTo>
                        <a:pt x="4479" y="1454"/>
                      </a:lnTo>
                      <a:lnTo>
                        <a:pt x="4477" y="1459"/>
                      </a:lnTo>
                      <a:lnTo>
                        <a:pt x="4477" y="1462"/>
                      </a:lnTo>
                      <a:lnTo>
                        <a:pt x="4477" y="1474"/>
                      </a:lnTo>
                      <a:lnTo>
                        <a:pt x="4482" y="1477"/>
                      </a:lnTo>
                      <a:lnTo>
                        <a:pt x="4485" y="1482"/>
                      </a:lnTo>
                      <a:lnTo>
                        <a:pt x="4485" y="1487"/>
                      </a:lnTo>
                      <a:lnTo>
                        <a:pt x="4477" y="1495"/>
                      </a:lnTo>
                      <a:lnTo>
                        <a:pt x="4471" y="1504"/>
                      </a:lnTo>
                      <a:lnTo>
                        <a:pt x="4477" y="1518"/>
                      </a:lnTo>
                      <a:lnTo>
                        <a:pt x="4474" y="1523"/>
                      </a:lnTo>
                      <a:lnTo>
                        <a:pt x="4477" y="1531"/>
                      </a:lnTo>
                      <a:lnTo>
                        <a:pt x="4477" y="1543"/>
                      </a:lnTo>
                      <a:lnTo>
                        <a:pt x="4479" y="1548"/>
                      </a:lnTo>
                      <a:lnTo>
                        <a:pt x="4479" y="1559"/>
                      </a:lnTo>
                      <a:lnTo>
                        <a:pt x="4477" y="1564"/>
                      </a:lnTo>
                      <a:lnTo>
                        <a:pt x="4477" y="1567"/>
                      </a:lnTo>
                      <a:lnTo>
                        <a:pt x="4469" y="1573"/>
                      </a:lnTo>
                      <a:lnTo>
                        <a:pt x="4466" y="1581"/>
                      </a:lnTo>
                      <a:lnTo>
                        <a:pt x="4461" y="1584"/>
                      </a:lnTo>
                      <a:lnTo>
                        <a:pt x="4461" y="1589"/>
                      </a:lnTo>
                      <a:lnTo>
                        <a:pt x="4458" y="1597"/>
                      </a:lnTo>
                      <a:lnTo>
                        <a:pt x="4461" y="1609"/>
                      </a:lnTo>
                      <a:lnTo>
                        <a:pt x="4461" y="1615"/>
                      </a:lnTo>
                      <a:lnTo>
                        <a:pt x="4463" y="1623"/>
                      </a:lnTo>
                      <a:lnTo>
                        <a:pt x="4461" y="1633"/>
                      </a:lnTo>
                      <a:lnTo>
                        <a:pt x="4458" y="1650"/>
                      </a:lnTo>
                      <a:lnTo>
                        <a:pt x="4452" y="1653"/>
                      </a:lnTo>
                      <a:lnTo>
                        <a:pt x="4446" y="1658"/>
                      </a:lnTo>
                      <a:lnTo>
                        <a:pt x="4444" y="1661"/>
                      </a:lnTo>
                      <a:lnTo>
                        <a:pt x="4441" y="1666"/>
                      </a:lnTo>
                      <a:lnTo>
                        <a:pt x="4441" y="1672"/>
                      </a:lnTo>
                      <a:lnTo>
                        <a:pt x="4438" y="1681"/>
                      </a:lnTo>
                      <a:lnTo>
                        <a:pt x="4433" y="1692"/>
                      </a:lnTo>
                      <a:lnTo>
                        <a:pt x="4433" y="1702"/>
                      </a:lnTo>
                      <a:lnTo>
                        <a:pt x="4428" y="1714"/>
                      </a:lnTo>
                      <a:lnTo>
                        <a:pt x="4428" y="1722"/>
                      </a:lnTo>
                      <a:lnTo>
                        <a:pt x="4428" y="1727"/>
                      </a:lnTo>
                      <a:lnTo>
                        <a:pt x="4428" y="1738"/>
                      </a:lnTo>
                      <a:lnTo>
                        <a:pt x="4430" y="1743"/>
                      </a:lnTo>
                      <a:lnTo>
                        <a:pt x="4428" y="1755"/>
                      </a:lnTo>
                      <a:lnTo>
                        <a:pt x="4436" y="1771"/>
                      </a:lnTo>
                      <a:lnTo>
                        <a:pt x="4438" y="1771"/>
                      </a:lnTo>
                      <a:lnTo>
                        <a:pt x="4449" y="1774"/>
                      </a:lnTo>
                      <a:lnTo>
                        <a:pt x="4454" y="1774"/>
                      </a:lnTo>
                      <a:lnTo>
                        <a:pt x="4458" y="1774"/>
                      </a:lnTo>
                      <a:lnTo>
                        <a:pt x="4461" y="1777"/>
                      </a:lnTo>
                      <a:lnTo>
                        <a:pt x="4461" y="1779"/>
                      </a:lnTo>
                      <a:lnTo>
                        <a:pt x="4461" y="1786"/>
                      </a:lnTo>
                      <a:lnTo>
                        <a:pt x="4461" y="1788"/>
                      </a:lnTo>
                      <a:lnTo>
                        <a:pt x="4458" y="1794"/>
                      </a:lnTo>
                      <a:lnTo>
                        <a:pt x="4461" y="1802"/>
                      </a:lnTo>
                      <a:lnTo>
                        <a:pt x="4461" y="1812"/>
                      </a:lnTo>
                      <a:lnTo>
                        <a:pt x="4458" y="1815"/>
                      </a:lnTo>
                      <a:lnTo>
                        <a:pt x="4454" y="1821"/>
                      </a:lnTo>
                      <a:lnTo>
                        <a:pt x="4449" y="1824"/>
                      </a:lnTo>
                      <a:lnTo>
                        <a:pt x="4446" y="1827"/>
                      </a:lnTo>
                      <a:lnTo>
                        <a:pt x="4436" y="1838"/>
                      </a:lnTo>
                      <a:lnTo>
                        <a:pt x="4436" y="1840"/>
                      </a:lnTo>
                      <a:lnTo>
                        <a:pt x="4438" y="1846"/>
                      </a:lnTo>
                      <a:lnTo>
                        <a:pt x="4441" y="1852"/>
                      </a:lnTo>
                      <a:lnTo>
                        <a:pt x="4444" y="1865"/>
                      </a:lnTo>
                      <a:lnTo>
                        <a:pt x="4446" y="1871"/>
                      </a:lnTo>
                      <a:lnTo>
                        <a:pt x="4449" y="1876"/>
                      </a:lnTo>
                      <a:lnTo>
                        <a:pt x="4449" y="1890"/>
                      </a:lnTo>
                      <a:lnTo>
                        <a:pt x="4452" y="1893"/>
                      </a:lnTo>
                      <a:lnTo>
                        <a:pt x="4461" y="1893"/>
                      </a:lnTo>
                      <a:lnTo>
                        <a:pt x="4469" y="1901"/>
                      </a:lnTo>
                      <a:lnTo>
                        <a:pt x="4469" y="1909"/>
                      </a:lnTo>
                      <a:lnTo>
                        <a:pt x="4461" y="1912"/>
                      </a:lnTo>
                      <a:lnTo>
                        <a:pt x="4458" y="1917"/>
                      </a:lnTo>
                      <a:lnTo>
                        <a:pt x="4463" y="1926"/>
                      </a:lnTo>
                      <a:lnTo>
                        <a:pt x="4463" y="1934"/>
                      </a:lnTo>
                      <a:lnTo>
                        <a:pt x="4452" y="1945"/>
                      </a:lnTo>
                      <a:lnTo>
                        <a:pt x="4449" y="1951"/>
                      </a:lnTo>
                      <a:lnTo>
                        <a:pt x="4452" y="1953"/>
                      </a:lnTo>
                      <a:lnTo>
                        <a:pt x="4452" y="1957"/>
                      </a:lnTo>
                      <a:lnTo>
                        <a:pt x="4449" y="1965"/>
                      </a:lnTo>
                      <a:lnTo>
                        <a:pt x="4449" y="1968"/>
                      </a:lnTo>
                      <a:lnTo>
                        <a:pt x="4458" y="1976"/>
                      </a:lnTo>
                      <a:lnTo>
                        <a:pt x="4458" y="1984"/>
                      </a:lnTo>
                      <a:lnTo>
                        <a:pt x="4454" y="2001"/>
                      </a:lnTo>
                      <a:lnTo>
                        <a:pt x="4454" y="2009"/>
                      </a:lnTo>
                      <a:lnTo>
                        <a:pt x="4452" y="2014"/>
                      </a:lnTo>
                      <a:lnTo>
                        <a:pt x="4452" y="2029"/>
                      </a:lnTo>
                      <a:lnTo>
                        <a:pt x="4449" y="2034"/>
                      </a:lnTo>
                      <a:lnTo>
                        <a:pt x="4452" y="2042"/>
                      </a:lnTo>
                      <a:lnTo>
                        <a:pt x="4463" y="2039"/>
                      </a:lnTo>
                      <a:lnTo>
                        <a:pt x="4466" y="2042"/>
                      </a:lnTo>
                      <a:lnTo>
                        <a:pt x="4466" y="2053"/>
                      </a:lnTo>
                      <a:lnTo>
                        <a:pt x="4471" y="2062"/>
                      </a:lnTo>
                      <a:lnTo>
                        <a:pt x="4471" y="2067"/>
                      </a:lnTo>
                      <a:lnTo>
                        <a:pt x="4466" y="2072"/>
                      </a:lnTo>
                      <a:lnTo>
                        <a:pt x="4466" y="2075"/>
                      </a:lnTo>
                      <a:lnTo>
                        <a:pt x="4466" y="2083"/>
                      </a:lnTo>
                      <a:lnTo>
                        <a:pt x="4469" y="2086"/>
                      </a:lnTo>
                      <a:lnTo>
                        <a:pt x="4466" y="2094"/>
                      </a:lnTo>
                      <a:lnTo>
                        <a:pt x="4471" y="2103"/>
                      </a:lnTo>
                      <a:lnTo>
                        <a:pt x="4474" y="2111"/>
                      </a:lnTo>
                      <a:lnTo>
                        <a:pt x="4471" y="2124"/>
                      </a:lnTo>
                      <a:lnTo>
                        <a:pt x="4477" y="2127"/>
                      </a:lnTo>
                      <a:lnTo>
                        <a:pt x="4474" y="2139"/>
                      </a:lnTo>
                      <a:lnTo>
                        <a:pt x="4474" y="2141"/>
                      </a:lnTo>
                      <a:lnTo>
                        <a:pt x="4469" y="2139"/>
                      </a:lnTo>
                      <a:lnTo>
                        <a:pt x="4463" y="2141"/>
                      </a:lnTo>
                      <a:lnTo>
                        <a:pt x="4466" y="2152"/>
                      </a:lnTo>
                      <a:lnTo>
                        <a:pt x="4461" y="2160"/>
                      </a:lnTo>
                      <a:lnTo>
                        <a:pt x="4458" y="2175"/>
                      </a:lnTo>
                      <a:lnTo>
                        <a:pt x="4452" y="2180"/>
                      </a:lnTo>
                      <a:lnTo>
                        <a:pt x="4449" y="2188"/>
                      </a:lnTo>
                      <a:lnTo>
                        <a:pt x="4458" y="2193"/>
                      </a:lnTo>
                      <a:lnTo>
                        <a:pt x="4458" y="2199"/>
                      </a:lnTo>
                      <a:lnTo>
                        <a:pt x="4454" y="2199"/>
                      </a:lnTo>
                      <a:lnTo>
                        <a:pt x="4446" y="2196"/>
                      </a:lnTo>
                      <a:lnTo>
                        <a:pt x="4444" y="2199"/>
                      </a:lnTo>
                      <a:lnTo>
                        <a:pt x="4441" y="2205"/>
                      </a:lnTo>
                      <a:lnTo>
                        <a:pt x="4444" y="2210"/>
                      </a:lnTo>
                      <a:lnTo>
                        <a:pt x="4444" y="2221"/>
                      </a:lnTo>
                      <a:lnTo>
                        <a:pt x="4463" y="2218"/>
                      </a:lnTo>
                      <a:lnTo>
                        <a:pt x="4466" y="2221"/>
                      </a:lnTo>
                      <a:lnTo>
                        <a:pt x="4466" y="2226"/>
                      </a:lnTo>
                      <a:lnTo>
                        <a:pt x="4463" y="2232"/>
                      </a:lnTo>
                      <a:lnTo>
                        <a:pt x="4466" y="2244"/>
                      </a:lnTo>
                      <a:lnTo>
                        <a:pt x="4471" y="2244"/>
                      </a:lnTo>
                      <a:lnTo>
                        <a:pt x="4469" y="2252"/>
                      </a:lnTo>
                      <a:lnTo>
                        <a:pt x="4474" y="2257"/>
                      </a:lnTo>
                      <a:lnTo>
                        <a:pt x="4474" y="2268"/>
                      </a:lnTo>
                      <a:lnTo>
                        <a:pt x="4471" y="2274"/>
                      </a:lnTo>
                      <a:lnTo>
                        <a:pt x="4479" y="2274"/>
                      </a:lnTo>
                      <a:lnTo>
                        <a:pt x="4474" y="2285"/>
                      </a:lnTo>
                      <a:lnTo>
                        <a:pt x="4474" y="2290"/>
                      </a:lnTo>
                      <a:lnTo>
                        <a:pt x="4477" y="2293"/>
                      </a:lnTo>
                      <a:lnTo>
                        <a:pt x="4479" y="2293"/>
                      </a:lnTo>
                      <a:lnTo>
                        <a:pt x="4482" y="2285"/>
                      </a:lnTo>
                      <a:lnTo>
                        <a:pt x="4490" y="2285"/>
                      </a:lnTo>
                      <a:lnTo>
                        <a:pt x="4494" y="2285"/>
                      </a:lnTo>
                      <a:lnTo>
                        <a:pt x="4494" y="2287"/>
                      </a:lnTo>
                      <a:lnTo>
                        <a:pt x="4485" y="2293"/>
                      </a:lnTo>
                      <a:lnTo>
                        <a:pt x="4485" y="2295"/>
                      </a:lnTo>
                      <a:lnTo>
                        <a:pt x="4499" y="2301"/>
                      </a:lnTo>
                      <a:lnTo>
                        <a:pt x="4513" y="2301"/>
                      </a:lnTo>
                      <a:lnTo>
                        <a:pt x="4518" y="2298"/>
                      </a:lnTo>
                      <a:lnTo>
                        <a:pt x="4521" y="2303"/>
                      </a:lnTo>
                      <a:lnTo>
                        <a:pt x="4521" y="2310"/>
                      </a:lnTo>
                      <a:lnTo>
                        <a:pt x="4523" y="2315"/>
                      </a:lnTo>
                      <a:lnTo>
                        <a:pt x="4523" y="2321"/>
                      </a:lnTo>
                      <a:lnTo>
                        <a:pt x="4521" y="2326"/>
                      </a:lnTo>
                      <a:lnTo>
                        <a:pt x="4518" y="2334"/>
                      </a:lnTo>
                      <a:lnTo>
                        <a:pt x="4515" y="2343"/>
                      </a:lnTo>
                      <a:lnTo>
                        <a:pt x="4515" y="2359"/>
                      </a:lnTo>
                      <a:lnTo>
                        <a:pt x="4507" y="2362"/>
                      </a:lnTo>
                      <a:lnTo>
                        <a:pt x="4502" y="2370"/>
                      </a:lnTo>
                      <a:lnTo>
                        <a:pt x="4499" y="2370"/>
                      </a:lnTo>
                      <a:lnTo>
                        <a:pt x="4494" y="2367"/>
                      </a:lnTo>
                      <a:lnTo>
                        <a:pt x="4487" y="2370"/>
                      </a:lnTo>
                      <a:lnTo>
                        <a:pt x="4490" y="2379"/>
                      </a:lnTo>
                      <a:lnTo>
                        <a:pt x="4497" y="2382"/>
                      </a:lnTo>
                      <a:lnTo>
                        <a:pt x="4497" y="2384"/>
                      </a:lnTo>
                      <a:lnTo>
                        <a:pt x="4494" y="2390"/>
                      </a:lnTo>
                      <a:lnTo>
                        <a:pt x="4482" y="2392"/>
                      </a:lnTo>
                      <a:lnTo>
                        <a:pt x="4479" y="2395"/>
                      </a:lnTo>
                      <a:lnTo>
                        <a:pt x="4485" y="2406"/>
                      </a:lnTo>
                      <a:lnTo>
                        <a:pt x="4487" y="2408"/>
                      </a:lnTo>
                      <a:lnTo>
                        <a:pt x="4487" y="2415"/>
                      </a:lnTo>
                      <a:lnTo>
                        <a:pt x="4485" y="2428"/>
                      </a:lnTo>
                      <a:lnTo>
                        <a:pt x="4487" y="2439"/>
                      </a:lnTo>
                      <a:lnTo>
                        <a:pt x="4485" y="2444"/>
                      </a:lnTo>
                      <a:lnTo>
                        <a:pt x="4482" y="2451"/>
                      </a:lnTo>
                      <a:lnTo>
                        <a:pt x="4485" y="2451"/>
                      </a:lnTo>
                      <a:lnTo>
                        <a:pt x="4490" y="2456"/>
                      </a:lnTo>
                      <a:lnTo>
                        <a:pt x="4490" y="2461"/>
                      </a:lnTo>
                      <a:lnTo>
                        <a:pt x="4490" y="2472"/>
                      </a:lnTo>
                      <a:lnTo>
                        <a:pt x="4485" y="2481"/>
                      </a:lnTo>
                      <a:lnTo>
                        <a:pt x="4482" y="2484"/>
                      </a:lnTo>
                      <a:lnTo>
                        <a:pt x="4482" y="2497"/>
                      </a:lnTo>
                      <a:lnTo>
                        <a:pt x="4479" y="2500"/>
                      </a:lnTo>
                      <a:lnTo>
                        <a:pt x="4474" y="2508"/>
                      </a:lnTo>
                      <a:lnTo>
                        <a:pt x="4469" y="2513"/>
                      </a:lnTo>
                      <a:lnTo>
                        <a:pt x="4466" y="2520"/>
                      </a:lnTo>
                      <a:lnTo>
                        <a:pt x="4458" y="2525"/>
                      </a:lnTo>
                      <a:lnTo>
                        <a:pt x="4458" y="2536"/>
                      </a:lnTo>
                      <a:lnTo>
                        <a:pt x="4461" y="2546"/>
                      </a:lnTo>
                      <a:lnTo>
                        <a:pt x="4458" y="2553"/>
                      </a:lnTo>
                      <a:lnTo>
                        <a:pt x="4452" y="2555"/>
                      </a:lnTo>
                      <a:lnTo>
                        <a:pt x="4446" y="2566"/>
                      </a:lnTo>
                      <a:lnTo>
                        <a:pt x="4438" y="2574"/>
                      </a:lnTo>
                      <a:lnTo>
                        <a:pt x="4428" y="2580"/>
                      </a:lnTo>
                      <a:lnTo>
                        <a:pt x="4419" y="2591"/>
                      </a:lnTo>
                      <a:lnTo>
                        <a:pt x="4416" y="2618"/>
                      </a:lnTo>
                      <a:lnTo>
                        <a:pt x="4410" y="2627"/>
                      </a:lnTo>
                      <a:lnTo>
                        <a:pt x="4408" y="2640"/>
                      </a:lnTo>
                      <a:lnTo>
                        <a:pt x="4402" y="2658"/>
                      </a:lnTo>
                      <a:lnTo>
                        <a:pt x="4394" y="2668"/>
                      </a:lnTo>
                      <a:lnTo>
                        <a:pt x="4389" y="2666"/>
                      </a:lnTo>
                      <a:lnTo>
                        <a:pt x="4383" y="2668"/>
                      </a:lnTo>
                      <a:lnTo>
                        <a:pt x="4380" y="2668"/>
                      </a:lnTo>
                      <a:lnTo>
                        <a:pt x="4377" y="2671"/>
                      </a:lnTo>
                      <a:lnTo>
                        <a:pt x="4375" y="2676"/>
                      </a:lnTo>
                      <a:lnTo>
                        <a:pt x="4383" y="2687"/>
                      </a:lnTo>
                      <a:lnTo>
                        <a:pt x="4380" y="2701"/>
                      </a:lnTo>
                      <a:lnTo>
                        <a:pt x="4383" y="2707"/>
                      </a:lnTo>
                      <a:lnTo>
                        <a:pt x="4380" y="2715"/>
                      </a:lnTo>
                      <a:lnTo>
                        <a:pt x="4385" y="2727"/>
                      </a:lnTo>
                      <a:lnTo>
                        <a:pt x="4385" y="2729"/>
                      </a:lnTo>
                      <a:lnTo>
                        <a:pt x="4385" y="2737"/>
                      </a:lnTo>
                      <a:lnTo>
                        <a:pt x="4385" y="2740"/>
                      </a:lnTo>
                      <a:lnTo>
                        <a:pt x="4385" y="2745"/>
                      </a:lnTo>
                      <a:lnTo>
                        <a:pt x="4385" y="2756"/>
                      </a:lnTo>
                      <a:lnTo>
                        <a:pt x="4385" y="2762"/>
                      </a:lnTo>
                      <a:lnTo>
                        <a:pt x="4377" y="2770"/>
                      </a:lnTo>
                      <a:lnTo>
                        <a:pt x="4377" y="2778"/>
                      </a:lnTo>
                      <a:lnTo>
                        <a:pt x="4383" y="2786"/>
                      </a:lnTo>
                      <a:lnTo>
                        <a:pt x="4383" y="2798"/>
                      </a:lnTo>
                      <a:lnTo>
                        <a:pt x="4392" y="2817"/>
                      </a:lnTo>
                      <a:lnTo>
                        <a:pt x="4389" y="2825"/>
                      </a:lnTo>
                      <a:lnTo>
                        <a:pt x="4385" y="2831"/>
                      </a:lnTo>
                      <a:lnTo>
                        <a:pt x="4375" y="2839"/>
                      </a:lnTo>
                      <a:lnTo>
                        <a:pt x="4367" y="2839"/>
                      </a:lnTo>
                      <a:lnTo>
                        <a:pt x="4361" y="2834"/>
                      </a:lnTo>
                      <a:lnTo>
                        <a:pt x="4359" y="2834"/>
                      </a:lnTo>
                      <a:lnTo>
                        <a:pt x="4356" y="2834"/>
                      </a:lnTo>
                      <a:lnTo>
                        <a:pt x="4356" y="2839"/>
                      </a:lnTo>
                      <a:lnTo>
                        <a:pt x="4359" y="2850"/>
                      </a:lnTo>
                      <a:lnTo>
                        <a:pt x="4359" y="2858"/>
                      </a:lnTo>
                      <a:lnTo>
                        <a:pt x="4352" y="2865"/>
                      </a:lnTo>
                      <a:lnTo>
                        <a:pt x="4347" y="2875"/>
                      </a:lnTo>
                      <a:lnTo>
                        <a:pt x="4339" y="2891"/>
                      </a:lnTo>
                      <a:lnTo>
                        <a:pt x="4333" y="2908"/>
                      </a:lnTo>
                      <a:lnTo>
                        <a:pt x="4331" y="2914"/>
                      </a:lnTo>
                      <a:lnTo>
                        <a:pt x="4333" y="2927"/>
                      </a:lnTo>
                      <a:lnTo>
                        <a:pt x="4331" y="2936"/>
                      </a:lnTo>
                      <a:lnTo>
                        <a:pt x="4325" y="2939"/>
                      </a:lnTo>
                      <a:lnTo>
                        <a:pt x="4328" y="2950"/>
                      </a:lnTo>
                      <a:lnTo>
                        <a:pt x="4328" y="2952"/>
                      </a:lnTo>
                      <a:lnTo>
                        <a:pt x="4325" y="2958"/>
                      </a:lnTo>
                      <a:lnTo>
                        <a:pt x="4323" y="2963"/>
                      </a:lnTo>
                      <a:lnTo>
                        <a:pt x="4328" y="2972"/>
                      </a:lnTo>
                      <a:lnTo>
                        <a:pt x="4328" y="2977"/>
                      </a:lnTo>
                      <a:lnTo>
                        <a:pt x="4333" y="2983"/>
                      </a:lnTo>
                      <a:lnTo>
                        <a:pt x="4336" y="2988"/>
                      </a:lnTo>
                      <a:lnTo>
                        <a:pt x="4333" y="2996"/>
                      </a:lnTo>
                      <a:lnTo>
                        <a:pt x="4336" y="3008"/>
                      </a:lnTo>
                      <a:lnTo>
                        <a:pt x="4323" y="3029"/>
                      </a:lnTo>
                      <a:lnTo>
                        <a:pt x="4325" y="3044"/>
                      </a:lnTo>
                      <a:lnTo>
                        <a:pt x="4314" y="3065"/>
                      </a:lnTo>
                      <a:lnTo>
                        <a:pt x="4311" y="3065"/>
                      </a:lnTo>
                      <a:lnTo>
                        <a:pt x="4308" y="3071"/>
                      </a:lnTo>
                      <a:lnTo>
                        <a:pt x="4311" y="3080"/>
                      </a:lnTo>
                      <a:lnTo>
                        <a:pt x="4311" y="3082"/>
                      </a:lnTo>
                      <a:lnTo>
                        <a:pt x="4308" y="3088"/>
                      </a:lnTo>
                      <a:lnTo>
                        <a:pt x="4306" y="3090"/>
                      </a:lnTo>
                      <a:lnTo>
                        <a:pt x="4303" y="3096"/>
                      </a:lnTo>
                      <a:lnTo>
                        <a:pt x="4300" y="3098"/>
                      </a:lnTo>
                      <a:lnTo>
                        <a:pt x="4300" y="3106"/>
                      </a:lnTo>
                      <a:lnTo>
                        <a:pt x="4306" y="3115"/>
                      </a:lnTo>
                      <a:lnTo>
                        <a:pt x="4303" y="3121"/>
                      </a:lnTo>
                      <a:lnTo>
                        <a:pt x="4295" y="3126"/>
                      </a:lnTo>
                      <a:lnTo>
                        <a:pt x="4287" y="3140"/>
                      </a:lnTo>
                      <a:lnTo>
                        <a:pt x="4287" y="3149"/>
                      </a:lnTo>
                      <a:lnTo>
                        <a:pt x="4287" y="3154"/>
                      </a:lnTo>
                      <a:lnTo>
                        <a:pt x="4283" y="3162"/>
                      </a:lnTo>
                      <a:lnTo>
                        <a:pt x="4290" y="3167"/>
                      </a:lnTo>
                      <a:lnTo>
                        <a:pt x="4290" y="3170"/>
                      </a:lnTo>
                      <a:lnTo>
                        <a:pt x="4287" y="3170"/>
                      </a:lnTo>
                      <a:lnTo>
                        <a:pt x="4270" y="3182"/>
                      </a:lnTo>
                      <a:lnTo>
                        <a:pt x="4267" y="3182"/>
                      </a:lnTo>
                      <a:lnTo>
                        <a:pt x="4262" y="3190"/>
                      </a:lnTo>
                      <a:lnTo>
                        <a:pt x="4262" y="3198"/>
                      </a:lnTo>
                      <a:lnTo>
                        <a:pt x="4242" y="3208"/>
                      </a:lnTo>
                      <a:lnTo>
                        <a:pt x="4223" y="3220"/>
                      </a:lnTo>
                      <a:lnTo>
                        <a:pt x="4211" y="3223"/>
                      </a:lnTo>
                      <a:lnTo>
                        <a:pt x="4203" y="3220"/>
                      </a:lnTo>
                      <a:lnTo>
                        <a:pt x="4201" y="3215"/>
                      </a:lnTo>
                      <a:lnTo>
                        <a:pt x="4198" y="3200"/>
                      </a:lnTo>
                      <a:lnTo>
                        <a:pt x="4190" y="3195"/>
                      </a:lnTo>
                      <a:lnTo>
                        <a:pt x="4185" y="3195"/>
                      </a:lnTo>
                      <a:lnTo>
                        <a:pt x="4181" y="3200"/>
                      </a:lnTo>
                      <a:lnTo>
                        <a:pt x="4176" y="3206"/>
                      </a:lnTo>
                      <a:lnTo>
                        <a:pt x="4168" y="3211"/>
                      </a:lnTo>
                      <a:lnTo>
                        <a:pt x="4160" y="3206"/>
                      </a:lnTo>
                      <a:lnTo>
                        <a:pt x="4149" y="3208"/>
                      </a:lnTo>
                      <a:lnTo>
                        <a:pt x="4142" y="3220"/>
                      </a:lnTo>
                      <a:lnTo>
                        <a:pt x="4137" y="3220"/>
                      </a:lnTo>
                      <a:lnTo>
                        <a:pt x="4134" y="3226"/>
                      </a:lnTo>
                      <a:lnTo>
                        <a:pt x="4129" y="3231"/>
                      </a:lnTo>
                      <a:lnTo>
                        <a:pt x="4112" y="3228"/>
                      </a:lnTo>
                      <a:lnTo>
                        <a:pt x="4109" y="3231"/>
                      </a:lnTo>
                      <a:lnTo>
                        <a:pt x="4104" y="3236"/>
                      </a:lnTo>
                      <a:lnTo>
                        <a:pt x="4099" y="3251"/>
                      </a:lnTo>
                      <a:lnTo>
                        <a:pt x="4088" y="3253"/>
                      </a:lnTo>
                      <a:lnTo>
                        <a:pt x="4080" y="3272"/>
                      </a:lnTo>
                      <a:lnTo>
                        <a:pt x="4076" y="3275"/>
                      </a:lnTo>
                      <a:lnTo>
                        <a:pt x="4065" y="3275"/>
                      </a:lnTo>
                      <a:lnTo>
                        <a:pt x="4057" y="3280"/>
                      </a:lnTo>
                      <a:lnTo>
                        <a:pt x="4057" y="3292"/>
                      </a:lnTo>
                      <a:lnTo>
                        <a:pt x="4052" y="3300"/>
                      </a:lnTo>
                      <a:lnTo>
                        <a:pt x="4052" y="3308"/>
                      </a:lnTo>
                      <a:lnTo>
                        <a:pt x="4055" y="3313"/>
                      </a:lnTo>
                      <a:lnTo>
                        <a:pt x="4060" y="3316"/>
                      </a:lnTo>
                      <a:lnTo>
                        <a:pt x="4060" y="3320"/>
                      </a:lnTo>
                      <a:lnTo>
                        <a:pt x="4052" y="3325"/>
                      </a:lnTo>
                      <a:lnTo>
                        <a:pt x="4047" y="3328"/>
                      </a:lnTo>
                      <a:lnTo>
                        <a:pt x="4043" y="3336"/>
                      </a:lnTo>
                      <a:lnTo>
                        <a:pt x="4043" y="3349"/>
                      </a:lnTo>
                      <a:lnTo>
                        <a:pt x="4049" y="3356"/>
                      </a:lnTo>
                      <a:lnTo>
                        <a:pt x="4049" y="3361"/>
                      </a:lnTo>
                      <a:lnTo>
                        <a:pt x="4038" y="3377"/>
                      </a:lnTo>
                      <a:lnTo>
                        <a:pt x="4038" y="3380"/>
                      </a:lnTo>
                      <a:lnTo>
                        <a:pt x="4040" y="3385"/>
                      </a:lnTo>
                      <a:lnTo>
                        <a:pt x="4040" y="3389"/>
                      </a:lnTo>
                      <a:lnTo>
                        <a:pt x="4035" y="3397"/>
                      </a:lnTo>
                      <a:lnTo>
                        <a:pt x="4038" y="3405"/>
                      </a:lnTo>
                      <a:lnTo>
                        <a:pt x="4038" y="3407"/>
                      </a:lnTo>
                      <a:lnTo>
                        <a:pt x="4038" y="3410"/>
                      </a:lnTo>
                      <a:lnTo>
                        <a:pt x="4035" y="3413"/>
                      </a:lnTo>
                      <a:lnTo>
                        <a:pt x="4027" y="3416"/>
                      </a:lnTo>
                      <a:lnTo>
                        <a:pt x="4024" y="3421"/>
                      </a:lnTo>
                      <a:lnTo>
                        <a:pt x="4024" y="3425"/>
                      </a:lnTo>
                      <a:lnTo>
                        <a:pt x="4027" y="3433"/>
                      </a:lnTo>
                      <a:lnTo>
                        <a:pt x="4027" y="3438"/>
                      </a:lnTo>
                      <a:lnTo>
                        <a:pt x="4022" y="3438"/>
                      </a:lnTo>
                      <a:lnTo>
                        <a:pt x="4016" y="3438"/>
                      </a:lnTo>
                      <a:lnTo>
                        <a:pt x="4014" y="3430"/>
                      </a:lnTo>
                      <a:lnTo>
                        <a:pt x="4007" y="3430"/>
                      </a:lnTo>
                      <a:lnTo>
                        <a:pt x="4007" y="3433"/>
                      </a:lnTo>
                      <a:lnTo>
                        <a:pt x="4005" y="3433"/>
                      </a:lnTo>
                      <a:lnTo>
                        <a:pt x="4007" y="3441"/>
                      </a:lnTo>
                      <a:lnTo>
                        <a:pt x="4016" y="3463"/>
                      </a:lnTo>
                      <a:lnTo>
                        <a:pt x="4016" y="3468"/>
                      </a:lnTo>
                      <a:lnTo>
                        <a:pt x="4014" y="3476"/>
                      </a:lnTo>
                      <a:lnTo>
                        <a:pt x="4011" y="3479"/>
                      </a:lnTo>
                      <a:lnTo>
                        <a:pt x="3996" y="3504"/>
                      </a:lnTo>
                      <a:lnTo>
                        <a:pt x="3996" y="3510"/>
                      </a:lnTo>
                      <a:lnTo>
                        <a:pt x="3986" y="3515"/>
                      </a:lnTo>
                      <a:lnTo>
                        <a:pt x="3978" y="3529"/>
                      </a:lnTo>
                      <a:lnTo>
                        <a:pt x="3974" y="3535"/>
                      </a:lnTo>
                      <a:lnTo>
                        <a:pt x="3966" y="3543"/>
                      </a:lnTo>
                      <a:lnTo>
                        <a:pt x="3963" y="3551"/>
                      </a:lnTo>
                      <a:lnTo>
                        <a:pt x="3961" y="3554"/>
                      </a:lnTo>
                      <a:lnTo>
                        <a:pt x="3953" y="3545"/>
                      </a:lnTo>
                      <a:lnTo>
                        <a:pt x="3936" y="3545"/>
                      </a:lnTo>
                      <a:lnTo>
                        <a:pt x="3933" y="3551"/>
                      </a:lnTo>
                      <a:lnTo>
                        <a:pt x="3933" y="3556"/>
                      </a:lnTo>
                      <a:lnTo>
                        <a:pt x="3933" y="3559"/>
                      </a:lnTo>
                      <a:lnTo>
                        <a:pt x="3927" y="3556"/>
                      </a:lnTo>
                      <a:lnTo>
                        <a:pt x="3922" y="3559"/>
                      </a:lnTo>
                      <a:lnTo>
                        <a:pt x="3917" y="3573"/>
                      </a:lnTo>
                      <a:lnTo>
                        <a:pt x="3911" y="3576"/>
                      </a:lnTo>
                      <a:lnTo>
                        <a:pt x="3892" y="3579"/>
                      </a:lnTo>
                      <a:lnTo>
                        <a:pt x="3884" y="3576"/>
                      </a:lnTo>
                      <a:lnTo>
                        <a:pt x="3878" y="3576"/>
                      </a:lnTo>
                      <a:lnTo>
                        <a:pt x="3876" y="3579"/>
                      </a:lnTo>
                      <a:lnTo>
                        <a:pt x="3873" y="3576"/>
                      </a:lnTo>
                      <a:lnTo>
                        <a:pt x="3864" y="3581"/>
                      </a:lnTo>
                      <a:lnTo>
                        <a:pt x="3836" y="3576"/>
                      </a:lnTo>
                      <a:lnTo>
                        <a:pt x="3831" y="3579"/>
                      </a:lnTo>
                      <a:lnTo>
                        <a:pt x="3820" y="3579"/>
                      </a:lnTo>
                      <a:lnTo>
                        <a:pt x="3812" y="3579"/>
                      </a:lnTo>
                      <a:lnTo>
                        <a:pt x="3815" y="3587"/>
                      </a:lnTo>
                      <a:lnTo>
                        <a:pt x="3812" y="3598"/>
                      </a:lnTo>
                      <a:lnTo>
                        <a:pt x="3809" y="3598"/>
                      </a:lnTo>
                      <a:lnTo>
                        <a:pt x="3809" y="3604"/>
                      </a:lnTo>
                      <a:lnTo>
                        <a:pt x="3798" y="3612"/>
                      </a:lnTo>
                      <a:lnTo>
                        <a:pt x="3798" y="3620"/>
                      </a:lnTo>
                      <a:lnTo>
                        <a:pt x="3795" y="3622"/>
                      </a:lnTo>
                      <a:lnTo>
                        <a:pt x="3790" y="3628"/>
                      </a:lnTo>
                      <a:lnTo>
                        <a:pt x="3787" y="3637"/>
                      </a:lnTo>
                      <a:lnTo>
                        <a:pt x="3784" y="3642"/>
                      </a:lnTo>
                      <a:lnTo>
                        <a:pt x="3784" y="3645"/>
                      </a:lnTo>
                      <a:lnTo>
                        <a:pt x="3781" y="3653"/>
                      </a:lnTo>
                      <a:lnTo>
                        <a:pt x="3781" y="3656"/>
                      </a:lnTo>
                      <a:lnTo>
                        <a:pt x="3773" y="3661"/>
                      </a:lnTo>
                      <a:lnTo>
                        <a:pt x="3771" y="3658"/>
                      </a:lnTo>
                      <a:lnTo>
                        <a:pt x="3767" y="3661"/>
                      </a:lnTo>
                      <a:lnTo>
                        <a:pt x="3764" y="3664"/>
                      </a:lnTo>
                      <a:lnTo>
                        <a:pt x="3762" y="3667"/>
                      </a:lnTo>
                      <a:lnTo>
                        <a:pt x="3754" y="3664"/>
                      </a:lnTo>
                      <a:lnTo>
                        <a:pt x="3738" y="3673"/>
                      </a:lnTo>
                      <a:lnTo>
                        <a:pt x="3728" y="3678"/>
                      </a:lnTo>
                      <a:lnTo>
                        <a:pt x="3723" y="3678"/>
                      </a:lnTo>
                      <a:lnTo>
                        <a:pt x="3718" y="3681"/>
                      </a:lnTo>
                      <a:lnTo>
                        <a:pt x="3715" y="3683"/>
                      </a:lnTo>
                      <a:lnTo>
                        <a:pt x="3712" y="3683"/>
                      </a:lnTo>
                      <a:lnTo>
                        <a:pt x="3707" y="3681"/>
                      </a:lnTo>
                      <a:lnTo>
                        <a:pt x="3702" y="3683"/>
                      </a:lnTo>
                      <a:lnTo>
                        <a:pt x="3702" y="3691"/>
                      </a:lnTo>
                      <a:lnTo>
                        <a:pt x="3693" y="3694"/>
                      </a:lnTo>
                      <a:lnTo>
                        <a:pt x="3695" y="3700"/>
                      </a:lnTo>
                      <a:lnTo>
                        <a:pt x="3693" y="3706"/>
                      </a:lnTo>
                      <a:lnTo>
                        <a:pt x="3693" y="3719"/>
                      </a:lnTo>
                      <a:lnTo>
                        <a:pt x="3690" y="3719"/>
                      </a:lnTo>
                      <a:lnTo>
                        <a:pt x="3685" y="3719"/>
                      </a:lnTo>
                      <a:lnTo>
                        <a:pt x="3685" y="3722"/>
                      </a:lnTo>
                      <a:lnTo>
                        <a:pt x="3693" y="3733"/>
                      </a:lnTo>
                      <a:lnTo>
                        <a:pt x="3693" y="3735"/>
                      </a:lnTo>
                      <a:lnTo>
                        <a:pt x="3690" y="3735"/>
                      </a:lnTo>
                      <a:lnTo>
                        <a:pt x="3687" y="3735"/>
                      </a:lnTo>
                      <a:lnTo>
                        <a:pt x="3682" y="3730"/>
                      </a:lnTo>
                      <a:lnTo>
                        <a:pt x="3679" y="3730"/>
                      </a:lnTo>
                      <a:lnTo>
                        <a:pt x="3677" y="3735"/>
                      </a:lnTo>
                      <a:lnTo>
                        <a:pt x="3677" y="3739"/>
                      </a:lnTo>
                      <a:lnTo>
                        <a:pt x="3669" y="3739"/>
                      </a:lnTo>
                      <a:lnTo>
                        <a:pt x="3662" y="3744"/>
                      </a:lnTo>
                      <a:lnTo>
                        <a:pt x="3657" y="3744"/>
                      </a:lnTo>
                      <a:lnTo>
                        <a:pt x="3651" y="3744"/>
                      </a:lnTo>
                      <a:lnTo>
                        <a:pt x="3651" y="3742"/>
                      </a:lnTo>
                      <a:lnTo>
                        <a:pt x="3649" y="3742"/>
                      </a:lnTo>
                      <a:lnTo>
                        <a:pt x="3641" y="3747"/>
                      </a:lnTo>
                      <a:lnTo>
                        <a:pt x="3641" y="3752"/>
                      </a:lnTo>
                      <a:lnTo>
                        <a:pt x="3638" y="3752"/>
                      </a:lnTo>
                      <a:lnTo>
                        <a:pt x="3635" y="3758"/>
                      </a:lnTo>
                      <a:lnTo>
                        <a:pt x="3638" y="3760"/>
                      </a:lnTo>
                      <a:lnTo>
                        <a:pt x="3638" y="3763"/>
                      </a:lnTo>
                      <a:lnTo>
                        <a:pt x="3638" y="3769"/>
                      </a:lnTo>
                      <a:lnTo>
                        <a:pt x="3635" y="3772"/>
                      </a:lnTo>
                      <a:lnTo>
                        <a:pt x="3635" y="3775"/>
                      </a:lnTo>
                      <a:lnTo>
                        <a:pt x="3635" y="3780"/>
                      </a:lnTo>
                      <a:lnTo>
                        <a:pt x="3641" y="3786"/>
                      </a:lnTo>
                      <a:lnTo>
                        <a:pt x="3635" y="3788"/>
                      </a:lnTo>
                      <a:lnTo>
                        <a:pt x="3635" y="3791"/>
                      </a:lnTo>
                      <a:lnTo>
                        <a:pt x="3641" y="3796"/>
                      </a:lnTo>
                      <a:lnTo>
                        <a:pt x="3651" y="3796"/>
                      </a:lnTo>
                      <a:lnTo>
                        <a:pt x="3654" y="3796"/>
                      </a:lnTo>
                      <a:lnTo>
                        <a:pt x="3654" y="3799"/>
                      </a:lnTo>
                      <a:lnTo>
                        <a:pt x="3654" y="3804"/>
                      </a:lnTo>
                      <a:lnTo>
                        <a:pt x="3657" y="3808"/>
                      </a:lnTo>
                      <a:lnTo>
                        <a:pt x="3665" y="3813"/>
                      </a:lnTo>
                      <a:lnTo>
                        <a:pt x="3662" y="3816"/>
                      </a:lnTo>
                      <a:lnTo>
                        <a:pt x="3662" y="3819"/>
                      </a:lnTo>
                      <a:lnTo>
                        <a:pt x="3665" y="3816"/>
                      </a:lnTo>
                      <a:lnTo>
                        <a:pt x="3671" y="3819"/>
                      </a:lnTo>
                      <a:lnTo>
                        <a:pt x="3665" y="3822"/>
                      </a:lnTo>
                      <a:lnTo>
                        <a:pt x="3669" y="3824"/>
                      </a:lnTo>
                      <a:lnTo>
                        <a:pt x="3669" y="3827"/>
                      </a:lnTo>
                      <a:lnTo>
                        <a:pt x="3669" y="3830"/>
                      </a:lnTo>
                      <a:lnTo>
                        <a:pt x="3665" y="3835"/>
                      </a:lnTo>
                      <a:lnTo>
                        <a:pt x="3662" y="3835"/>
                      </a:lnTo>
                      <a:lnTo>
                        <a:pt x="3657" y="3835"/>
                      </a:lnTo>
                      <a:lnTo>
                        <a:pt x="3657" y="3840"/>
                      </a:lnTo>
                      <a:lnTo>
                        <a:pt x="3659" y="3840"/>
                      </a:lnTo>
                      <a:lnTo>
                        <a:pt x="3659" y="3844"/>
                      </a:lnTo>
                      <a:lnTo>
                        <a:pt x="3659" y="3849"/>
                      </a:lnTo>
                      <a:lnTo>
                        <a:pt x="3657" y="3852"/>
                      </a:lnTo>
                      <a:lnTo>
                        <a:pt x="3657" y="3857"/>
                      </a:lnTo>
                      <a:lnTo>
                        <a:pt x="3651" y="3855"/>
                      </a:lnTo>
                      <a:lnTo>
                        <a:pt x="3651" y="3860"/>
                      </a:lnTo>
                      <a:lnTo>
                        <a:pt x="3646" y="3855"/>
                      </a:lnTo>
                      <a:lnTo>
                        <a:pt x="3643" y="3855"/>
                      </a:lnTo>
                      <a:lnTo>
                        <a:pt x="3643" y="3860"/>
                      </a:lnTo>
                      <a:lnTo>
                        <a:pt x="3646" y="3863"/>
                      </a:lnTo>
                      <a:lnTo>
                        <a:pt x="3641" y="3863"/>
                      </a:lnTo>
                      <a:lnTo>
                        <a:pt x="3643" y="3868"/>
                      </a:lnTo>
                      <a:lnTo>
                        <a:pt x="3641" y="3871"/>
                      </a:lnTo>
                      <a:lnTo>
                        <a:pt x="3635" y="3871"/>
                      </a:lnTo>
                      <a:lnTo>
                        <a:pt x="3629" y="3865"/>
                      </a:lnTo>
                      <a:lnTo>
                        <a:pt x="3626" y="3865"/>
                      </a:lnTo>
                      <a:lnTo>
                        <a:pt x="3629" y="3877"/>
                      </a:lnTo>
                      <a:lnTo>
                        <a:pt x="3621" y="3871"/>
                      </a:lnTo>
                      <a:lnTo>
                        <a:pt x="3618" y="3871"/>
                      </a:lnTo>
                      <a:lnTo>
                        <a:pt x="3616" y="3871"/>
                      </a:lnTo>
                      <a:lnTo>
                        <a:pt x="3618" y="3877"/>
                      </a:lnTo>
                      <a:lnTo>
                        <a:pt x="3616" y="3880"/>
                      </a:lnTo>
                      <a:lnTo>
                        <a:pt x="3616" y="3882"/>
                      </a:lnTo>
                      <a:lnTo>
                        <a:pt x="3621" y="3882"/>
                      </a:lnTo>
                      <a:lnTo>
                        <a:pt x="3624" y="3893"/>
                      </a:lnTo>
                      <a:lnTo>
                        <a:pt x="3621" y="3896"/>
                      </a:lnTo>
                      <a:lnTo>
                        <a:pt x="3618" y="3890"/>
                      </a:lnTo>
                      <a:lnTo>
                        <a:pt x="3616" y="3888"/>
                      </a:lnTo>
                      <a:lnTo>
                        <a:pt x="3613" y="3890"/>
                      </a:lnTo>
                      <a:lnTo>
                        <a:pt x="3610" y="3893"/>
                      </a:lnTo>
                      <a:lnTo>
                        <a:pt x="3616" y="3901"/>
                      </a:lnTo>
                      <a:lnTo>
                        <a:pt x="3613" y="3899"/>
                      </a:lnTo>
                      <a:lnTo>
                        <a:pt x="3608" y="3901"/>
                      </a:lnTo>
                      <a:lnTo>
                        <a:pt x="3602" y="3904"/>
                      </a:lnTo>
                      <a:lnTo>
                        <a:pt x="3602" y="3907"/>
                      </a:lnTo>
                      <a:lnTo>
                        <a:pt x="3608" y="3907"/>
                      </a:lnTo>
                      <a:lnTo>
                        <a:pt x="3605" y="3909"/>
                      </a:lnTo>
                      <a:lnTo>
                        <a:pt x="3605" y="3921"/>
                      </a:lnTo>
                      <a:lnTo>
                        <a:pt x="3600" y="3921"/>
                      </a:lnTo>
                      <a:lnTo>
                        <a:pt x="3596" y="3926"/>
                      </a:lnTo>
                      <a:lnTo>
                        <a:pt x="3596" y="3929"/>
                      </a:lnTo>
                      <a:lnTo>
                        <a:pt x="3596" y="3934"/>
                      </a:lnTo>
                      <a:lnTo>
                        <a:pt x="3593" y="3934"/>
                      </a:lnTo>
                      <a:lnTo>
                        <a:pt x="3590" y="3937"/>
                      </a:lnTo>
                      <a:lnTo>
                        <a:pt x="3588" y="3934"/>
                      </a:lnTo>
                      <a:lnTo>
                        <a:pt x="3580" y="3942"/>
                      </a:lnTo>
                      <a:lnTo>
                        <a:pt x="3577" y="3942"/>
                      </a:lnTo>
                      <a:lnTo>
                        <a:pt x="3577" y="3949"/>
                      </a:lnTo>
                      <a:lnTo>
                        <a:pt x="3574" y="3949"/>
                      </a:lnTo>
                      <a:lnTo>
                        <a:pt x="3574" y="3946"/>
                      </a:lnTo>
                      <a:lnTo>
                        <a:pt x="3572" y="3946"/>
                      </a:lnTo>
                      <a:lnTo>
                        <a:pt x="3569" y="3949"/>
                      </a:lnTo>
                      <a:lnTo>
                        <a:pt x="3566" y="3946"/>
                      </a:lnTo>
                      <a:lnTo>
                        <a:pt x="3564" y="3951"/>
                      </a:lnTo>
                      <a:lnTo>
                        <a:pt x="3557" y="3951"/>
                      </a:lnTo>
                      <a:lnTo>
                        <a:pt x="3552" y="3954"/>
                      </a:lnTo>
                      <a:lnTo>
                        <a:pt x="3555" y="3954"/>
                      </a:lnTo>
                      <a:lnTo>
                        <a:pt x="3552" y="3957"/>
                      </a:lnTo>
                      <a:lnTo>
                        <a:pt x="3547" y="3959"/>
                      </a:lnTo>
                      <a:lnTo>
                        <a:pt x="3547" y="3965"/>
                      </a:lnTo>
                      <a:lnTo>
                        <a:pt x="3544" y="3965"/>
                      </a:lnTo>
                      <a:lnTo>
                        <a:pt x="3541" y="3968"/>
                      </a:lnTo>
                      <a:lnTo>
                        <a:pt x="3539" y="3968"/>
                      </a:lnTo>
                      <a:lnTo>
                        <a:pt x="3539" y="3962"/>
                      </a:lnTo>
                      <a:lnTo>
                        <a:pt x="3536" y="3962"/>
                      </a:lnTo>
                      <a:lnTo>
                        <a:pt x="3536" y="3965"/>
                      </a:lnTo>
                      <a:lnTo>
                        <a:pt x="3533" y="3965"/>
                      </a:lnTo>
                      <a:lnTo>
                        <a:pt x="3539" y="3970"/>
                      </a:lnTo>
                      <a:lnTo>
                        <a:pt x="3536" y="3976"/>
                      </a:lnTo>
                      <a:lnTo>
                        <a:pt x="3539" y="3976"/>
                      </a:lnTo>
                      <a:lnTo>
                        <a:pt x="3539" y="3978"/>
                      </a:lnTo>
                      <a:lnTo>
                        <a:pt x="3527" y="3978"/>
                      </a:lnTo>
                      <a:lnTo>
                        <a:pt x="3531" y="3978"/>
                      </a:lnTo>
                      <a:lnTo>
                        <a:pt x="3533" y="3985"/>
                      </a:lnTo>
                      <a:lnTo>
                        <a:pt x="3531" y="3985"/>
                      </a:lnTo>
                      <a:lnTo>
                        <a:pt x="3531" y="3982"/>
                      </a:lnTo>
                      <a:lnTo>
                        <a:pt x="3527" y="3982"/>
                      </a:lnTo>
                      <a:lnTo>
                        <a:pt x="3527" y="3985"/>
                      </a:lnTo>
                      <a:lnTo>
                        <a:pt x="3527" y="3987"/>
                      </a:lnTo>
                      <a:lnTo>
                        <a:pt x="3524" y="3985"/>
                      </a:lnTo>
                      <a:lnTo>
                        <a:pt x="3524" y="3987"/>
                      </a:lnTo>
                      <a:lnTo>
                        <a:pt x="3522" y="3990"/>
                      </a:lnTo>
                      <a:lnTo>
                        <a:pt x="3519" y="3987"/>
                      </a:lnTo>
                      <a:lnTo>
                        <a:pt x="3513" y="3987"/>
                      </a:lnTo>
                      <a:lnTo>
                        <a:pt x="3511" y="3987"/>
                      </a:lnTo>
                      <a:lnTo>
                        <a:pt x="3508" y="3985"/>
                      </a:lnTo>
                      <a:lnTo>
                        <a:pt x="3505" y="3987"/>
                      </a:lnTo>
                      <a:lnTo>
                        <a:pt x="3505" y="3985"/>
                      </a:lnTo>
                      <a:lnTo>
                        <a:pt x="3503" y="3987"/>
                      </a:lnTo>
                      <a:lnTo>
                        <a:pt x="3503" y="3993"/>
                      </a:lnTo>
                      <a:lnTo>
                        <a:pt x="3505" y="3995"/>
                      </a:lnTo>
                      <a:lnTo>
                        <a:pt x="3503" y="3995"/>
                      </a:lnTo>
                      <a:lnTo>
                        <a:pt x="3503" y="4001"/>
                      </a:lnTo>
                      <a:lnTo>
                        <a:pt x="3500" y="4003"/>
                      </a:lnTo>
                      <a:lnTo>
                        <a:pt x="3497" y="4003"/>
                      </a:lnTo>
                      <a:lnTo>
                        <a:pt x="3497" y="4006"/>
                      </a:lnTo>
                      <a:lnTo>
                        <a:pt x="3495" y="4006"/>
                      </a:lnTo>
                      <a:lnTo>
                        <a:pt x="3495" y="4011"/>
                      </a:lnTo>
                      <a:lnTo>
                        <a:pt x="3495" y="4014"/>
                      </a:lnTo>
                      <a:lnTo>
                        <a:pt x="3495" y="4018"/>
                      </a:lnTo>
                      <a:lnTo>
                        <a:pt x="3495" y="4020"/>
                      </a:lnTo>
                      <a:lnTo>
                        <a:pt x="3491" y="4023"/>
                      </a:lnTo>
                      <a:lnTo>
                        <a:pt x="3491" y="4026"/>
                      </a:lnTo>
                      <a:lnTo>
                        <a:pt x="3488" y="4031"/>
                      </a:lnTo>
                      <a:lnTo>
                        <a:pt x="3488" y="4028"/>
                      </a:lnTo>
                      <a:lnTo>
                        <a:pt x="3486" y="4028"/>
                      </a:lnTo>
                      <a:lnTo>
                        <a:pt x="3486" y="4039"/>
                      </a:lnTo>
                      <a:lnTo>
                        <a:pt x="3488" y="4042"/>
                      </a:lnTo>
                      <a:lnTo>
                        <a:pt x="3486" y="4045"/>
                      </a:lnTo>
                      <a:lnTo>
                        <a:pt x="3486" y="4047"/>
                      </a:lnTo>
                      <a:lnTo>
                        <a:pt x="3486" y="4051"/>
                      </a:lnTo>
                      <a:lnTo>
                        <a:pt x="3483" y="4051"/>
                      </a:lnTo>
                      <a:lnTo>
                        <a:pt x="3486" y="4054"/>
                      </a:lnTo>
                      <a:lnTo>
                        <a:pt x="3483" y="4054"/>
                      </a:lnTo>
                      <a:lnTo>
                        <a:pt x="3483" y="4056"/>
                      </a:lnTo>
                      <a:lnTo>
                        <a:pt x="3480" y="4056"/>
                      </a:lnTo>
                      <a:lnTo>
                        <a:pt x="3483" y="4062"/>
                      </a:lnTo>
                      <a:lnTo>
                        <a:pt x="3480" y="4062"/>
                      </a:lnTo>
                      <a:lnTo>
                        <a:pt x="3480" y="4064"/>
                      </a:lnTo>
                      <a:lnTo>
                        <a:pt x="3483" y="4064"/>
                      </a:lnTo>
                      <a:lnTo>
                        <a:pt x="3483" y="4067"/>
                      </a:lnTo>
                      <a:lnTo>
                        <a:pt x="3483" y="4070"/>
                      </a:lnTo>
                      <a:lnTo>
                        <a:pt x="3483" y="4067"/>
                      </a:lnTo>
                      <a:lnTo>
                        <a:pt x="3486" y="4070"/>
                      </a:lnTo>
                      <a:lnTo>
                        <a:pt x="3486" y="4072"/>
                      </a:lnTo>
                      <a:lnTo>
                        <a:pt x="3483" y="4075"/>
                      </a:lnTo>
                      <a:lnTo>
                        <a:pt x="3480" y="4075"/>
                      </a:lnTo>
                      <a:lnTo>
                        <a:pt x="3480" y="4078"/>
                      </a:lnTo>
                      <a:lnTo>
                        <a:pt x="3480" y="4075"/>
                      </a:lnTo>
                      <a:lnTo>
                        <a:pt x="3480" y="4080"/>
                      </a:lnTo>
                      <a:lnTo>
                        <a:pt x="3478" y="4078"/>
                      </a:lnTo>
                      <a:lnTo>
                        <a:pt x="3475" y="4078"/>
                      </a:lnTo>
                      <a:lnTo>
                        <a:pt x="3478" y="4080"/>
                      </a:lnTo>
                      <a:lnTo>
                        <a:pt x="3472" y="4080"/>
                      </a:lnTo>
                      <a:lnTo>
                        <a:pt x="3475" y="4083"/>
                      </a:lnTo>
                      <a:lnTo>
                        <a:pt x="3472" y="4083"/>
                      </a:lnTo>
                      <a:lnTo>
                        <a:pt x="3472" y="4087"/>
                      </a:lnTo>
                      <a:lnTo>
                        <a:pt x="3470" y="4087"/>
                      </a:lnTo>
                      <a:lnTo>
                        <a:pt x="3467" y="4087"/>
                      </a:lnTo>
                      <a:lnTo>
                        <a:pt x="3470" y="4089"/>
                      </a:lnTo>
                      <a:lnTo>
                        <a:pt x="3467" y="4089"/>
                      </a:lnTo>
                      <a:lnTo>
                        <a:pt x="3464" y="4089"/>
                      </a:lnTo>
                      <a:lnTo>
                        <a:pt x="3462" y="4092"/>
                      </a:lnTo>
                      <a:lnTo>
                        <a:pt x="3462" y="4095"/>
                      </a:lnTo>
                      <a:lnTo>
                        <a:pt x="3462" y="4097"/>
                      </a:lnTo>
                      <a:lnTo>
                        <a:pt x="3458" y="4105"/>
                      </a:lnTo>
                      <a:lnTo>
                        <a:pt x="3455" y="4105"/>
                      </a:lnTo>
                      <a:lnTo>
                        <a:pt x="3455" y="4108"/>
                      </a:lnTo>
                      <a:lnTo>
                        <a:pt x="3453" y="4111"/>
                      </a:lnTo>
                      <a:lnTo>
                        <a:pt x="3450" y="4116"/>
                      </a:lnTo>
                      <a:lnTo>
                        <a:pt x="3447" y="4114"/>
                      </a:lnTo>
                      <a:lnTo>
                        <a:pt x="3444" y="4116"/>
                      </a:lnTo>
                      <a:lnTo>
                        <a:pt x="3444" y="4123"/>
                      </a:lnTo>
                      <a:lnTo>
                        <a:pt x="3442" y="4131"/>
                      </a:lnTo>
                      <a:lnTo>
                        <a:pt x="3442" y="4133"/>
                      </a:lnTo>
                      <a:lnTo>
                        <a:pt x="3442" y="4136"/>
                      </a:lnTo>
                      <a:lnTo>
                        <a:pt x="3439" y="4136"/>
                      </a:lnTo>
                      <a:lnTo>
                        <a:pt x="3439" y="4144"/>
                      </a:lnTo>
                      <a:lnTo>
                        <a:pt x="3436" y="4147"/>
                      </a:lnTo>
                      <a:lnTo>
                        <a:pt x="3434" y="4152"/>
                      </a:lnTo>
                      <a:lnTo>
                        <a:pt x="3428" y="4152"/>
                      </a:lnTo>
                      <a:lnTo>
                        <a:pt x="3431" y="4161"/>
                      </a:lnTo>
                      <a:lnTo>
                        <a:pt x="3425" y="4164"/>
                      </a:lnTo>
                      <a:lnTo>
                        <a:pt x="3425" y="4166"/>
                      </a:lnTo>
                      <a:lnTo>
                        <a:pt x="3419" y="4169"/>
                      </a:lnTo>
                      <a:lnTo>
                        <a:pt x="3419" y="4172"/>
                      </a:lnTo>
                      <a:lnTo>
                        <a:pt x="3419" y="4174"/>
                      </a:lnTo>
                      <a:lnTo>
                        <a:pt x="3422" y="4172"/>
                      </a:lnTo>
                      <a:lnTo>
                        <a:pt x="3422" y="4174"/>
                      </a:lnTo>
                      <a:lnTo>
                        <a:pt x="3425" y="4174"/>
                      </a:lnTo>
                      <a:lnTo>
                        <a:pt x="3422" y="4177"/>
                      </a:lnTo>
                      <a:lnTo>
                        <a:pt x="3422" y="4180"/>
                      </a:lnTo>
                      <a:lnTo>
                        <a:pt x="3419" y="4180"/>
                      </a:lnTo>
                      <a:lnTo>
                        <a:pt x="3425" y="4183"/>
                      </a:lnTo>
                      <a:lnTo>
                        <a:pt x="3428" y="4185"/>
                      </a:lnTo>
                      <a:lnTo>
                        <a:pt x="3425" y="4188"/>
                      </a:lnTo>
                      <a:lnTo>
                        <a:pt x="3428" y="4188"/>
                      </a:lnTo>
                      <a:lnTo>
                        <a:pt x="3428" y="4192"/>
                      </a:lnTo>
                      <a:lnTo>
                        <a:pt x="3425" y="4192"/>
                      </a:lnTo>
                      <a:lnTo>
                        <a:pt x="3425" y="4194"/>
                      </a:lnTo>
                      <a:lnTo>
                        <a:pt x="3425" y="4197"/>
                      </a:lnTo>
                      <a:lnTo>
                        <a:pt x="3431" y="4197"/>
                      </a:lnTo>
                      <a:lnTo>
                        <a:pt x="3428" y="4200"/>
                      </a:lnTo>
                      <a:lnTo>
                        <a:pt x="3425" y="4200"/>
                      </a:lnTo>
                      <a:lnTo>
                        <a:pt x="3428" y="4200"/>
                      </a:lnTo>
                      <a:lnTo>
                        <a:pt x="3428" y="4205"/>
                      </a:lnTo>
                      <a:lnTo>
                        <a:pt x="3425" y="4208"/>
                      </a:lnTo>
                      <a:lnTo>
                        <a:pt x="3425" y="4205"/>
                      </a:lnTo>
                      <a:lnTo>
                        <a:pt x="3425" y="4208"/>
                      </a:lnTo>
                      <a:lnTo>
                        <a:pt x="3422" y="4210"/>
                      </a:lnTo>
                      <a:lnTo>
                        <a:pt x="3425" y="4210"/>
                      </a:lnTo>
                      <a:lnTo>
                        <a:pt x="3425" y="4213"/>
                      </a:lnTo>
                      <a:lnTo>
                        <a:pt x="3422" y="4213"/>
                      </a:lnTo>
                      <a:lnTo>
                        <a:pt x="3422" y="4216"/>
                      </a:lnTo>
                      <a:lnTo>
                        <a:pt x="3419" y="4216"/>
                      </a:lnTo>
                      <a:lnTo>
                        <a:pt x="3419" y="4218"/>
                      </a:lnTo>
                      <a:lnTo>
                        <a:pt x="3417" y="4221"/>
                      </a:lnTo>
                      <a:lnTo>
                        <a:pt x="3414" y="4225"/>
                      </a:lnTo>
                      <a:lnTo>
                        <a:pt x="3417" y="4227"/>
                      </a:lnTo>
                      <a:lnTo>
                        <a:pt x="3414" y="4230"/>
                      </a:lnTo>
                      <a:lnTo>
                        <a:pt x="3417" y="4230"/>
                      </a:lnTo>
                      <a:lnTo>
                        <a:pt x="3417" y="4235"/>
                      </a:lnTo>
                      <a:lnTo>
                        <a:pt x="3417" y="4238"/>
                      </a:lnTo>
                      <a:lnTo>
                        <a:pt x="3417" y="4241"/>
                      </a:lnTo>
                      <a:lnTo>
                        <a:pt x="3417" y="4238"/>
                      </a:lnTo>
                      <a:lnTo>
                        <a:pt x="3414" y="4244"/>
                      </a:lnTo>
                      <a:lnTo>
                        <a:pt x="3414" y="4246"/>
                      </a:lnTo>
                      <a:lnTo>
                        <a:pt x="3411" y="4252"/>
                      </a:lnTo>
                      <a:lnTo>
                        <a:pt x="3411" y="4254"/>
                      </a:lnTo>
                      <a:lnTo>
                        <a:pt x="3411" y="4261"/>
                      </a:lnTo>
                      <a:lnTo>
                        <a:pt x="3411" y="4257"/>
                      </a:lnTo>
                      <a:lnTo>
                        <a:pt x="3411" y="4261"/>
                      </a:lnTo>
                      <a:lnTo>
                        <a:pt x="3409" y="4266"/>
                      </a:lnTo>
                      <a:lnTo>
                        <a:pt x="3409" y="4269"/>
                      </a:lnTo>
                      <a:lnTo>
                        <a:pt x="3411" y="4269"/>
                      </a:lnTo>
                      <a:lnTo>
                        <a:pt x="3409" y="4269"/>
                      </a:lnTo>
                      <a:lnTo>
                        <a:pt x="3409" y="4274"/>
                      </a:lnTo>
                      <a:lnTo>
                        <a:pt x="3411" y="4277"/>
                      </a:lnTo>
                      <a:lnTo>
                        <a:pt x="3409" y="4279"/>
                      </a:lnTo>
                      <a:lnTo>
                        <a:pt x="3411" y="4282"/>
                      </a:lnTo>
                      <a:lnTo>
                        <a:pt x="3411" y="4285"/>
                      </a:lnTo>
                      <a:lnTo>
                        <a:pt x="3411" y="4287"/>
                      </a:lnTo>
                      <a:lnTo>
                        <a:pt x="3411" y="4290"/>
                      </a:lnTo>
                      <a:lnTo>
                        <a:pt x="3411" y="4293"/>
                      </a:lnTo>
                      <a:lnTo>
                        <a:pt x="3411" y="4296"/>
                      </a:lnTo>
                      <a:lnTo>
                        <a:pt x="3409" y="4299"/>
                      </a:lnTo>
                      <a:lnTo>
                        <a:pt x="3409" y="4302"/>
                      </a:lnTo>
                      <a:lnTo>
                        <a:pt x="3406" y="4304"/>
                      </a:lnTo>
                      <a:lnTo>
                        <a:pt x="3409" y="4304"/>
                      </a:lnTo>
                      <a:lnTo>
                        <a:pt x="3406" y="4307"/>
                      </a:lnTo>
                      <a:lnTo>
                        <a:pt x="3406" y="4313"/>
                      </a:lnTo>
                      <a:lnTo>
                        <a:pt x="3409" y="4318"/>
                      </a:lnTo>
                      <a:lnTo>
                        <a:pt x="3409" y="4323"/>
                      </a:lnTo>
                      <a:lnTo>
                        <a:pt x="3411" y="4323"/>
                      </a:lnTo>
                      <a:lnTo>
                        <a:pt x="3409" y="4326"/>
                      </a:lnTo>
                      <a:lnTo>
                        <a:pt x="3411" y="4330"/>
                      </a:lnTo>
                      <a:lnTo>
                        <a:pt x="3411" y="4332"/>
                      </a:lnTo>
                      <a:lnTo>
                        <a:pt x="3409" y="4335"/>
                      </a:lnTo>
                      <a:lnTo>
                        <a:pt x="3411" y="4335"/>
                      </a:lnTo>
                      <a:lnTo>
                        <a:pt x="3411" y="4338"/>
                      </a:lnTo>
                      <a:lnTo>
                        <a:pt x="3414" y="4340"/>
                      </a:lnTo>
                      <a:lnTo>
                        <a:pt x="3411" y="4343"/>
                      </a:lnTo>
                      <a:lnTo>
                        <a:pt x="3419" y="4348"/>
                      </a:lnTo>
                      <a:lnTo>
                        <a:pt x="3419" y="4346"/>
                      </a:lnTo>
                      <a:lnTo>
                        <a:pt x="3422" y="4348"/>
                      </a:lnTo>
                      <a:lnTo>
                        <a:pt x="3428" y="4351"/>
                      </a:lnTo>
                      <a:lnTo>
                        <a:pt x="3428" y="4354"/>
                      </a:lnTo>
                      <a:lnTo>
                        <a:pt x="3431" y="4356"/>
                      </a:lnTo>
                      <a:lnTo>
                        <a:pt x="3434" y="4359"/>
                      </a:lnTo>
                      <a:lnTo>
                        <a:pt x="3436" y="4359"/>
                      </a:lnTo>
                      <a:lnTo>
                        <a:pt x="3439" y="4365"/>
                      </a:lnTo>
                      <a:lnTo>
                        <a:pt x="3442" y="4365"/>
                      </a:lnTo>
                      <a:lnTo>
                        <a:pt x="3439" y="4368"/>
                      </a:lnTo>
                      <a:lnTo>
                        <a:pt x="3444" y="4373"/>
                      </a:lnTo>
                      <a:lnTo>
                        <a:pt x="3442" y="4376"/>
                      </a:lnTo>
                      <a:lnTo>
                        <a:pt x="3444" y="4382"/>
                      </a:lnTo>
                      <a:lnTo>
                        <a:pt x="3450" y="4387"/>
                      </a:lnTo>
                      <a:lnTo>
                        <a:pt x="3450" y="4390"/>
                      </a:lnTo>
                      <a:lnTo>
                        <a:pt x="3453" y="4395"/>
                      </a:lnTo>
                      <a:lnTo>
                        <a:pt x="3450" y="4409"/>
                      </a:lnTo>
                      <a:lnTo>
                        <a:pt x="3453" y="4412"/>
                      </a:lnTo>
                      <a:lnTo>
                        <a:pt x="3455" y="4415"/>
                      </a:lnTo>
                      <a:lnTo>
                        <a:pt x="3455" y="4417"/>
                      </a:lnTo>
                      <a:lnTo>
                        <a:pt x="3458" y="4420"/>
                      </a:lnTo>
                      <a:lnTo>
                        <a:pt x="3455" y="4428"/>
                      </a:lnTo>
                      <a:lnTo>
                        <a:pt x="3470" y="4437"/>
                      </a:lnTo>
                      <a:lnTo>
                        <a:pt x="3475" y="4448"/>
                      </a:lnTo>
                      <a:lnTo>
                        <a:pt x="3478" y="4450"/>
                      </a:lnTo>
                      <a:lnTo>
                        <a:pt x="3480" y="4456"/>
                      </a:lnTo>
                      <a:lnTo>
                        <a:pt x="3480" y="4481"/>
                      </a:lnTo>
                      <a:lnTo>
                        <a:pt x="3439" y="4481"/>
                      </a:lnTo>
                      <a:lnTo>
                        <a:pt x="3431" y="4478"/>
                      </a:lnTo>
                      <a:lnTo>
                        <a:pt x="3428" y="4473"/>
                      </a:lnTo>
                      <a:lnTo>
                        <a:pt x="3425" y="4473"/>
                      </a:lnTo>
                      <a:lnTo>
                        <a:pt x="3419" y="4470"/>
                      </a:lnTo>
                      <a:lnTo>
                        <a:pt x="3414" y="4467"/>
                      </a:lnTo>
                      <a:lnTo>
                        <a:pt x="3411" y="4467"/>
                      </a:lnTo>
                      <a:lnTo>
                        <a:pt x="3403" y="4464"/>
                      </a:lnTo>
                      <a:lnTo>
                        <a:pt x="3386" y="4461"/>
                      </a:lnTo>
                      <a:lnTo>
                        <a:pt x="3376" y="4464"/>
                      </a:lnTo>
                      <a:lnTo>
                        <a:pt x="3373" y="4467"/>
                      </a:lnTo>
                      <a:lnTo>
                        <a:pt x="3370" y="4467"/>
                      </a:lnTo>
                      <a:lnTo>
                        <a:pt x="3362" y="4464"/>
                      </a:lnTo>
                      <a:lnTo>
                        <a:pt x="3353" y="4467"/>
                      </a:lnTo>
                      <a:lnTo>
                        <a:pt x="3345" y="4461"/>
                      </a:lnTo>
                      <a:lnTo>
                        <a:pt x="3342" y="4461"/>
                      </a:lnTo>
                      <a:lnTo>
                        <a:pt x="3342" y="4459"/>
                      </a:lnTo>
                      <a:lnTo>
                        <a:pt x="3340" y="4461"/>
                      </a:lnTo>
                      <a:lnTo>
                        <a:pt x="3337" y="4456"/>
                      </a:lnTo>
                      <a:lnTo>
                        <a:pt x="3337" y="4459"/>
                      </a:lnTo>
                      <a:lnTo>
                        <a:pt x="3334" y="4459"/>
                      </a:lnTo>
                      <a:lnTo>
                        <a:pt x="3334" y="4456"/>
                      </a:lnTo>
                      <a:lnTo>
                        <a:pt x="3332" y="4459"/>
                      </a:lnTo>
                      <a:lnTo>
                        <a:pt x="3332" y="4456"/>
                      </a:lnTo>
                      <a:lnTo>
                        <a:pt x="3329" y="4459"/>
                      </a:lnTo>
                      <a:lnTo>
                        <a:pt x="3329" y="4461"/>
                      </a:lnTo>
                      <a:lnTo>
                        <a:pt x="3326" y="4459"/>
                      </a:lnTo>
                      <a:lnTo>
                        <a:pt x="3326" y="4461"/>
                      </a:lnTo>
                      <a:lnTo>
                        <a:pt x="3324" y="4461"/>
                      </a:lnTo>
                      <a:lnTo>
                        <a:pt x="3324" y="4470"/>
                      </a:lnTo>
                      <a:lnTo>
                        <a:pt x="3320" y="4473"/>
                      </a:lnTo>
                      <a:lnTo>
                        <a:pt x="3317" y="4478"/>
                      </a:lnTo>
                      <a:lnTo>
                        <a:pt x="3315" y="4478"/>
                      </a:lnTo>
                      <a:lnTo>
                        <a:pt x="3312" y="4481"/>
                      </a:lnTo>
                      <a:lnTo>
                        <a:pt x="3306" y="4478"/>
                      </a:lnTo>
                      <a:lnTo>
                        <a:pt x="3304" y="4476"/>
                      </a:lnTo>
                      <a:lnTo>
                        <a:pt x="3301" y="4476"/>
                      </a:lnTo>
                      <a:lnTo>
                        <a:pt x="3298" y="4473"/>
                      </a:lnTo>
                      <a:lnTo>
                        <a:pt x="3293" y="4473"/>
                      </a:lnTo>
                      <a:lnTo>
                        <a:pt x="3287" y="4470"/>
                      </a:lnTo>
                      <a:lnTo>
                        <a:pt x="3281" y="4470"/>
                      </a:lnTo>
                      <a:lnTo>
                        <a:pt x="3281" y="4464"/>
                      </a:lnTo>
                      <a:lnTo>
                        <a:pt x="3279" y="4464"/>
                      </a:lnTo>
                      <a:lnTo>
                        <a:pt x="3276" y="4467"/>
                      </a:lnTo>
                      <a:lnTo>
                        <a:pt x="3271" y="4467"/>
                      </a:lnTo>
                      <a:lnTo>
                        <a:pt x="3271" y="4464"/>
                      </a:lnTo>
                      <a:lnTo>
                        <a:pt x="3263" y="4461"/>
                      </a:lnTo>
                      <a:lnTo>
                        <a:pt x="3260" y="4456"/>
                      </a:lnTo>
                      <a:lnTo>
                        <a:pt x="3260" y="4453"/>
                      </a:lnTo>
                      <a:lnTo>
                        <a:pt x="3255" y="4453"/>
                      </a:lnTo>
                      <a:lnTo>
                        <a:pt x="3255" y="4456"/>
                      </a:lnTo>
                      <a:lnTo>
                        <a:pt x="3251" y="4453"/>
                      </a:lnTo>
                      <a:lnTo>
                        <a:pt x="3240" y="4453"/>
                      </a:lnTo>
                      <a:lnTo>
                        <a:pt x="3240" y="4456"/>
                      </a:lnTo>
                      <a:lnTo>
                        <a:pt x="3235" y="4459"/>
                      </a:lnTo>
                      <a:lnTo>
                        <a:pt x="3232" y="4461"/>
                      </a:lnTo>
                      <a:lnTo>
                        <a:pt x="3229" y="4464"/>
                      </a:lnTo>
                      <a:lnTo>
                        <a:pt x="3227" y="4470"/>
                      </a:lnTo>
                      <a:lnTo>
                        <a:pt x="3224" y="4464"/>
                      </a:lnTo>
                      <a:lnTo>
                        <a:pt x="3218" y="4464"/>
                      </a:lnTo>
                      <a:lnTo>
                        <a:pt x="3218" y="4461"/>
                      </a:lnTo>
                      <a:lnTo>
                        <a:pt x="3215" y="4461"/>
                      </a:lnTo>
                      <a:lnTo>
                        <a:pt x="3212" y="4464"/>
                      </a:lnTo>
                      <a:lnTo>
                        <a:pt x="3210" y="4461"/>
                      </a:lnTo>
                      <a:lnTo>
                        <a:pt x="3207" y="4461"/>
                      </a:lnTo>
                      <a:lnTo>
                        <a:pt x="3194" y="4464"/>
                      </a:lnTo>
                      <a:lnTo>
                        <a:pt x="3191" y="4461"/>
                      </a:lnTo>
                      <a:lnTo>
                        <a:pt x="3188" y="4459"/>
                      </a:lnTo>
                      <a:lnTo>
                        <a:pt x="3188" y="4456"/>
                      </a:lnTo>
                      <a:lnTo>
                        <a:pt x="3186" y="4456"/>
                      </a:lnTo>
                      <a:lnTo>
                        <a:pt x="3188" y="4453"/>
                      </a:lnTo>
                      <a:lnTo>
                        <a:pt x="3186" y="4453"/>
                      </a:lnTo>
                      <a:lnTo>
                        <a:pt x="3182" y="4453"/>
                      </a:lnTo>
                      <a:lnTo>
                        <a:pt x="3182" y="4450"/>
                      </a:lnTo>
                      <a:lnTo>
                        <a:pt x="3179" y="4450"/>
                      </a:lnTo>
                      <a:lnTo>
                        <a:pt x="3179" y="4448"/>
                      </a:lnTo>
                      <a:lnTo>
                        <a:pt x="3179" y="4445"/>
                      </a:lnTo>
                      <a:lnTo>
                        <a:pt x="3176" y="4445"/>
                      </a:lnTo>
                      <a:lnTo>
                        <a:pt x="3174" y="4448"/>
                      </a:lnTo>
                      <a:lnTo>
                        <a:pt x="3174" y="4445"/>
                      </a:lnTo>
                      <a:lnTo>
                        <a:pt x="3174" y="4442"/>
                      </a:lnTo>
                      <a:lnTo>
                        <a:pt x="3171" y="4440"/>
                      </a:lnTo>
                      <a:lnTo>
                        <a:pt x="3168" y="4440"/>
                      </a:lnTo>
                      <a:lnTo>
                        <a:pt x="3168" y="4437"/>
                      </a:lnTo>
                      <a:lnTo>
                        <a:pt x="3166" y="4437"/>
                      </a:lnTo>
                      <a:lnTo>
                        <a:pt x="3166" y="4433"/>
                      </a:lnTo>
                      <a:lnTo>
                        <a:pt x="3163" y="4437"/>
                      </a:lnTo>
                      <a:lnTo>
                        <a:pt x="3163" y="4433"/>
                      </a:lnTo>
                      <a:lnTo>
                        <a:pt x="3160" y="4431"/>
                      </a:lnTo>
                      <a:lnTo>
                        <a:pt x="3155" y="4433"/>
                      </a:lnTo>
                      <a:lnTo>
                        <a:pt x="3155" y="4428"/>
                      </a:lnTo>
                      <a:lnTo>
                        <a:pt x="3152" y="4428"/>
                      </a:lnTo>
                      <a:lnTo>
                        <a:pt x="3155" y="4431"/>
                      </a:lnTo>
                      <a:lnTo>
                        <a:pt x="3152" y="4431"/>
                      </a:lnTo>
                      <a:lnTo>
                        <a:pt x="3149" y="4425"/>
                      </a:lnTo>
                      <a:lnTo>
                        <a:pt x="3143" y="4425"/>
                      </a:lnTo>
                      <a:lnTo>
                        <a:pt x="3141" y="4425"/>
                      </a:lnTo>
                      <a:lnTo>
                        <a:pt x="3141" y="4428"/>
                      </a:lnTo>
                      <a:lnTo>
                        <a:pt x="3138" y="4428"/>
                      </a:lnTo>
                      <a:lnTo>
                        <a:pt x="3133" y="4428"/>
                      </a:lnTo>
                      <a:lnTo>
                        <a:pt x="3130" y="4425"/>
                      </a:lnTo>
                      <a:lnTo>
                        <a:pt x="3127" y="4428"/>
                      </a:lnTo>
                      <a:lnTo>
                        <a:pt x="3125" y="4428"/>
                      </a:lnTo>
                      <a:lnTo>
                        <a:pt x="3125" y="4431"/>
                      </a:lnTo>
                      <a:lnTo>
                        <a:pt x="3122" y="4428"/>
                      </a:lnTo>
                      <a:lnTo>
                        <a:pt x="3125" y="4423"/>
                      </a:lnTo>
                      <a:lnTo>
                        <a:pt x="3122" y="4423"/>
                      </a:lnTo>
                      <a:lnTo>
                        <a:pt x="3125" y="4420"/>
                      </a:lnTo>
                      <a:lnTo>
                        <a:pt x="3122" y="4415"/>
                      </a:lnTo>
                      <a:lnTo>
                        <a:pt x="3122" y="4412"/>
                      </a:lnTo>
                      <a:lnTo>
                        <a:pt x="3122" y="4409"/>
                      </a:lnTo>
                      <a:lnTo>
                        <a:pt x="3125" y="4404"/>
                      </a:lnTo>
                      <a:lnTo>
                        <a:pt x="3127" y="4401"/>
                      </a:lnTo>
                      <a:lnTo>
                        <a:pt x="3127" y="4395"/>
                      </a:lnTo>
                      <a:lnTo>
                        <a:pt x="3138" y="4382"/>
                      </a:lnTo>
                      <a:lnTo>
                        <a:pt x="3141" y="4376"/>
                      </a:lnTo>
                      <a:lnTo>
                        <a:pt x="3143" y="4371"/>
                      </a:lnTo>
                      <a:lnTo>
                        <a:pt x="3143" y="4368"/>
                      </a:lnTo>
                      <a:lnTo>
                        <a:pt x="3149" y="4356"/>
                      </a:lnTo>
                      <a:lnTo>
                        <a:pt x="3152" y="4354"/>
                      </a:lnTo>
                      <a:lnTo>
                        <a:pt x="3152" y="4351"/>
                      </a:lnTo>
                      <a:lnTo>
                        <a:pt x="3158" y="4348"/>
                      </a:lnTo>
                      <a:lnTo>
                        <a:pt x="3160" y="4346"/>
                      </a:lnTo>
                      <a:lnTo>
                        <a:pt x="3160" y="4338"/>
                      </a:lnTo>
                      <a:lnTo>
                        <a:pt x="3166" y="4335"/>
                      </a:lnTo>
                      <a:lnTo>
                        <a:pt x="3179" y="4330"/>
                      </a:lnTo>
                      <a:lnTo>
                        <a:pt x="3182" y="4326"/>
                      </a:lnTo>
                      <a:lnTo>
                        <a:pt x="3186" y="4326"/>
                      </a:lnTo>
                      <a:lnTo>
                        <a:pt x="3191" y="4326"/>
                      </a:lnTo>
                      <a:lnTo>
                        <a:pt x="3194" y="4326"/>
                      </a:lnTo>
                      <a:lnTo>
                        <a:pt x="3202" y="4326"/>
                      </a:lnTo>
                      <a:lnTo>
                        <a:pt x="3204" y="4326"/>
                      </a:lnTo>
                      <a:lnTo>
                        <a:pt x="3210" y="4321"/>
                      </a:lnTo>
                      <a:lnTo>
                        <a:pt x="3215" y="4323"/>
                      </a:lnTo>
                      <a:lnTo>
                        <a:pt x="3221" y="4321"/>
                      </a:lnTo>
                      <a:lnTo>
                        <a:pt x="3224" y="4321"/>
                      </a:lnTo>
                      <a:lnTo>
                        <a:pt x="3232" y="4149"/>
                      </a:lnTo>
                      <a:lnTo>
                        <a:pt x="3227" y="4147"/>
                      </a:lnTo>
                      <a:lnTo>
                        <a:pt x="3227" y="4141"/>
                      </a:lnTo>
                      <a:lnTo>
                        <a:pt x="3221" y="4139"/>
                      </a:lnTo>
                      <a:lnTo>
                        <a:pt x="3210" y="4141"/>
                      </a:lnTo>
                      <a:lnTo>
                        <a:pt x="3204" y="4147"/>
                      </a:lnTo>
                      <a:lnTo>
                        <a:pt x="3202" y="4147"/>
                      </a:lnTo>
                      <a:lnTo>
                        <a:pt x="3199" y="4147"/>
                      </a:lnTo>
                      <a:lnTo>
                        <a:pt x="3199" y="4152"/>
                      </a:lnTo>
                      <a:lnTo>
                        <a:pt x="3196" y="4156"/>
                      </a:lnTo>
                      <a:lnTo>
                        <a:pt x="3191" y="4164"/>
                      </a:lnTo>
                      <a:lnTo>
                        <a:pt x="3182" y="4164"/>
                      </a:lnTo>
                      <a:lnTo>
                        <a:pt x="3176" y="4166"/>
                      </a:lnTo>
                      <a:lnTo>
                        <a:pt x="3174" y="4175"/>
                      </a:lnTo>
                      <a:lnTo>
                        <a:pt x="3171" y="4177"/>
                      </a:lnTo>
                      <a:lnTo>
                        <a:pt x="3168" y="4185"/>
                      </a:lnTo>
                      <a:lnTo>
                        <a:pt x="3171" y="4194"/>
                      </a:lnTo>
                      <a:lnTo>
                        <a:pt x="3155" y="4200"/>
                      </a:lnTo>
                      <a:lnTo>
                        <a:pt x="3152" y="4202"/>
                      </a:lnTo>
                      <a:lnTo>
                        <a:pt x="3149" y="4208"/>
                      </a:lnTo>
                      <a:lnTo>
                        <a:pt x="3138" y="4218"/>
                      </a:lnTo>
                      <a:lnTo>
                        <a:pt x="3135" y="4221"/>
                      </a:lnTo>
                      <a:lnTo>
                        <a:pt x="3133" y="4225"/>
                      </a:lnTo>
                      <a:lnTo>
                        <a:pt x="3130" y="4227"/>
                      </a:lnTo>
                      <a:lnTo>
                        <a:pt x="3125" y="4233"/>
                      </a:lnTo>
                      <a:lnTo>
                        <a:pt x="3122" y="4235"/>
                      </a:lnTo>
                      <a:lnTo>
                        <a:pt x="3113" y="4238"/>
                      </a:lnTo>
                      <a:lnTo>
                        <a:pt x="3113" y="4241"/>
                      </a:lnTo>
                      <a:lnTo>
                        <a:pt x="3110" y="4241"/>
                      </a:lnTo>
                      <a:lnTo>
                        <a:pt x="3108" y="4244"/>
                      </a:lnTo>
                      <a:lnTo>
                        <a:pt x="3105" y="4241"/>
                      </a:lnTo>
                      <a:lnTo>
                        <a:pt x="3102" y="4241"/>
                      </a:lnTo>
                      <a:lnTo>
                        <a:pt x="3091" y="4244"/>
                      </a:lnTo>
                      <a:lnTo>
                        <a:pt x="3089" y="4249"/>
                      </a:lnTo>
                      <a:lnTo>
                        <a:pt x="3086" y="4254"/>
                      </a:lnTo>
                      <a:lnTo>
                        <a:pt x="3083" y="4254"/>
                      </a:lnTo>
                      <a:lnTo>
                        <a:pt x="3083" y="4257"/>
                      </a:lnTo>
                      <a:lnTo>
                        <a:pt x="3080" y="4254"/>
                      </a:lnTo>
                      <a:lnTo>
                        <a:pt x="3080" y="4261"/>
                      </a:lnTo>
                      <a:lnTo>
                        <a:pt x="3080" y="4263"/>
                      </a:lnTo>
                      <a:lnTo>
                        <a:pt x="3080" y="4266"/>
                      </a:lnTo>
                      <a:lnTo>
                        <a:pt x="3083" y="4266"/>
                      </a:lnTo>
                      <a:lnTo>
                        <a:pt x="3083" y="4269"/>
                      </a:lnTo>
                      <a:lnTo>
                        <a:pt x="3080" y="4274"/>
                      </a:lnTo>
                      <a:lnTo>
                        <a:pt x="3080" y="4279"/>
                      </a:lnTo>
                      <a:lnTo>
                        <a:pt x="3080" y="4282"/>
                      </a:lnTo>
                      <a:lnTo>
                        <a:pt x="3072" y="4290"/>
                      </a:lnTo>
                      <a:lnTo>
                        <a:pt x="3072" y="4293"/>
                      </a:lnTo>
                      <a:lnTo>
                        <a:pt x="3069" y="4299"/>
                      </a:lnTo>
                      <a:lnTo>
                        <a:pt x="3072" y="4302"/>
                      </a:lnTo>
                      <a:lnTo>
                        <a:pt x="3069" y="4304"/>
                      </a:lnTo>
                      <a:lnTo>
                        <a:pt x="3064" y="4302"/>
                      </a:lnTo>
                      <a:lnTo>
                        <a:pt x="3058" y="4302"/>
                      </a:lnTo>
                      <a:lnTo>
                        <a:pt x="3056" y="4304"/>
                      </a:lnTo>
                      <a:lnTo>
                        <a:pt x="3056" y="4302"/>
                      </a:lnTo>
                      <a:lnTo>
                        <a:pt x="3056" y="4304"/>
                      </a:lnTo>
                      <a:lnTo>
                        <a:pt x="3053" y="4302"/>
                      </a:lnTo>
                      <a:lnTo>
                        <a:pt x="3047" y="4304"/>
                      </a:lnTo>
                      <a:lnTo>
                        <a:pt x="3044" y="4299"/>
                      </a:lnTo>
                      <a:lnTo>
                        <a:pt x="3041" y="4302"/>
                      </a:lnTo>
                      <a:lnTo>
                        <a:pt x="3039" y="4299"/>
                      </a:lnTo>
                      <a:lnTo>
                        <a:pt x="3033" y="4299"/>
                      </a:lnTo>
                      <a:lnTo>
                        <a:pt x="3030" y="4296"/>
                      </a:lnTo>
                      <a:lnTo>
                        <a:pt x="3025" y="4299"/>
                      </a:lnTo>
                      <a:lnTo>
                        <a:pt x="3022" y="4302"/>
                      </a:lnTo>
                      <a:lnTo>
                        <a:pt x="3020" y="4302"/>
                      </a:lnTo>
                      <a:lnTo>
                        <a:pt x="3017" y="4304"/>
                      </a:lnTo>
                      <a:lnTo>
                        <a:pt x="3011" y="4304"/>
                      </a:lnTo>
                      <a:lnTo>
                        <a:pt x="3008" y="4307"/>
                      </a:lnTo>
                      <a:lnTo>
                        <a:pt x="3003" y="4307"/>
                      </a:lnTo>
                      <a:lnTo>
                        <a:pt x="3000" y="4313"/>
                      </a:lnTo>
                      <a:lnTo>
                        <a:pt x="2995" y="4315"/>
                      </a:lnTo>
                      <a:lnTo>
                        <a:pt x="2992" y="4318"/>
                      </a:lnTo>
                      <a:lnTo>
                        <a:pt x="2987" y="4318"/>
                      </a:lnTo>
                      <a:lnTo>
                        <a:pt x="2984" y="4318"/>
                      </a:lnTo>
                      <a:lnTo>
                        <a:pt x="2981" y="4321"/>
                      </a:lnTo>
                      <a:lnTo>
                        <a:pt x="2978" y="4321"/>
                      </a:lnTo>
                      <a:lnTo>
                        <a:pt x="2972" y="4321"/>
                      </a:lnTo>
                      <a:lnTo>
                        <a:pt x="2970" y="4321"/>
                      </a:lnTo>
                      <a:lnTo>
                        <a:pt x="2967" y="4321"/>
                      </a:lnTo>
                      <a:lnTo>
                        <a:pt x="2962" y="4318"/>
                      </a:lnTo>
                      <a:lnTo>
                        <a:pt x="2959" y="4318"/>
                      </a:lnTo>
                      <a:lnTo>
                        <a:pt x="2959" y="4315"/>
                      </a:lnTo>
                      <a:lnTo>
                        <a:pt x="2959" y="4318"/>
                      </a:lnTo>
                      <a:lnTo>
                        <a:pt x="2951" y="4313"/>
                      </a:lnTo>
                      <a:lnTo>
                        <a:pt x="2945" y="4310"/>
                      </a:lnTo>
                      <a:lnTo>
                        <a:pt x="2948" y="4307"/>
                      </a:lnTo>
                      <a:lnTo>
                        <a:pt x="2951" y="4299"/>
                      </a:lnTo>
                      <a:lnTo>
                        <a:pt x="2948" y="4299"/>
                      </a:lnTo>
                      <a:lnTo>
                        <a:pt x="2948" y="4296"/>
                      </a:lnTo>
                      <a:lnTo>
                        <a:pt x="2945" y="4296"/>
                      </a:lnTo>
                      <a:lnTo>
                        <a:pt x="2948" y="4293"/>
                      </a:lnTo>
                      <a:lnTo>
                        <a:pt x="2945" y="4290"/>
                      </a:lnTo>
                      <a:lnTo>
                        <a:pt x="2945" y="4285"/>
                      </a:lnTo>
                      <a:lnTo>
                        <a:pt x="2948" y="4287"/>
                      </a:lnTo>
                      <a:lnTo>
                        <a:pt x="2948" y="4285"/>
                      </a:lnTo>
                      <a:lnTo>
                        <a:pt x="2948" y="4282"/>
                      </a:lnTo>
                      <a:lnTo>
                        <a:pt x="2939" y="4279"/>
                      </a:lnTo>
                      <a:lnTo>
                        <a:pt x="2936" y="4277"/>
                      </a:lnTo>
                      <a:lnTo>
                        <a:pt x="2934" y="4274"/>
                      </a:lnTo>
                      <a:lnTo>
                        <a:pt x="2934" y="4271"/>
                      </a:lnTo>
                      <a:lnTo>
                        <a:pt x="2931" y="4269"/>
                      </a:lnTo>
                      <a:lnTo>
                        <a:pt x="2928" y="4271"/>
                      </a:lnTo>
                      <a:lnTo>
                        <a:pt x="2926" y="4269"/>
                      </a:lnTo>
                      <a:lnTo>
                        <a:pt x="2912" y="4266"/>
                      </a:lnTo>
                      <a:lnTo>
                        <a:pt x="2909" y="4261"/>
                      </a:lnTo>
                      <a:lnTo>
                        <a:pt x="2909" y="4257"/>
                      </a:lnTo>
                      <a:lnTo>
                        <a:pt x="2906" y="4257"/>
                      </a:lnTo>
                      <a:lnTo>
                        <a:pt x="2909" y="4252"/>
                      </a:lnTo>
                      <a:lnTo>
                        <a:pt x="2906" y="4252"/>
                      </a:lnTo>
                      <a:lnTo>
                        <a:pt x="2906" y="4249"/>
                      </a:lnTo>
                      <a:lnTo>
                        <a:pt x="2903" y="4249"/>
                      </a:lnTo>
                      <a:lnTo>
                        <a:pt x="2898" y="4246"/>
                      </a:lnTo>
                      <a:lnTo>
                        <a:pt x="2890" y="4246"/>
                      </a:lnTo>
                      <a:lnTo>
                        <a:pt x="2887" y="4244"/>
                      </a:lnTo>
                      <a:lnTo>
                        <a:pt x="2884" y="4244"/>
                      </a:lnTo>
                      <a:lnTo>
                        <a:pt x="2875" y="4249"/>
                      </a:lnTo>
                      <a:lnTo>
                        <a:pt x="2873" y="4244"/>
                      </a:lnTo>
                      <a:lnTo>
                        <a:pt x="2870" y="4246"/>
                      </a:lnTo>
                      <a:lnTo>
                        <a:pt x="2870" y="4244"/>
                      </a:lnTo>
                      <a:lnTo>
                        <a:pt x="2865" y="4241"/>
                      </a:lnTo>
                      <a:lnTo>
                        <a:pt x="2862" y="4244"/>
                      </a:lnTo>
                      <a:lnTo>
                        <a:pt x="2851" y="4249"/>
                      </a:lnTo>
                      <a:lnTo>
                        <a:pt x="2843" y="4252"/>
                      </a:lnTo>
                      <a:lnTo>
                        <a:pt x="2837" y="4249"/>
                      </a:lnTo>
                      <a:lnTo>
                        <a:pt x="2834" y="4252"/>
                      </a:lnTo>
                      <a:lnTo>
                        <a:pt x="2829" y="4254"/>
                      </a:lnTo>
                      <a:lnTo>
                        <a:pt x="2826" y="4254"/>
                      </a:lnTo>
                      <a:lnTo>
                        <a:pt x="2826" y="4257"/>
                      </a:lnTo>
                      <a:lnTo>
                        <a:pt x="2821" y="4254"/>
                      </a:lnTo>
                      <a:lnTo>
                        <a:pt x="2818" y="4252"/>
                      </a:lnTo>
                      <a:lnTo>
                        <a:pt x="2818" y="4257"/>
                      </a:lnTo>
                      <a:lnTo>
                        <a:pt x="2813" y="4261"/>
                      </a:lnTo>
                      <a:lnTo>
                        <a:pt x="2810" y="4261"/>
                      </a:lnTo>
                      <a:lnTo>
                        <a:pt x="2806" y="4261"/>
                      </a:lnTo>
                      <a:lnTo>
                        <a:pt x="2798" y="4263"/>
                      </a:lnTo>
                      <a:lnTo>
                        <a:pt x="2796" y="4269"/>
                      </a:lnTo>
                      <a:lnTo>
                        <a:pt x="2796" y="4271"/>
                      </a:lnTo>
                      <a:lnTo>
                        <a:pt x="2793" y="4277"/>
                      </a:lnTo>
                      <a:lnTo>
                        <a:pt x="2796" y="4277"/>
                      </a:lnTo>
                      <a:lnTo>
                        <a:pt x="2793" y="4279"/>
                      </a:lnTo>
                      <a:lnTo>
                        <a:pt x="2793" y="4282"/>
                      </a:lnTo>
                      <a:lnTo>
                        <a:pt x="2790" y="4282"/>
                      </a:lnTo>
                      <a:lnTo>
                        <a:pt x="2785" y="4282"/>
                      </a:lnTo>
                      <a:lnTo>
                        <a:pt x="2780" y="4287"/>
                      </a:lnTo>
                      <a:lnTo>
                        <a:pt x="2777" y="4287"/>
                      </a:lnTo>
                      <a:lnTo>
                        <a:pt x="2771" y="4293"/>
                      </a:lnTo>
                      <a:lnTo>
                        <a:pt x="2768" y="4293"/>
                      </a:lnTo>
                      <a:lnTo>
                        <a:pt x="2768" y="4296"/>
                      </a:lnTo>
                      <a:lnTo>
                        <a:pt x="2768" y="4299"/>
                      </a:lnTo>
                      <a:lnTo>
                        <a:pt x="2760" y="4302"/>
                      </a:lnTo>
                      <a:lnTo>
                        <a:pt x="2757" y="4302"/>
                      </a:lnTo>
                      <a:lnTo>
                        <a:pt x="2752" y="4304"/>
                      </a:lnTo>
                      <a:lnTo>
                        <a:pt x="2744" y="4302"/>
                      </a:lnTo>
                      <a:lnTo>
                        <a:pt x="2737" y="4304"/>
                      </a:lnTo>
                      <a:lnTo>
                        <a:pt x="2735" y="4299"/>
                      </a:lnTo>
                      <a:lnTo>
                        <a:pt x="2732" y="4299"/>
                      </a:lnTo>
                      <a:lnTo>
                        <a:pt x="2719" y="4299"/>
                      </a:lnTo>
                      <a:lnTo>
                        <a:pt x="2716" y="4302"/>
                      </a:lnTo>
                      <a:lnTo>
                        <a:pt x="2711" y="4302"/>
                      </a:lnTo>
                      <a:lnTo>
                        <a:pt x="2711" y="4304"/>
                      </a:lnTo>
                      <a:lnTo>
                        <a:pt x="2708" y="4302"/>
                      </a:lnTo>
                      <a:lnTo>
                        <a:pt x="2705" y="4307"/>
                      </a:lnTo>
                      <a:lnTo>
                        <a:pt x="2702" y="4304"/>
                      </a:lnTo>
                      <a:lnTo>
                        <a:pt x="2699" y="4310"/>
                      </a:lnTo>
                      <a:lnTo>
                        <a:pt x="2699" y="4313"/>
                      </a:lnTo>
                      <a:lnTo>
                        <a:pt x="2696" y="4310"/>
                      </a:lnTo>
                      <a:lnTo>
                        <a:pt x="2691" y="4307"/>
                      </a:lnTo>
                      <a:lnTo>
                        <a:pt x="2691" y="4310"/>
                      </a:lnTo>
                      <a:lnTo>
                        <a:pt x="2688" y="4307"/>
                      </a:lnTo>
                      <a:lnTo>
                        <a:pt x="2688" y="4310"/>
                      </a:lnTo>
                      <a:lnTo>
                        <a:pt x="2685" y="4310"/>
                      </a:lnTo>
                      <a:lnTo>
                        <a:pt x="2685" y="4313"/>
                      </a:lnTo>
                      <a:lnTo>
                        <a:pt x="2685" y="4310"/>
                      </a:lnTo>
                      <a:lnTo>
                        <a:pt x="2683" y="4313"/>
                      </a:lnTo>
                      <a:lnTo>
                        <a:pt x="2677" y="4313"/>
                      </a:lnTo>
                      <a:lnTo>
                        <a:pt x="2677" y="4310"/>
                      </a:lnTo>
                      <a:lnTo>
                        <a:pt x="2677" y="4313"/>
                      </a:lnTo>
                      <a:lnTo>
                        <a:pt x="2675" y="4313"/>
                      </a:lnTo>
                      <a:lnTo>
                        <a:pt x="2672" y="4313"/>
                      </a:lnTo>
                      <a:lnTo>
                        <a:pt x="2668" y="4313"/>
                      </a:lnTo>
                      <a:lnTo>
                        <a:pt x="2666" y="4310"/>
                      </a:lnTo>
                      <a:lnTo>
                        <a:pt x="2663" y="4307"/>
                      </a:lnTo>
                      <a:lnTo>
                        <a:pt x="2663" y="4310"/>
                      </a:lnTo>
                      <a:lnTo>
                        <a:pt x="2660" y="4307"/>
                      </a:lnTo>
                      <a:lnTo>
                        <a:pt x="2658" y="4310"/>
                      </a:lnTo>
                      <a:lnTo>
                        <a:pt x="2655" y="4307"/>
                      </a:lnTo>
                      <a:lnTo>
                        <a:pt x="2655" y="4310"/>
                      </a:lnTo>
                      <a:lnTo>
                        <a:pt x="2652" y="4307"/>
                      </a:lnTo>
                      <a:lnTo>
                        <a:pt x="2650" y="4313"/>
                      </a:lnTo>
                      <a:lnTo>
                        <a:pt x="2644" y="4318"/>
                      </a:lnTo>
                      <a:lnTo>
                        <a:pt x="2639" y="4315"/>
                      </a:lnTo>
                      <a:lnTo>
                        <a:pt x="2639" y="4313"/>
                      </a:lnTo>
                      <a:lnTo>
                        <a:pt x="2633" y="4313"/>
                      </a:lnTo>
                      <a:lnTo>
                        <a:pt x="2630" y="4313"/>
                      </a:lnTo>
                      <a:lnTo>
                        <a:pt x="2627" y="4310"/>
                      </a:lnTo>
                      <a:lnTo>
                        <a:pt x="2627" y="4313"/>
                      </a:lnTo>
                      <a:lnTo>
                        <a:pt x="2625" y="4313"/>
                      </a:lnTo>
                      <a:lnTo>
                        <a:pt x="2627" y="4310"/>
                      </a:lnTo>
                      <a:lnTo>
                        <a:pt x="2625" y="4310"/>
                      </a:lnTo>
                      <a:lnTo>
                        <a:pt x="2625" y="4307"/>
                      </a:lnTo>
                      <a:lnTo>
                        <a:pt x="2622" y="4304"/>
                      </a:lnTo>
                      <a:lnTo>
                        <a:pt x="2616" y="4307"/>
                      </a:lnTo>
                      <a:lnTo>
                        <a:pt x="2616" y="4304"/>
                      </a:lnTo>
                      <a:lnTo>
                        <a:pt x="2614" y="4304"/>
                      </a:lnTo>
                      <a:lnTo>
                        <a:pt x="2614" y="4302"/>
                      </a:lnTo>
                      <a:lnTo>
                        <a:pt x="2606" y="4302"/>
                      </a:lnTo>
                      <a:lnTo>
                        <a:pt x="2606" y="4299"/>
                      </a:lnTo>
                      <a:lnTo>
                        <a:pt x="2608" y="4302"/>
                      </a:lnTo>
                      <a:lnTo>
                        <a:pt x="2608" y="4299"/>
                      </a:lnTo>
                      <a:lnTo>
                        <a:pt x="2603" y="4296"/>
                      </a:lnTo>
                      <a:lnTo>
                        <a:pt x="2603" y="4293"/>
                      </a:lnTo>
                      <a:lnTo>
                        <a:pt x="2599" y="4293"/>
                      </a:lnTo>
                      <a:lnTo>
                        <a:pt x="2599" y="4296"/>
                      </a:lnTo>
                      <a:lnTo>
                        <a:pt x="2597" y="4293"/>
                      </a:lnTo>
                      <a:lnTo>
                        <a:pt x="2597" y="4296"/>
                      </a:lnTo>
                      <a:lnTo>
                        <a:pt x="2594" y="4293"/>
                      </a:lnTo>
                      <a:lnTo>
                        <a:pt x="2597" y="4290"/>
                      </a:lnTo>
                      <a:lnTo>
                        <a:pt x="2594" y="4293"/>
                      </a:lnTo>
                      <a:lnTo>
                        <a:pt x="2594" y="4287"/>
                      </a:lnTo>
                      <a:lnTo>
                        <a:pt x="2591" y="4287"/>
                      </a:lnTo>
                      <a:lnTo>
                        <a:pt x="2591" y="4285"/>
                      </a:lnTo>
                      <a:lnTo>
                        <a:pt x="2589" y="4285"/>
                      </a:lnTo>
                      <a:lnTo>
                        <a:pt x="2586" y="4282"/>
                      </a:lnTo>
                      <a:lnTo>
                        <a:pt x="2589" y="4279"/>
                      </a:lnTo>
                      <a:lnTo>
                        <a:pt x="2586" y="4277"/>
                      </a:lnTo>
                      <a:lnTo>
                        <a:pt x="2586" y="4279"/>
                      </a:lnTo>
                      <a:lnTo>
                        <a:pt x="2583" y="4279"/>
                      </a:lnTo>
                      <a:lnTo>
                        <a:pt x="2581" y="4279"/>
                      </a:lnTo>
                      <a:lnTo>
                        <a:pt x="2581" y="4277"/>
                      </a:lnTo>
                      <a:lnTo>
                        <a:pt x="2578" y="4279"/>
                      </a:lnTo>
                      <a:lnTo>
                        <a:pt x="2581" y="4277"/>
                      </a:lnTo>
                      <a:lnTo>
                        <a:pt x="2575" y="4274"/>
                      </a:lnTo>
                      <a:lnTo>
                        <a:pt x="2578" y="4271"/>
                      </a:lnTo>
                      <a:lnTo>
                        <a:pt x="2575" y="4271"/>
                      </a:lnTo>
                      <a:lnTo>
                        <a:pt x="2566" y="4274"/>
                      </a:lnTo>
                      <a:lnTo>
                        <a:pt x="2564" y="4271"/>
                      </a:lnTo>
                      <a:lnTo>
                        <a:pt x="2561" y="4274"/>
                      </a:lnTo>
                      <a:lnTo>
                        <a:pt x="2564" y="4274"/>
                      </a:lnTo>
                      <a:lnTo>
                        <a:pt x="2564" y="4277"/>
                      </a:lnTo>
                      <a:lnTo>
                        <a:pt x="2558" y="4274"/>
                      </a:lnTo>
                      <a:lnTo>
                        <a:pt x="2558" y="4271"/>
                      </a:lnTo>
                      <a:lnTo>
                        <a:pt x="2558" y="4274"/>
                      </a:lnTo>
                      <a:lnTo>
                        <a:pt x="2553" y="4274"/>
                      </a:lnTo>
                      <a:lnTo>
                        <a:pt x="2553" y="4266"/>
                      </a:lnTo>
                      <a:lnTo>
                        <a:pt x="2550" y="4266"/>
                      </a:lnTo>
                      <a:lnTo>
                        <a:pt x="2545" y="4263"/>
                      </a:lnTo>
                      <a:lnTo>
                        <a:pt x="2542" y="4261"/>
                      </a:lnTo>
                      <a:lnTo>
                        <a:pt x="2539" y="4263"/>
                      </a:lnTo>
                      <a:lnTo>
                        <a:pt x="2537" y="4263"/>
                      </a:lnTo>
                      <a:lnTo>
                        <a:pt x="2537" y="4261"/>
                      </a:lnTo>
                      <a:lnTo>
                        <a:pt x="2530" y="4257"/>
                      </a:lnTo>
                      <a:lnTo>
                        <a:pt x="2525" y="4261"/>
                      </a:lnTo>
                      <a:lnTo>
                        <a:pt x="2522" y="4257"/>
                      </a:lnTo>
                      <a:lnTo>
                        <a:pt x="2520" y="4257"/>
                      </a:lnTo>
                      <a:lnTo>
                        <a:pt x="2514" y="4257"/>
                      </a:lnTo>
                      <a:lnTo>
                        <a:pt x="2512" y="4257"/>
                      </a:lnTo>
                      <a:lnTo>
                        <a:pt x="2512" y="4254"/>
                      </a:lnTo>
                      <a:lnTo>
                        <a:pt x="2509" y="4254"/>
                      </a:lnTo>
                      <a:lnTo>
                        <a:pt x="2509" y="4252"/>
                      </a:lnTo>
                      <a:lnTo>
                        <a:pt x="2504" y="4246"/>
                      </a:lnTo>
                      <a:lnTo>
                        <a:pt x="2501" y="4244"/>
                      </a:lnTo>
                      <a:lnTo>
                        <a:pt x="2497" y="4246"/>
                      </a:lnTo>
                      <a:lnTo>
                        <a:pt x="2495" y="4246"/>
                      </a:lnTo>
                      <a:lnTo>
                        <a:pt x="2492" y="4249"/>
                      </a:lnTo>
                      <a:lnTo>
                        <a:pt x="2492" y="4246"/>
                      </a:lnTo>
                      <a:lnTo>
                        <a:pt x="2489" y="4249"/>
                      </a:lnTo>
                      <a:lnTo>
                        <a:pt x="2489" y="4246"/>
                      </a:lnTo>
                      <a:lnTo>
                        <a:pt x="2487" y="4246"/>
                      </a:lnTo>
                      <a:lnTo>
                        <a:pt x="2484" y="4246"/>
                      </a:lnTo>
                      <a:lnTo>
                        <a:pt x="2484" y="4241"/>
                      </a:lnTo>
                      <a:lnTo>
                        <a:pt x="2479" y="4241"/>
                      </a:lnTo>
                      <a:lnTo>
                        <a:pt x="2476" y="4238"/>
                      </a:lnTo>
                      <a:lnTo>
                        <a:pt x="2476" y="4235"/>
                      </a:lnTo>
                      <a:lnTo>
                        <a:pt x="2470" y="4233"/>
                      </a:lnTo>
                      <a:lnTo>
                        <a:pt x="2473" y="4233"/>
                      </a:lnTo>
                      <a:lnTo>
                        <a:pt x="2468" y="4227"/>
                      </a:lnTo>
                      <a:lnTo>
                        <a:pt x="2468" y="4230"/>
                      </a:lnTo>
                      <a:lnTo>
                        <a:pt x="2465" y="4227"/>
                      </a:lnTo>
                      <a:lnTo>
                        <a:pt x="2461" y="4227"/>
                      </a:lnTo>
                      <a:lnTo>
                        <a:pt x="2461" y="4221"/>
                      </a:lnTo>
                      <a:lnTo>
                        <a:pt x="2461" y="4218"/>
                      </a:lnTo>
                      <a:lnTo>
                        <a:pt x="2459" y="4218"/>
                      </a:lnTo>
                      <a:lnTo>
                        <a:pt x="2459" y="4221"/>
                      </a:lnTo>
                      <a:lnTo>
                        <a:pt x="2456" y="4218"/>
                      </a:lnTo>
                      <a:lnTo>
                        <a:pt x="2456" y="4213"/>
                      </a:lnTo>
                      <a:lnTo>
                        <a:pt x="2459" y="4213"/>
                      </a:lnTo>
                      <a:lnTo>
                        <a:pt x="2456" y="4210"/>
                      </a:lnTo>
                      <a:lnTo>
                        <a:pt x="2459" y="4210"/>
                      </a:lnTo>
                      <a:lnTo>
                        <a:pt x="2456" y="4208"/>
                      </a:lnTo>
                      <a:lnTo>
                        <a:pt x="2459" y="4202"/>
                      </a:lnTo>
                      <a:lnTo>
                        <a:pt x="2456" y="4202"/>
                      </a:lnTo>
                      <a:lnTo>
                        <a:pt x="2459" y="4200"/>
                      </a:lnTo>
                      <a:lnTo>
                        <a:pt x="2453" y="4202"/>
                      </a:lnTo>
                      <a:lnTo>
                        <a:pt x="2451" y="4200"/>
                      </a:lnTo>
                      <a:lnTo>
                        <a:pt x="2445" y="4194"/>
                      </a:lnTo>
                      <a:lnTo>
                        <a:pt x="2445" y="4200"/>
                      </a:lnTo>
                      <a:lnTo>
                        <a:pt x="2443" y="4197"/>
                      </a:lnTo>
                      <a:lnTo>
                        <a:pt x="2437" y="4192"/>
                      </a:lnTo>
                      <a:lnTo>
                        <a:pt x="2435" y="4185"/>
                      </a:lnTo>
                      <a:lnTo>
                        <a:pt x="2435" y="4188"/>
                      </a:lnTo>
                      <a:lnTo>
                        <a:pt x="2435" y="4192"/>
                      </a:lnTo>
                      <a:lnTo>
                        <a:pt x="2435" y="4194"/>
                      </a:lnTo>
                      <a:lnTo>
                        <a:pt x="2428" y="4192"/>
                      </a:lnTo>
                      <a:lnTo>
                        <a:pt x="2428" y="4188"/>
                      </a:lnTo>
                      <a:lnTo>
                        <a:pt x="2428" y="4185"/>
                      </a:lnTo>
                      <a:lnTo>
                        <a:pt x="2423" y="4192"/>
                      </a:lnTo>
                      <a:lnTo>
                        <a:pt x="2420" y="4185"/>
                      </a:lnTo>
                      <a:lnTo>
                        <a:pt x="2418" y="4192"/>
                      </a:lnTo>
                      <a:lnTo>
                        <a:pt x="2415" y="4185"/>
                      </a:lnTo>
                      <a:lnTo>
                        <a:pt x="2410" y="4192"/>
                      </a:lnTo>
                      <a:lnTo>
                        <a:pt x="2407" y="4185"/>
                      </a:lnTo>
                      <a:lnTo>
                        <a:pt x="2401" y="4192"/>
                      </a:lnTo>
                      <a:lnTo>
                        <a:pt x="2399" y="4185"/>
                      </a:lnTo>
                      <a:lnTo>
                        <a:pt x="2396" y="4185"/>
                      </a:lnTo>
                      <a:lnTo>
                        <a:pt x="2392" y="4183"/>
                      </a:lnTo>
                      <a:lnTo>
                        <a:pt x="2390" y="4183"/>
                      </a:lnTo>
                      <a:lnTo>
                        <a:pt x="2387" y="4180"/>
                      </a:lnTo>
                      <a:lnTo>
                        <a:pt x="2384" y="4180"/>
                      </a:lnTo>
                      <a:lnTo>
                        <a:pt x="2382" y="4183"/>
                      </a:lnTo>
                      <a:lnTo>
                        <a:pt x="2379" y="4177"/>
                      </a:lnTo>
                      <a:lnTo>
                        <a:pt x="2376" y="4180"/>
                      </a:lnTo>
                      <a:lnTo>
                        <a:pt x="2376" y="4183"/>
                      </a:lnTo>
                      <a:lnTo>
                        <a:pt x="2368" y="4175"/>
                      </a:lnTo>
                      <a:lnTo>
                        <a:pt x="2371" y="4169"/>
                      </a:lnTo>
                      <a:lnTo>
                        <a:pt x="2368" y="4169"/>
                      </a:lnTo>
                      <a:lnTo>
                        <a:pt x="2363" y="4169"/>
                      </a:lnTo>
                      <a:lnTo>
                        <a:pt x="2359" y="4172"/>
                      </a:lnTo>
                      <a:lnTo>
                        <a:pt x="2357" y="4169"/>
                      </a:lnTo>
                      <a:lnTo>
                        <a:pt x="2359" y="4166"/>
                      </a:lnTo>
                      <a:lnTo>
                        <a:pt x="2357" y="4166"/>
                      </a:lnTo>
                      <a:lnTo>
                        <a:pt x="2354" y="4169"/>
                      </a:lnTo>
                      <a:lnTo>
                        <a:pt x="2351" y="4166"/>
                      </a:lnTo>
                      <a:lnTo>
                        <a:pt x="2349" y="4161"/>
                      </a:lnTo>
                      <a:lnTo>
                        <a:pt x="2346" y="4164"/>
                      </a:lnTo>
                      <a:lnTo>
                        <a:pt x="2341" y="4156"/>
                      </a:lnTo>
                      <a:lnTo>
                        <a:pt x="2338" y="4158"/>
                      </a:lnTo>
                      <a:lnTo>
                        <a:pt x="2341" y="4161"/>
                      </a:lnTo>
                      <a:lnTo>
                        <a:pt x="2335" y="4164"/>
                      </a:lnTo>
                      <a:lnTo>
                        <a:pt x="2332" y="4161"/>
                      </a:lnTo>
                      <a:lnTo>
                        <a:pt x="2335" y="4158"/>
                      </a:lnTo>
                      <a:lnTo>
                        <a:pt x="2330" y="4161"/>
                      </a:lnTo>
                      <a:lnTo>
                        <a:pt x="2330" y="4158"/>
                      </a:lnTo>
                      <a:lnTo>
                        <a:pt x="2332" y="4158"/>
                      </a:lnTo>
                      <a:lnTo>
                        <a:pt x="2335" y="4156"/>
                      </a:lnTo>
                      <a:lnTo>
                        <a:pt x="2323" y="4156"/>
                      </a:lnTo>
                      <a:lnTo>
                        <a:pt x="2318" y="4152"/>
                      </a:lnTo>
                      <a:lnTo>
                        <a:pt x="2318" y="4156"/>
                      </a:lnTo>
                      <a:lnTo>
                        <a:pt x="2318" y="4158"/>
                      </a:lnTo>
                      <a:lnTo>
                        <a:pt x="2313" y="4161"/>
                      </a:lnTo>
                      <a:lnTo>
                        <a:pt x="2307" y="4152"/>
                      </a:lnTo>
                      <a:lnTo>
                        <a:pt x="2310" y="4149"/>
                      </a:lnTo>
                      <a:lnTo>
                        <a:pt x="2305" y="4149"/>
                      </a:lnTo>
                      <a:lnTo>
                        <a:pt x="2302" y="4149"/>
                      </a:lnTo>
                      <a:lnTo>
                        <a:pt x="2299" y="4149"/>
                      </a:lnTo>
                      <a:lnTo>
                        <a:pt x="2297" y="4147"/>
                      </a:lnTo>
                      <a:lnTo>
                        <a:pt x="2294" y="4152"/>
                      </a:lnTo>
                      <a:lnTo>
                        <a:pt x="2294" y="4144"/>
                      </a:lnTo>
                      <a:lnTo>
                        <a:pt x="2290" y="4144"/>
                      </a:lnTo>
                      <a:lnTo>
                        <a:pt x="2288" y="4147"/>
                      </a:lnTo>
                      <a:lnTo>
                        <a:pt x="2288" y="4141"/>
                      </a:lnTo>
                      <a:lnTo>
                        <a:pt x="2285" y="4144"/>
                      </a:lnTo>
                      <a:lnTo>
                        <a:pt x="2285" y="4136"/>
                      </a:lnTo>
                      <a:lnTo>
                        <a:pt x="2285" y="4133"/>
                      </a:lnTo>
                      <a:lnTo>
                        <a:pt x="2282" y="4136"/>
                      </a:lnTo>
                      <a:lnTo>
                        <a:pt x="2282" y="4131"/>
                      </a:lnTo>
                      <a:lnTo>
                        <a:pt x="2288" y="4131"/>
                      </a:lnTo>
                      <a:lnTo>
                        <a:pt x="2282" y="4125"/>
                      </a:lnTo>
                      <a:lnTo>
                        <a:pt x="2277" y="4123"/>
                      </a:lnTo>
                      <a:lnTo>
                        <a:pt x="2271" y="4116"/>
                      </a:lnTo>
                      <a:lnTo>
                        <a:pt x="2269" y="4116"/>
                      </a:lnTo>
                      <a:lnTo>
                        <a:pt x="2271" y="4123"/>
                      </a:lnTo>
                      <a:lnTo>
                        <a:pt x="2269" y="4123"/>
                      </a:lnTo>
                      <a:lnTo>
                        <a:pt x="2266" y="4116"/>
                      </a:lnTo>
                      <a:lnTo>
                        <a:pt x="2263" y="4116"/>
                      </a:lnTo>
                      <a:lnTo>
                        <a:pt x="2261" y="4116"/>
                      </a:lnTo>
                      <a:lnTo>
                        <a:pt x="2254" y="4119"/>
                      </a:lnTo>
                      <a:lnTo>
                        <a:pt x="2246" y="4116"/>
                      </a:lnTo>
                      <a:lnTo>
                        <a:pt x="2244" y="4114"/>
                      </a:lnTo>
                      <a:lnTo>
                        <a:pt x="2241" y="4116"/>
                      </a:lnTo>
                      <a:lnTo>
                        <a:pt x="2238" y="4116"/>
                      </a:lnTo>
                      <a:lnTo>
                        <a:pt x="2236" y="4119"/>
                      </a:lnTo>
                      <a:lnTo>
                        <a:pt x="2233" y="4119"/>
                      </a:lnTo>
                      <a:lnTo>
                        <a:pt x="2233" y="4123"/>
                      </a:lnTo>
                      <a:lnTo>
                        <a:pt x="2233" y="4125"/>
                      </a:lnTo>
                      <a:lnTo>
                        <a:pt x="2230" y="4123"/>
                      </a:lnTo>
                      <a:lnTo>
                        <a:pt x="2228" y="4123"/>
                      </a:lnTo>
                      <a:lnTo>
                        <a:pt x="2221" y="4125"/>
                      </a:lnTo>
                      <a:lnTo>
                        <a:pt x="2219" y="4123"/>
                      </a:lnTo>
                      <a:lnTo>
                        <a:pt x="2216" y="4125"/>
                      </a:lnTo>
                      <a:lnTo>
                        <a:pt x="2213" y="4123"/>
                      </a:lnTo>
                      <a:lnTo>
                        <a:pt x="2213" y="4133"/>
                      </a:lnTo>
                      <a:lnTo>
                        <a:pt x="2208" y="4131"/>
                      </a:lnTo>
                      <a:lnTo>
                        <a:pt x="2205" y="4133"/>
                      </a:lnTo>
                      <a:lnTo>
                        <a:pt x="2202" y="4133"/>
                      </a:lnTo>
                      <a:lnTo>
                        <a:pt x="2205" y="4139"/>
                      </a:lnTo>
                      <a:lnTo>
                        <a:pt x="2200" y="4136"/>
                      </a:lnTo>
                      <a:lnTo>
                        <a:pt x="2200" y="4139"/>
                      </a:lnTo>
                      <a:lnTo>
                        <a:pt x="2194" y="4139"/>
                      </a:lnTo>
                      <a:lnTo>
                        <a:pt x="2192" y="4136"/>
                      </a:lnTo>
                      <a:lnTo>
                        <a:pt x="2185" y="4136"/>
                      </a:lnTo>
                      <a:lnTo>
                        <a:pt x="2185" y="4141"/>
                      </a:lnTo>
                      <a:lnTo>
                        <a:pt x="2183" y="4139"/>
                      </a:lnTo>
                      <a:lnTo>
                        <a:pt x="2183" y="4141"/>
                      </a:lnTo>
                      <a:lnTo>
                        <a:pt x="2185" y="4147"/>
                      </a:lnTo>
                      <a:lnTo>
                        <a:pt x="2180" y="4144"/>
                      </a:lnTo>
                      <a:lnTo>
                        <a:pt x="2177" y="4147"/>
                      </a:lnTo>
                      <a:lnTo>
                        <a:pt x="2180" y="4147"/>
                      </a:lnTo>
                      <a:lnTo>
                        <a:pt x="2175" y="4147"/>
                      </a:lnTo>
                      <a:lnTo>
                        <a:pt x="2172" y="4147"/>
                      </a:lnTo>
                      <a:lnTo>
                        <a:pt x="2172" y="4149"/>
                      </a:lnTo>
                      <a:lnTo>
                        <a:pt x="2175" y="4152"/>
                      </a:lnTo>
                      <a:lnTo>
                        <a:pt x="2172" y="4158"/>
                      </a:lnTo>
                      <a:lnTo>
                        <a:pt x="2169" y="4158"/>
                      </a:lnTo>
                      <a:lnTo>
                        <a:pt x="2167" y="4161"/>
                      </a:lnTo>
                      <a:lnTo>
                        <a:pt x="2164" y="4158"/>
                      </a:lnTo>
                      <a:lnTo>
                        <a:pt x="2161" y="4158"/>
                      </a:lnTo>
                      <a:lnTo>
                        <a:pt x="2159" y="4161"/>
                      </a:lnTo>
                      <a:lnTo>
                        <a:pt x="2159" y="4164"/>
                      </a:lnTo>
                      <a:lnTo>
                        <a:pt x="2152" y="4164"/>
                      </a:lnTo>
                      <a:lnTo>
                        <a:pt x="2152" y="4166"/>
                      </a:lnTo>
                      <a:lnTo>
                        <a:pt x="2147" y="4161"/>
                      </a:lnTo>
                      <a:lnTo>
                        <a:pt x="2147" y="4158"/>
                      </a:lnTo>
                      <a:lnTo>
                        <a:pt x="2150" y="4161"/>
                      </a:lnTo>
                      <a:lnTo>
                        <a:pt x="2150" y="4158"/>
                      </a:lnTo>
                      <a:lnTo>
                        <a:pt x="2144" y="4156"/>
                      </a:lnTo>
                      <a:lnTo>
                        <a:pt x="2144" y="4158"/>
                      </a:lnTo>
                      <a:lnTo>
                        <a:pt x="2142" y="4158"/>
                      </a:lnTo>
                      <a:lnTo>
                        <a:pt x="2142" y="4161"/>
                      </a:lnTo>
                      <a:lnTo>
                        <a:pt x="2134" y="4164"/>
                      </a:lnTo>
                      <a:lnTo>
                        <a:pt x="2134" y="4166"/>
                      </a:lnTo>
                      <a:lnTo>
                        <a:pt x="2131" y="4172"/>
                      </a:lnTo>
                      <a:lnTo>
                        <a:pt x="2125" y="4172"/>
                      </a:lnTo>
                      <a:lnTo>
                        <a:pt x="2123" y="4177"/>
                      </a:lnTo>
                      <a:lnTo>
                        <a:pt x="2119" y="4175"/>
                      </a:lnTo>
                      <a:lnTo>
                        <a:pt x="2114" y="4177"/>
                      </a:lnTo>
                      <a:lnTo>
                        <a:pt x="2108" y="4183"/>
                      </a:lnTo>
                      <a:lnTo>
                        <a:pt x="2106" y="4180"/>
                      </a:lnTo>
                      <a:lnTo>
                        <a:pt x="2106" y="4175"/>
                      </a:lnTo>
                      <a:lnTo>
                        <a:pt x="2100" y="4177"/>
                      </a:lnTo>
                      <a:lnTo>
                        <a:pt x="2100" y="4172"/>
                      </a:lnTo>
                      <a:lnTo>
                        <a:pt x="2098" y="4172"/>
                      </a:lnTo>
                      <a:lnTo>
                        <a:pt x="2098" y="4175"/>
                      </a:lnTo>
                      <a:lnTo>
                        <a:pt x="2090" y="4169"/>
                      </a:lnTo>
                      <a:lnTo>
                        <a:pt x="2087" y="4169"/>
                      </a:lnTo>
                      <a:lnTo>
                        <a:pt x="2087" y="4164"/>
                      </a:lnTo>
                      <a:lnTo>
                        <a:pt x="2083" y="4169"/>
                      </a:lnTo>
                      <a:lnTo>
                        <a:pt x="2081" y="4166"/>
                      </a:lnTo>
                      <a:lnTo>
                        <a:pt x="2083" y="4172"/>
                      </a:lnTo>
                      <a:lnTo>
                        <a:pt x="2081" y="4172"/>
                      </a:lnTo>
                      <a:lnTo>
                        <a:pt x="2081" y="4175"/>
                      </a:lnTo>
                      <a:lnTo>
                        <a:pt x="2078" y="4175"/>
                      </a:lnTo>
                      <a:lnTo>
                        <a:pt x="2075" y="4177"/>
                      </a:lnTo>
                      <a:lnTo>
                        <a:pt x="2073" y="4175"/>
                      </a:lnTo>
                      <a:lnTo>
                        <a:pt x="2065" y="4180"/>
                      </a:lnTo>
                      <a:lnTo>
                        <a:pt x="2056" y="4177"/>
                      </a:lnTo>
                      <a:lnTo>
                        <a:pt x="2054" y="4177"/>
                      </a:lnTo>
                      <a:lnTo>
                        <a:pt x="2056" y="4183"/>
                      </a:lnTo>
                      <a:lnTo>
                        <a:pt x="2050" y="4183"/>
                      </a:lnTo>
                      <a:lnTo>
                        <a:pt x="2047" y="4183"/>
                      </a:lnTo>
                      <a:lnTo>
                        <a:pt x="2042" y="4183"/>
                      </a:lnTo>
                      <a:lnTo>
                        <a:pt x="2039" y="4183"/>
                      </a:lnTo>
                      <a:lnTo>
                        <a:pt x="2039" y="4180"/>
                      </a:lnTo>
                      <a:lnTo>
                        <a:pt x="2034" y="4180"/>
                      </a:lnTo>
                      <a:lnTo>
                        <a:pt x="2034" y="4183"/>
                      </a:lnTo>
                      <a:lnTo>
                        <a:pt x="2029" y="4180"/>
                      </a:lnTo>
                      <a:lnTo>
                        <a:pt x="2026" y="4177"/>
                      </a:lnTo>
                      <a:lnTo>
                        <a:pt x="2026" y="4180"/>
                      </a:lnTo>
                      <a:lnTo>
                        <a:pt x="2029" y="4183"/>
                      </a:lnTo>
                      <a:lnTo>
                        <a:pt x="2026" y="4185"/>
                      </a:lnTo>
                      <a:lnTo>
                        <a:pt x="2023" y="4180"/>
                      </a:lnTo>
                      <a:lnTo>
                        <a:pt x="2021" y="4180"/>
                      </a:lnTo>
                      <a:lnTo>
                        <a:pt x="2023" y="4183"/>
                      </a:lnTo>
                      <a:lnTo>
                        <a:pt x="2021" y="4185"/>
                      </a:lnTo>
                      <a:lnTo>
                        <a:pt x="2014" y="4183"/>
                      </a:lnTo>
                      <a:lnTo>
                        <a:pt x="2014" y="4180"/>
                      </a:lnTo>
                      <a:lnTo>
                        <a:pt x="2012" y="4177"/>
                      </a:lnTo>
                      <a:lnTo>
                        <a:pt x="2006" y="4180"/>
                      </a:lnTo>
                      <a:lnTo>
                        <a:pt x="2009" y="4177"/>
                      </a:lnTo>
                      <a:lnTo>
                        <a:pt x="1998" y="4177"/>
                      </a:lnTo>
                      <a:lnTo>
                        <a:pt x="1996" y="4175"/>
                      </a:lnTo>
                      <a:lnTo>
                        <a:pt x="1990" y="4175"/>
                      </a:lnTo>
                      <a:lnTo>
                        <a:pt x="1990" y="4180"/>
                      </a:lnTo>
                      <a:lnTo>
                        <a:pt x="1987" y="4180"/>
                      </a:lnTo>
                      <a:lnTo>
                        <a:pt x="1981" y="4180"/>
                      </a:lnTo>
                      <a:lnTo>
                        <a:pt x="1981" y="4185"/>
                      </a:lnTo>
                      <a:lnTo>
                        <a:pt x="1976" y="4188"/>
                      </a:lnTo>
                      <a:lnTo>
                        <a:pt x="1978" y="4192"/>
                      </a:lnTo>
                      <a:lnTo>
                        <a:pt x="1978" y="4194"/>
                      </a:lnTo>
                      <a:lnTo>
                        <a:pt x="1970" y="4200"/>
                      </a:lnTo>
                      <a:lnTo>
                        <a:pt x="1968" y="4202"/>
                      </a:lnTo>
                      <a:lnTo>
                        <a:pt x="1970" y="4208"/>
                      </a:lnTo>
                      <a:lnTo>
                        <a:pt x="1968" y="4208"/>
                      </a:lnTo>
                      <a:lnTo>
                        <a:pt x="1962" y="4205"/>
                      </a:lnTo>
                      <a:lnTo>
                        <a:pt x="1952" y="4208"/>
                      </a:lnTo>
                      <a:lnTo>
                        <a:pt x="1952" y="4216"/>
                      </a:lnTo>
                      <a:lnTo>
                        <a:pt x="1945" y="4218"/>
                      </a:lnTo>
                      <a:lnTo>
                        <a:pt x="1952" y="4221"/>
                      </a:lnTo>
                      <a:lnTo>
                        <a:pt x="1954" y="4221"/>
                      </a:lnTo>
                      <a:lnTo>
                        <a:pt x="1957" y="4225"/>
                      </a:lnTo>
                      <a:lnTo>
                        <a:pt x="1954" y="4227"/>
                      </a:lnTo>
                      <a:lnTo>
                        <a:pt x="1952" y="4227"/>
                      </a:lnTo>
                      <a:lnTo>
                        <a:pt x="1949" y="4230"/>
                      </a:lnTo>
                      <a:lnTo>
                        <a:pt x="1954" y="4233"/>
                      </a:lnTo>
                      <a:lnTo>
                        <a:pt x="1954" y="4235"/>
                      </a:lnTo>
                      <a:lnTo>
                        <a:pt x="1952" y="4238"/>
                      </a:lnTo>
                      <a:lnTo>
                        <a:pt x="1945" y="4238"/>
                      </a:lnTo>
                      <a:lnTo>
                        <a:pt x="1943" y="4241"/>
                      </a:lnTo>
                      <a:lnTo>
                        <a:pt x="1945" y="4246"/>
                      </a:lnTo>
                      <a:lnTo>
                        <a:pt x="1943" y="4249"/>
                      </a:lnTo>
                      <a:lnTo>
                        <a:pt x="1940" y="4246"/>
                      </a:lnTo>
                      <a:lnTo>
                        <a:pt x="1937" y="4252"/>
                      </a:lnTo>
                      <a:lnTo>
                        <a:pt x="1940" y="4254"/>
                      </a:lnTo>
                      <a:lnTo>
                        <a:pt x="1937" y="4261"/>
                      </a:lnTo>
                      <a:lnTo>
                        <a:pt x="1935" y="4261"/>
                      </a:lnTo>
                      <a:lnTo>
                        <a:pt x="1932" y="4269"/>
                      </a:lnTo>
                      <a:lnTo>
                        <a:pt x="1927" y="4271"/>
                      </a:lnTo>
                      <a:lnTo>
                        <a:pt x="1921" y="4269"/>
                      </a:lnTo>
                      <a:lnTo>
                        <a:pt x="1916" y="4271"/>
                      </a:lnTo>
                      <a:lnTo>
                        <a:pt x="1907" y="4274"/>
                      </a:lnTo>
                      <a:lnTo>
                        <a:pt x="1901" y="4282"/>
                      </a:lnTo>
                      <a:lnTo>
                        <a:pt x="1896" y="4282"/>
                      </a:lnTo>
                      <a:lnTo>
                        <a:pt x="1893" y="4287"/>
                      </a:lnTo>
                      <a:lnTo>
                        <a:pt x="1891" y="4287"/>
                      </a:lnTo>
                      <a:lnTo>
                        <a:pt x="1893" y="4293"/>
                      </a:lnTo>
                      <a:lnTo>
                        <a:pt x="1891" y="4296"/>
                      </a:lnTo>
                      <a:lnTo>
                        <a:pt x="1891" y="4299"/>
                      </a:lnTo>
                      <a:lnTo>
                        <a:pt x="1893" y="4302"/>
                      </a:lnTo>
                      <a:lnTo>
                        <a:pt x="1899" y="4299"/>
                      </a:lnTo>
                      <a:lnTo>
                        <a:pt x="1899" y="4302"/>
                      </a:lnTo>
                      <a:lnTo>
                        <a:pt x="1891" y="4313"/>
                      </a:lnTo>
                      <a:lnTo>
                        <a:pt x="1888" y="4321"/>
                      </a:lnTo>
                      <a:lnTo>
                        <a:pt x="1883" y="4326"/>
                      </a:lnTo>
                      <a:lnTo>
                        <a:pt x="1880" y="4326"/>
                      </a:lnTo>
                      <a:lnTo>
                        <a:pt x="1876" y="4326"/>
                      </a:lnTo>
                      <a:lnTo>
                        <a:pt x="1874" y="4332"/>
                      </a:lnTo>
                      <a:lnTo>
                        <a:pt x="1874" y="4335"/>
                      </a:lnTo>
                      <a:lnTo>
                        <a:pt x="1868" y="4335"/>
                      </a:lnTo>
                      <a:lnTo>
                        <a:pt x="1866" y="4351"/>
                      </a:lnTo>
                      <a:lnTo>
                        <a:pt x="1863" y="4351"/>
                      </a:lnTo>
                      <a:lnTo>
                        <a:pt x="1860" y="4348"/>
                      </a:lnTo>
                      <a:lnTo>
                        <a:pt x="1857" y="4351"/>
                      </a:lnTo>
                      <a:lnTo>
                        <a:pt x="1852" y="4351"/>
                      </a:lnTo>
                      <a:lnTo>
                        <a:pt x="1849" y="4356"/>
                      </a:lnTo>
                      <a:lnTo>
                        <a:pt x="1843" y="4359"/>
                      </a:lnTo>
                      <a:lnTo>
                        <a:pt x="1843" y="4368"/>
                      </a:lnTo>
                      <a:lnTo>
                        <a:pt x="1835" y="4368"/>
                      </a:lnTo>
                      <a:lnTo>
                        <a:pt x="1835" y="4371"/>
                      </a:lnTo>
                      <a:lnTo>
                        <a:pt x="1824" y="4365"/>
                      </a:lnTo>
                      <a:lnTo>
                        <a:pt x="1819" y="4371"/>
                      </a:lnTo>
                      <a:lnTo>
                        <a:pt x="1810" y="4371"/>
                      </a:lnTo>
                      <a:lnTo>
                        <a:pt x="1802" y="4373"/>
                      </a:lnTo>
                      <a:lnTo>
                        <a:pt x="1794" y="4373"/>
                      </a:lnTo>
                      <a:lnTo>
                        <a:pt x="1791" y="4373"/>
                      </a:lnTo>
                      <a:lnTo>
                        <a:pt x="1791" y="4376"/>
                      </a:lnTo>
                      <a:lnTo>
                        <a:pt x="1788" y="4373"/>
                      </a:lnTo>
                      <a:lnTo>
                        <a:pt x="1783" y="4379"/>
                      </a:lnTo>
                      <a:lnTo>
                        <a:pt x="1780" y="4376"/>
                      </a:lnTo>
                      <a:lnTo>
                        <a:pt x="1783" y="4382"/>
                      </a:lnTo>
                      <a:lnTo>
                        <a:pt x="1788" y="4382"/>
                      </a:lnTo>
                      <a:lnTo>
                        <a:pt x="1788" y="4384"/>
                      </a:lnTo>
                      <a:lnTo>
                        <a:pt x="1780" y="4384"/>
                      </a:lnTo>
                      <a:lnTo>
                        <a:pt x="1774" y="4387"/>
                      </a:lnTo>
                      <a:lnTo>
                        <a:pt x="1766" y="4384"/>
                      </a:lnTo>
                      <a:lnTo>
                        <a:pt x="1766" y="4390"/>
                      </a:lnTo>
                      <a:lnTo>
                        <a:pt x="1763" y="4387"/>
                      </a:lnTo>
                      <a:lnTo>
                        <a:pt x="1766" y="4384"/>
                      </a:lnTo>
                      <a:lnTo>
                        <a:pt x="1763" y="4384"/>
                      </a:lnTo>
                      <a:lnTo>
                        <a:pt x="1761" y="4387"/>
                      </a:lnTo>
                      <a:lnTo>
                        <a:pt x="1758" y="4384"/>
                      </a:lnTo>
                      <a:lnTo>
                        <a:pt x="1755" y="4387"/>
                      </a:lnTo>
                      <a:lnTo>
                        <a:pt x="1750" y="4390"/>
                      </a:lnTo>
                      <a:lnTo>
                        <a:pt x="1750" y="4392"/>
                      </a:lnTo>
                      <a:lnTo>
                        <a:pt x="1745" y="4392"/>
                      </a:lnTo>
                      <a:lnTo>
                        <a:pt x="1745" y="4395"/>
                      </a:lnTo>
                      <a:lnTo>
                        <a:pt x="1741" y="4392"/>
                      </a:lnTo>
                      <a:lnTo>
                        <a:pt x="1738" y="4395"/>
                      </a:lnTo>
                      <a:lnTo>
                        <a:pt x="1736" y="4392"/>
                      </a:lnTo>
                      <a:lnTo>
                        <a:pt x="1733" y="4390"/>
                      </a:lnTo>
                      <a:lnTo>
                        <a:pt x="1730" y="4390"/>
                      </a:lnTo>
                      <a:lnTo>
                        <a:pt x="1725" y="4398"/>
                      </a:lnTo>
                      <a:lnTo>
                        <a:pt x="1720" y="4395"/>
                      </a:lnTo>
                      <a:lnTo>
                        <a:pt x="1720" y="4398"/>
                      </a:lnTo>
                      <a:lnTo>
                        <a:pt x="1717" y="4401"/>
                      </a:lnTo>
                      <a:lnTo>
                        <a:pt x="1717" y="4404"/>
                      </a:lnTo>
                      <a:lnTo>
                        <a:pt x="1711" y="4401"/>
                      </a:lnTo>
                      <a:lnTo>
                        <a:pt x="1705" y="4409"/>
                      </a:lnTo>
                      <a:lnTo>
                        <a:pt x="1700" y="4409"/>
                      </a:lnTo>
                      <a:lnTo>
                        <a:pt x="1702" y="4417"/>
                      </a:lnTo>
                      <a:lnTo>
                        <a:pt x="1700" y="4423"/>
                      </a:lnTo>
                      <a:lnTo>
                        <a:pt x="1694" y="4420"/>
                      </a:lnTo>
                      <a:lnTo>
                        <a:pt x="1689" y="4412"/>
                      </a:lnTo>
                      <a:lnTo>
                        <a:pt x="1689" y="4404"/>
                      </a:lnTo>
                      <a:lnTo>
                        <a:pt x="1676" y="4407"/>
                      </a:lnTo>
                      <a:lnTo>
                        <a:pt x="1664" y="4401"/>
                      </a:lnTo>
                      <a:lnTo>
                        <a:pt x="1667" y="4395"/>
                      </a:lnTo>
                      <a:lnTo>
                        <a:pt x="1659" y="4390"/>
                      </a:lnTo>
                      <a:lnTo>
                        <a:pt x="1656" y="4387"/>
                      </a:lnTo>
                      <a:lnTo>
                        <a:pt x="1651" y="4387"/>
                      </a:lnTo>
                      <a:lnTo>
                        <a:pt x="1648" y="4379"/>
                      </a:lnTo>
                      <a:lnTo>
                        <a:pt x="1636" y="4382"/>
                      </a:lnTo>
                      <a:lnTo>
                        <a:pt x="1636" y="4379"/>
                      </a:lnTo>
                      <a:lnTo>
                        <a:pt x="1633" y="4371"/>
                      </a:lnTo>
                      <a:lnTo>
                        <a:pt x="1636" y="4371"/>
                      </a:lnTo>
                      <a:lnTo>
                        <a:pt x="1640" y="4368"/>
                      </a:lnTo>
                      <a:lnTo>
                        <a:pt x="1633" y="4365"/>
                      </a:lnTo>
                      <a:lnTo>
                        <a:pt x="1631" y="4359"/>
                      </a:lnTo>
                      <a:lnTo>
                        <a:pt x="1633" y="4359"/>
                      </a:lnTo>
                      <a:lnTo>
                        <a:pt x="1631" y="4356"/>
                      </a:lnTo>
                      <a:lnTo>
                        <a:pt x="1628" y="4351"/>
                      </a:lnTo>
                      <a:lnTo>
                        <a:pt x="1623" y="4346"/>
                      </a:lnTo>
                      <a:lnTo>
                        <a:pt x="1620" y="4346"/>
                      </a:lnTo>
                      <a:lnTo>
                        <a:pt x="1620" y="4348"/>
                      </a:lnTo>
                      <a:lnTo>
                        <a:pt x="1612" y="4351"/>
                      </a:lnTo>
                      <a:lnTo>
                        <a:pt x="1612" y="4348"/>
                      </a:lnTo>
                      <a:lnTo>
                        <a:pt x="1609" y="4348"/>
                      </a:lnTo>
                      <a:lnTo>
                        <a:pt x="1609" y="4346"/>
                      </a:lnTo>
                      <a:lnTo>
                        <a:pt x="1603" y="4343"/>
                      </a:lnTo>
                      <a:lnTo>
                        <a:pt x="1607" y="4340"/>
                      </a:lnTo>
                      <a:lnTo>
                        <a:pt x="1607" y="4335"/>
                      </a:lnTo>
                      <a:lnTo>
                        <a:pt x="1607" y="4332"/>
                      </a:lnTo>
                      <a:lnTo>
                        <a:pt x="1609" y="4330"/>
                      </a:lnTo>
                      <a:lnTo>
                        <a:pt x="1612" y="4326"/>
                      </a:lnTo>
                      <a:lnTo>
                        <a:pt x="1609" y="4326"/>
                      </a:lnTo>
                      <a:lnTo>
                        <a:pt x="1609" y="4323"/>
                      </a:lnTo>
                      <a:lnTo>
                        <a:pt x="1607" y="4321"/>
                      </a:lnTo>
                      <a:lnTo>
                        <a:pt x="1607" y="4318"/>
                      </a:lnTo>
                      <a:lnTo>
                        <a:pt x="1607" y="4315"/>
                      </a:lnTo>
                      <a:lnTo>
                        <a:pt x="1607" y="4313"/>
                      </a:lnTo>
                      <a:lnTo>
                        <a:pt x="1603" y="4313"/>
                      </a:lnTo>
                      <a:lnTo>
                        <a:pt x="1603" y="4307"/>
                      </a:lnTo>
                      <a:lnTo>
                        <a:pt x="1600" y="4307"/>
                      </a:lnTo>
                      <a:lnTo>
                        <a:pt x="1598" y="4296"/>
                      </a:lnTo>
                      <a:lnTo>
                        <a:pt x="1598" y="4290"/>
                      </a:lnTo>
                      <a:lnTo>
                        <a:pt x="1598" y="4285"/>
                      </a:lnTo>
                      <a:lnTo>
                        <a:pt x="1592" y="4282"/>
                      </a:lnTo>
                      <a:lnTo>
                        <a:pt x="1592" y="4271"/>
                      </a:lnTo>
                      <a:lnTo>
                        <a:pt x="1587" y="4266"/>
                      </a:lnTo>
                      <a:lnTo>
                        <a:pt x="1582" y="4269"/>
                      </a:lnTo>
                      <a:lnTo>
                        <a:pt x="1576" y="4279"/>
                      </a:lnTo>
                      <a:lnTo>
                        <a:pt x="1523" y="4233"/>
                      </a:lnTo>
                      <a:lnTo>
                        <a:pt x="1485" y="4257"/>
                      </a:lnTo>
                      <a:lnTo>
                        <a:pt x="1477" y="4261"/>
                      </a:lnTo>
                      <a:lnTo>
                        <a:pt x="1477" y="4254"/>
                      </a:lnTo>
                      <a:lnTo>
                        <a:pt x="1474" y="4257"/>
                      </a:lnTo>
                      <a:lnTo>
                        <a:pt x="1471" y="4254"/>
                      </a:lnTo>
                      <a:lnTo>
                        <a:pt x="1469" y="4254"/>
                      </a:lnTo>
                      <a:lnTo>
                        <a:pt x="1465" y="4252"/>
                      </a:lnTo>
                      <a:lnTo>
                        <a:pt x="1462" y="4252"/>
                      </a:lnTo>
                      <a:lnTo>
                        <a:pt x="1457" y="4249"/>
                      </a:lnTo>
                      <a:lnTo>
                        <a:pt x="1457" y="4238"/>
                      </a:lnTo>
                      <a:lnTo>
                        <a:pt x="1452" y="4233"/>
                      </a:lnTo>
                      <a:lnTo>
                        <a:pt x="1446" y="4233"/>
                      </a:lnTo>
                      <a:lnTo>
                        <a:pt x="1441" y="4238"/>
                      </a:lnTo>
                      <a:lnTo>
                        <a:pt x="1426" y="4233"/>
                      </a:lnTo>
                      <a:lnTo>
                        <a:pt x="1426" y="4218"/>
                      </a:lnTo>
                      <a:lnTo>
                        <a:pt x="1424" y="4216"/>
                      </a:lnTo>
                      <a:lnTo>
                        <a:pt x="1418" y="4218"/>
                      </a:lnTo>
                      <a:lnTo>
                        <a:pt x="1416" y="4216"/>
                      </a:lnTo>
                      <a:lnTo>
                        <a:pt x="1413" y="4213"/>
                      </a:lnTo>
                      <a:lnTo>
                        <a:pt x="1416" y="4205"/>
                      </a:lnTo>
                      <a:lnTo>
                        <a:pt x="1402" y="4208"/>
                      </a:lnTo>
                      <a:lnTo>
                        <a:pt x="1393" y="4205"/>
                      </a:lnTo>
                      <a:lnTo>
                        <a:pt x="1396" y="4200"/>
                      </a:lnTo>
                      <a:lnTo>
                        <a:pt x="1393" y="4194"/>
                      </a:lnTo>
                      <a:lnTo>
                        <a:pt x="1385" y="4194"/>
                      </a:lnTo>
                      <a:lnTo>
                        <a:pt x="1383" y="4194"/>
                      </a:lnTo>
                      <a:lnTo>
                        <a:pt x="1383" y="4192"/>
                      </a:lnTo>
                      <a:lnTo>
                        <a:pt x="1380" y="4192"/>
                      </a:lnTo>
                      <a:lnTo>
                        <a:pt x="1377" y="4192"/>
                      </a:lnTo>
                      <a:lnTo>
                        <a:pt x="1377" y="4194"/>
                      </a:lnTo>
                      <a:lnTo>
                        <a:pt x="1372" y="4192"/>
                      </a:lnTo>
                      <a:lnTo>
                        <a:pt x="1372" y="4188"/>
                      </a:lnTo>
                      <a:lnTo>
                        <a:pt x="1369" y="4188"/>
                      </a:lnTo>
                      <a:lnTo>
                        <a:pt x="1369" y="4183"/>
                      </a:lnTo>
                      <a:lnTo>
                        <a:pt x="1363" y="4180"/>
                      </a:lnTo>
                      <a:lnTo>
                        <a:pt x="1363" y="4169"/>
                      </a:lnTo>
                      <a:lnTo>
                        <a:pt x="1357" y="4172"/>
                      </a:lnTo>
                      <a:lnTo>
                        <a:pt x="1355" y="4169"/>
                      </a:lnTo>
                      <a:lnTo>
                        <a:pt x="1355" y="4166"/>
                      </a:lnTo>
                      <a:lnTo>
                        <a:pt x="1357" y="4164"/>
                      </a:lnTo>
                      <a:lnTo>
                        <a:pt x="1352" y="4161"/>
                      </a:lnTo>
                      <a:lnTo>
                        <a:pt x="1352" y="4158"/>
                      </a:lnTo>
                      <a:lnTo>
                        <a:pt x="1347" y="4156"/>
                      </a:lnTo>
                      <a:lnTo>
                        <a:pt x="1344" y="4152"/>
                      </a:lnTo>
                      <a:lnTo>
                        <a:pt x="1347" y="4149"/>
                      </a:lnTo>
                      <a:lnTo>
                        <a:pt x="1339" y="4144"/>
                      </a:lnTo>
                      <a:lnTo>
                        <a:pt x="1339" y="4141"/>
                      </a:lnTo>
                      <a:lnTo>
                        <a:pt x="1336" y="4141"/>
                      </a:lnTo>
                      <a:lnTo>
                        <a:pt x="1331" y="4133"/>
                      </a:lnTo>
                      <a:lnTo>
                        <a:pt x="1327" y="4133"/>
                      </a:lnTo>
                      <a:lnTo>
                        <a:pt x="1327" y="4128"/>
                      </a:lnTo>
                      <a:lnTo>
                        <a:pt x="1324" y="4128"/>
                      </a:lnTo>
                      <a:lnTo>
                        <a:pt x="1316" y="4123"/>
                      </a:lnTo>
                      <a:lnTo>
                        <a:pt x="1314" y="4100"/>
                      </a:lnTo>
                      <a:lnTo>
                        <a:pt x="1319" y="4092"/>
                      </a:lnTo>
                      <a:lnTo>
                        <a:pt x="1316" y="4089"/>
                      </a:lnTo>
                      <a:lnTo>
                        <a:pt x="1314" y="4089"/>
                      </a:lnTo>
                      <a:lnTo>
                        <a:pt x="1306" y="4092"/>
                      </a:lnTo>
                      <a:lnTo>
                        <a:pt x="1303" y="4092"/>
                      </a:lnTo>
                      <a:lnTo>
                        <a:pt x="1303" y="4089"/>
                      </a:lnTo>
                      <a:lnTo>
                        <a:pt x="1303" y="4080"/>
                      </a:lnTo>
                      <a:lnTo>
                        <a:pt x="1300" y="4080"/>
                      </a:lnTo>
                      <a:lnTo>
                        <a:pt x="1300" y="4078"/>
                      </a:lnTo>
                      <a:lnTo>
                        <a:pt x="1300" y="4075"/>
                      </a:lnTo>
                      <a:lnTo>
                        <a:pt x="1300" y="4070"/>
                      </a:lnTo>
                      <a:lnTo>
                        <a:pt x="1306" y="4064"/>
                      </a:lnTo>
                      <a:lnTo>
                        <a:pt x="1300" y="4064"/>
                      </a:lnTo>
                      <a:lnTo>
                        <a:pt x="1300" y="4062"/>
                      </a:lnTo>
                      <a:lnTo>
                        <a:pt x="1300" y="4059"/>
                      </a:lnTo>
                      <a:lnTo>
                        <a:pt x="1306" y="4059"/>
                      </a:lnTo>
                      <a:lnTo>
                        <a:pt x="1306" y="4056"/>
                      </a:lnTo>
                      <a:lnTo>
                        <a:pt x="1300" y="4056"/>
                      </a:lnTo>
                      <a:lnTo>
                        <a:pt x="1300" y="4047"/>
                      </a:lnTo>
                      <a:lnTo>
                        <a:pt x="1303" y="4045"/>
                      </a:lnTo>
                      <a:lnTo>
                        <a:pt x="1306" y="4039"/>
                      </a:lnTo>
                      <a:lnTo>
                        <a:pt x="1300" y="4039"/>
                      </a:lnTo>
                      <a:lnTo>
                        <a:pt x="1294" y="4034"/>
                      </a:lnTo>
                      <a:lnTo>
                        <a:pt x="1294" y="4031"/>
                      </a:lnTo>
                      <a:lnTo>
                        <a:pt x="1291" y="4031"/>
                      </a:lnTo>
                      <a:lnTo>
                        <a:pt x="1288" y="4031"/>
                      </a:lnTo>
                      <a:lnTo>
                        <a:pt x="1288" y="4026"/>
                      </a:lnTo>
                      <a:lnTo>
                        <a:pt x="1291" y="4020"/>
                      </a:lnTo>
                      <a:lnTo>
                        <a:pt x="1288" y="4018"/>
                      </a:lnTo>
                      <a:lnTo>
                        <a:pt x="1286" y="4020"/>
                      </a:lnTo>
                      <a:lnTo>
                        <a:pt x="1283" y="4018"/>
                      </a:lnTo>
                      <a:lnTo>
                        <a:pt x="1286" y="4011"/>
                      </a:lnTo>
                      <a:lnTo>
                        <a:pt x="1283" y="4009"/>
                      </a:lnTo>
                      <a:lnTo>
                        <a:pt x="1286" y="4006"/>
                      </a:lnTo>
                      <a:lnTo>
                        <a:pt x="1288" y="4001"/>
                      </a:lnTo>
                      <a:lnTo>
                        <a:pt x="1286" y="4001"/>
                      </a:lnTo>
                      <a:lnTo>
                        <a:pt x="1288" y="3990"/>
                      </a:lnTo>
                      <a:lnTo>
                        <a:pt x="1286" y="3990"/>
                      </a:lnTo>
                      <a:lnTo>
                        <a:pt x="1288" y="3987"/>
                      </a:lnTo>
                      <a:lnTo>
                        <a:pt x="1286" y="3985"/>
                      </a:lnTo>
                      <a:lnTo>
                        <a:pt x="1288" y="3982"/>
                      </a:lnTo>
                      <a:lnTo>
                        <a:pt x="1286" y="3982"/>
                      </a:lnTo>
                      <a:lnTo>
                        <a:pt x="1288" y="3978"/>
                      </a:lnTo>
                      <a:lnTo>
                        <a:pt x="1283" y="3970"/>
                      </a:lnTo>
                      <a:lnTo>
                        <a:pt x="1283" y="3968"/>
                      </a:lnTo>
                      <a:lnTo>
                        <a:pt x="1283" y="3957"/>
                      </a:lnTo>
                      <a:lnTo>
                        <a:pt x="1288" y="3957"/>
                      </a:lnTo>
                      <a:lnTo>
                        <a:pt x="1288" y="3954"/>
                      </a:lnTo>
                      <a:lnTo>
                        <a:pt x="1288" y="3951"/>
                      </a:lnTo>
                      <a:lnTo>
                        <a:pt x="1286" y="3942"/>
                      </a:lnTo>
                      <a:lnTo>
                        <a:pt x="1283" y="3937"/>
                      </a:lnTo>
                      <a:lnTo>
                        <a:pt x="1286" y="3926"/>
                      </a:lnTo>
                      <a:lnTo>
                        <a:pt x="1286" y="3921"/>
                      </a:lnTo>
                      <a:lnTo>
                        <a:pt x="1288" y="3904"/>
                      </a:lnTo>
                      <a:lnTo>
                        <a:pt x="1288" y="3899"/>
                      </a:lnTo>
                      <a:lnTo>
                        <a:pt x="1300" y="3873"/>
                      </a:lnTo>
                      <a:lnTo>
                        <a:pt x="1303" y="3871"/>
                      </a:lnTo>
                      <a:lnTo>
                        <a:pt x="1306" y="3865"/>
                      </a:lnTo>
                      <a:lnTo>
                        <a:pt x="1316" y="3860"/>
                      </a:lnTo>
                      <a:lnTo>
                        <a:pt x="1319" y="3852"/>
                      </a:lnTo>
                      <a:lnTo>
                        <a:pt x="1331" y="3847"/>
                      </a:lnTo>
                      <a:lnTo>
                        <a:pt x="1336" y="3840"/>
                      </a:lnTo>
                      <a:lnTo>
                        <a:pt x="1341" y="3830"/>
                      </a:lnTo>
                      <a:lnTo>
                        <a:pt x="1341" y="3824"/>
                      </a:lnTo>
                      <a:lnTo>
                        <a:pt x="1336" y="3816"/>
                      </a:lnTo>
                      <a:lnTo>
                        <a:pt x="1331" y="3804"/>
                      </a:lnTo>
                      <a:lnTo>
                        <a:pt x="1336" y="3791"/>
                      </a:lnTo>
                      <a:lnTo>
                        <a:pt x="1336" y="3788"/>
                      </a:lnTo>
                      <a:lnTo>
                        <a:pt x="1339" y="3786"/>
                      </a:lnTo>
                      <a:lnTo>
                        <a:pt x="1341" y="3788"/>
                      </a:lnTo>
                      <a:lnTo>
                        <a:pt x="1344" y="3786"/>
                      </a:lnTo>
                      <a:lnTo>
                        <a:pt x="1352" y="3780"/>
                      </a:lnTo>
                      <a:lnTo>
                        <a:pt x="1349" y="3778"/>
                      </a:lnTo>
                      <a:lnTo>
                        <a:pt x="1352" y="3763"/>
                      </a:lnTo>
                      <a:lnTo>
                        <a:pt x="1352" y="3755"/>
                      </a:lnTo>
                      <a:lnTo>
                        <a:pt x="1347" y="3747"/>
                      </a:lnTo>
                      <a:lnTo>
                        <a:pt x="1347" y="3735"/>
                      </a:lnTo>
                      <a:lnTo>
                        <a:pt x="1339" y="3739"/>
                      </a:lnTo>
                      <a:lnTo>
                        <a:pt x="1336" y="3739"/>
                      </a:lnTo>
                      <a:lnTo>
                        <a:pt x="1333" y="3739"/>
                      </a:lnTo>
                      <a:lnTo>
                        <a:pt x="1327" y="3739"/>
                      </a:lnTo>
                      <a:lnTo>
                        <a:pt x="1319" y="3733"/>
                      </a:lnTo>
                      <a:lnTo>
                        <a:pt x="1316" y="3750"/>
                      </a:lnTo>
                      <a:lnTo>
                        <a:pt x="1311" y="3755"/>
                      </a:lnTo>
                      <a:lnTo>
                        <a:pt x="1300" y="3761"/>
                      </a:lnTo>
                      <a:lnTo>
                        <a:pt x="1156" y="3753"/>
                      </a:lnTo>
                      <a:lnTo>
                        <a:pt x="877" y="3742"/>
                      </a:lnTo>
                      <a:lnTo>
                        <a:pt x="593" y="3735"/>
                      </a:lnTo>
                      <a:lnTo>
                        <a:pt x="580" y="3576"/>
                      </a:lnTo>
                      <a:lnTo>
                        <a:pt x="565" y="3405"/>
                      </a:lnTo>
                      <a:lnTo>
                        <a:pt x="433" y="3251"/>
                      </a:lnTo>
                      <a:lnTo>
                        <a:pt x="458" y="3248"/>
                      </a:lnTo>
                      <a:lnTo>
                        <a:pt x="563" y="3248"/>
                      </a:lnTo>
                      <a:lnTo>
                        <a:pt x="552" y="3046"/>
                      </a:lnTo>
                      <a:lnTo>
                        <a:pt x="544" y="3049"/>
                      </a:lnTo>
                      <a:lnTo>
                        <a:pt x="532" y="3044"/>
                      </a:lnTo>
                      <a:lnTo>
                        <a:pt x="530" y="3029"/>
                      </a:lnTo>
                      <a:lnTo>
                        <a:pt x="527" y="3024"/>
                      </a:lnTo>
                      <a:lnTo>
                        <a:pt x="530" y="3024"/>
                      </a:lnTo>
                      <a:lnTo>
                        <a:pt x="527" y="3019"/>
                      </a:lnTo>
                      <a:lnTo>
                        <a:pt x="527" y="3013"/>
                      </a:lnTo>
                      <a:lnTo>
                        <a:pt x="524" y="3011"/>
                      </a:lnTo>
                      <a:lnTo>
                        <a:pt x="527" y="3011"/>
                      </a:lnTo>
                      <a:lnTo>
                        <a:pt x="524" y="3008"/>
                      </a:lnTo>
                      <a:lnTo>
                        <a:pt x="524" y="3002"/>
                      </a:lnTo>
                      <a:lnTo>
                        <a:pt x="521" y="2999"/>
                      </a:lnTo>
                      <a:lnTo>
                        <a:pt x="521" y="2993"/>
                      </a:lnTo>
                      <a:lnTo>
                        <a:pt x="513" y="2991"/>
                      </a:lnTo>
                      <a:lnTo>
                        <a:pt x="513" y="2988"/>
                      </a:lnTo>
                      <a:lnTo>
                        <a:pt x="516" y="2991"/>
                      </a:lnTo>
                      <a:lnTo>
                        <a:pt x="516" y="2985"/>
                      </a:lnTo>
                      <a:lnTo>
                        <a:pt x="508" y="2980"/>
                      </a:lnTo>
                      <a:lnTo>
                        <a:pt x="511" y="2977"/>
                      </a:lnTo>
                      <a:lnTo>
                        <a:pt x="508" y="2977"/>
                      </a:lnTo>
                      <a:lnTo>
                        <a:pt x="508" y="2972"/>
                      </a:lnTo>
                      <a:lnTo>
                        <a:pt x="504" y="2969"/>
                      </a:lnTo>
                      <a:lnTo>
                        <a:pt x="502" y="2969"/>
                      </a:lnTo>
                      <a:lnTo>
                        <a:pt x="499" y="2969"/>
                      </a:lnTo>
                      <a:lnTo>
                        <a:pt x="502" y="2966"/>
                      </a:lnTo>
                      <a:lnTo>
                        <a:pt x="502" y="2963"/>
                      </a:lnTo>
                      <a:lnTo>
                        <a:pt x="499" y="2963"/>
                      </a:lnTo>
                      <a:lnTo>
                        <a:pt x="499" y="2960"/>
                      </a:lnTo>
                      <a:lnTo>
                        <a:pt x="496" y="2960"/>
                      </a:lnTo>
                      <a:lnTo>
                        <a:pt x="499" y="2958"/>
                      </a:lnTo>
                      <a:lnTo>
                        <a:pt x="499" y="2955"/>
                      </a:lnTo>
                      <a:lnTo>
                        <a:pt x="499" y="2950"/>
                      </a:lnTo>
                      <a:lnTo>
                        <a:pt x="499" y="2947"/>
                      </a:lnTo>
                      <a:lnTo>
                        <a:pt x="502" y="2950"/>
                      </a:lnTo>
                      <a:lnTo>
                        <a:pt x="502" y="2947"/>
                      </a:lnTo>
                      <a:lnTo>
                        <a:pt x="502" y="2944"/>
                      </a:lnTo>
                      <a:lnTo>
                        <a:pt x="502" y="2939"/>
                      </a:lnTo>
                      <a:lnTo>
                        <a:pt x="499" y="2942"/>
                      </a:lnTo>
                      <a:lnTo>
                        <a:pt x="499" y="2939"/>
                      </a:lnTo>
                      <a:lnTo>
                        <a:pt x="496" y="2942"/>
                      </a:lnTo>
                      <a:lnTo>
                        <a:pt x="496" y="2939"/>
                      </a:lnTo>
                      <a:lnTo>
                        <a:pt x="496" y="2936"/>
                      </a:lnTo>
                      <a:lnTo>
                        <a:pt x="494" y="2939"/>
                      </a:lnTo>
                      <a:lnTo>
                        <a:pt x="494" y="2936"/>
                      </a:lnTo>
                      <a:lnTo>
                        <a:pt x="494" y="2934"/>
                      </a:lnTo>
                      <a:lnTo>
                        <a:pt x="491" y="2936"/>
                      </a:lnTo>
                      <a:lnTo>
                        <a:pt x="488" y="2934"/>
                      </a:lnTo>
                      <a:lnTo>
                        <a:pt x="491" y="2930"/>
                      </a:lnTo>
                      <a:lnTo>
                        <a:pt x="486" y="2927"/>
                      </a:lnTo>
                      <a:lnTo>
                        <a:pt x="483" y="2922"/>
                      </a:lnTo>
                      <a:lnTo>
                        <a:pt x="480" y="2919"/>
                      </a:lnTo>
                      <a:lnTo>
                        <a:pt x="480" y="2916"/>
                      </a:lnTo>
                      <a:lnTo>
                        <a:pt x="478" y="2914"/>
                      </a:lnTo>
                      <a:lnTo>
                        <a:pt x="478" y="2908"/>
                      </a:lnTo>
                      <a:lnTo>
                        <a:pt x="475" y="2906"/>
                      </a:lnTo>
                      <a:lnTo>
                        <a:pt x="478" y="2903"/>
                      </a:lnTo>
                      <a:lnTo>
                        <a:pt x="475" y="2897"/>
                      </a:lnTo>
                      <a:lnTo>
                        <a:pt x="475" y="2894"/>
                      </a:lnTo>
                      <a:lnTo>
                        <a:pt x="480" y="2891"/>
                      </a:lnTo>
                      <a:lnTo>
                        <a:pt x="480" y="2889"/>
                      </a:lnTo>
                      <a:lnTo>
                        <a:pt x="475" y="2886"/>
                      </a:lnTo>
                      <a:lnTo>
                        <a:pt x="475" y="2881"/>
                      </a:lnTo>
                      <a:lnTo>
                        <a:pt x="472" y="2878"/>
                      </a:lnTo>
                      <a:lnTo>
                        <a:pt x="472" y="2873"/>
                      </a:lnTo>
                      <a:lnTo>
                        <a:pt x="472" y="2867"/>
                      </a:lnTo>
                      <a:lnTo>
                        <a:pt x="466" y="2867"/>
                      </a:lnTo>
                      <a:lnTo>
                        <a:pt x="463" y="2867"/>
                      </a:lnTo>
                      <a:lnTo>
                        <a:pt x="463" y="2865"/>
                      </a:lnTo>
                      <a:lnTo>
                        <a:pt x="463" y="2858"/>
                      </a:lnTo>
                      <a:lnTo>
                        <a:pt x="466" y="2856"/>
                      </a:lnTo>
                      <a:lnTo>
                        <a:pt x="469" y="2853"/>
                      </a:lnTo>
                      <a:lnTo>
                        <a:pt x="469" y="2850"/>
                      </a:lnTo>
                      <a:lnTo>
                        <a:pt x="466" y="2845"/>
                      </a:lnTo>
                      <a:lnTo>
                        <a:pt x="472" y="2842"/>
                      </a:lnTo>
                      <a:lnTo>
                        <a:pt x="466" y="2837"/>
                      </a:lnTo>
                      <a:lnTo>
                        <a:pt x="472" y="2834"/>
                      </a:lnTo>
                      <a:lnTo>
                        <a:pt x="469" y="2831"/>
                      </a:lnTo>
                      <a:lnTo>
                        <a:pt x="469" y="2828"/>
                      </a:lnTo>
                      <a:lnTo>
                        <a:pt x="472" y="2825"/>
                      </a:lnTo>
                      <a:lnTo>
                        <a:pt x="475" y="2825"/>
                      </a:lnTo>
                      <a:lnTo>
                        <a:pt x="480" y="2822"/>
                      </a:lnTo>
                      <a:lnTo>
                        <a:pt x="488" y="2814"/>
                      </a:lnTo>
                      <a:lnTo>
                        <a:pt x="488" y="2812"/>
                      </a:lnTo>
                      <a:lnTo>
                        <a:pt x="491" y="2806"/>
                      </a:lnTo>
                      <a:lnTo>
                        <a:pt x="496" y="2801"/>
                      </a:lnTo>
                      <a:lnTo>
                        <a:pt x="496" y="2798"/>
                      </a:lnTo>
                      <a:lnTo>
                        <a:pt x="499" y="2792"/>
                      </a:lnTo>
                      <a:lnTo>
                        <a:pt x="499" y="2787"/>
                      </a:lnTo>
                      <a:lnTo>
                        <a:pt x="502" y="2784"/>
                      </a:lnTo>
                      <a:lnTo>
                        <a:pt x="502" y="2787"/>
                      </a:lnTo>
                      <a:lnTo>
                        <a:pt x="502" y="2784"/>
                      </a:lnTo>
                      <a:lnTo>
                        <a:pt x="508" y="2784"/>
                      </a:lnTo>
                      <a:lnTo>
                        <a:pt x="508" y="2781"/>
                      </a:lnTo>
                      <a:lnTo>
                        <a:pt x="504" y="2779"/>
                      </a:lnTo>
                      <a:lnTo>
                        <a:pt x="494" y="2779"/>
                      </a:lnTo>
                      <a:lnTo>
                        <a:pt x="488" y="2770"/>
                      </a:lnTo>
                      <a:lnTo>
                        <a:pt x="491" y="2773"/>
                      </a:lnTo>
                      <a:lnTo>
                        <a:pt x="494" y="2768"/>
                      </a:lnTo>
                      <a:lnTo>
                        <a:pt x="496" y="2768"/>
                      </a:lnTo>
                      <a:lnTo>
                        <a:pt x="494" y="2765"/>
                      </a:lnTo>
                      <a:lnTo>
                        <a:pt x="494" y="2762"/>
                      </a:lnTo>
                      <a:lnTo>
                        <a:pt x="491" y="2762"/>
                      </a:lnTo>
                      <a:lnTo>
                        <a:pt x="488" y="2762"/>
                      </a:lnTo>
                      <a:lnTo>
                        <a:pt x="483" y="2760"/>
                      </a:lnTo>
                      <a:lnTo>
                        <a:pt x="480" y="2760"/>
                      </a:lnTo>
                      <a:lnTo>
                        <a:pt x="483" y="2762"/>
                      </a:lnTo>
                      <a:lnTo>
                        <a:pt x="480" y="2762"/>
                      </a:lnTo>
                      <a:lnTo>
                        <a:pt x="480" y="2748"/>
                      </a:lnTo>
                      <a:lnTo>
                        <a:pt x="478" y="2743"/>
                      </a:lnTo>
                      <a:lnTo>
                        <a:pt x="480" y="2740"/>
                      </a:lnTo>
                      <a:lnTo>
                        <a:pt x="480" y="2737"/>
                      </a:lnTo>
                      <a:lnTo>
                        <a:pt x="478" y="2737"/>
                      </a:lnTo>
                      <a:lnTo>
                        <a:pt x="475" y="2737"/>
                      </a:lnTo>
                      <a:lnTo>
                        <a:pt x="472" y="2740"/>
                      </a:lnTo>
                      <a:lnTo>
                        <a:pt x="472" y="2743"/>
                      </a:lnTo>
                      <a:lnTo>
                        <a:pt x="469" y="2740"/>
                      </a:lnTo>
                      <a:lnTo>
                        <a:pt x="472" y="2737"/>
                      </a:lnTo>
                      <a:lnTo>
                        <a:pt x="475" y="2735"/>
                      </a:lnTo>
                      <a:lnTo>
                        <a:pt x="475" y="2729"/>
                      </a:lnTo>
                      <a:lnTo>
                        <a:pt x="478" y="2727"/>
                      </a:lnTo>
                      <a:lnTo>
                        <a:pt x="472" y="2727"/>
                      </a:lnTo>
                      <a:lnTo>
                        <a:pt x="469" y="2727"/>
                      </a:lnTo>
                      <a:lnTo>
                        <a:pt x="466" y="2727"/>
                      </a:lnTo>
                      <a:lnTo>
                        <a:pt x="463" y="2727"/>
                      </a:lnTo>
                      <a:lnTo>
                        <a:pt x="472" y="2718"/>
                      </a:lnTo>
                      <a:lnTo>
                        <a:pt x="472" y="2715"/>
                      </a:lnTo>
                      <a:lnTo>
                        <a:pt x="466" y="2718"/>
                      </a:lnTo>
                      <a:lnTo>
                        <a:pt x="463" y="2715"/>
                      </a:lnTo>
                      <a:lnTo>
                        <a:pt x="463" y="2712"/>
                      </a:lnTo>
                      <a:lnTo>
                        <a:pt x="466" y="2712"/>
                      </a:lnTo>
                      <a:lnTo>
                        <a:pt x="472" y="2712"/>
                      </a:lnTo>
                      <a:lnTo>
                        <a:pt x="475" y="2710"/>
                      </a:lnTo>
                      <a:lnTo>
                        <a:pt x="469" y="2707"/>
                      </a:lnTo>
                      <a:lnTo>
                        <a:pt x="469" y="2704"/>
                      </a:lnTo>
                      <a:lnTo>
                        <a:pt x="472" y="2704"/>
                      </a:lnTo>
                      <a:lnTo>
                        <a:pt x="475" y="2704"/>
                      </a:lnTo>
                      <a:lnTo>
                        <a:pt x="472" y="2701"/>
                      </a:lnTo>
                      <a:lnTo>
                        <a:pt x="463" y="2701"/>
                      </a:lnTo>
                      <a:lnTo>
                        <a:pt x="461" y="2699"/>
                      </a:lnTo>
                      <a:lnTo>
                        <a:pt x="458" y="2701"/>
                      </a:lnTo>
                      <a:lnTo>
                        <a:pt x="455" y="2699"/>
                      </a:lnTo>
                      <a:lnTo>
                        <a:pt x="447" y="2699"/>
                      </a:lnTo>
                      <a:lnTo>
                        <a:pt x="452" y="2693"/>
                      </a:lnTo>
                      <a:lnTo>
                        <a:pt x="450" y="2691"/>
                      </a:lnTo>
                      <a:lnTo>
                        <a:pt x="447" y="2691"/>
                      </a:lnTo>
                      <a:lnTo>
                        <a:pt x="442" y="2691"/>
                      </a:lnTo>
                      <a:lnTo>
                        <a:pt x="442" y="2696"/>
                      </a:lnTo>
                      <a:lnTo>
                        <a:pt x="439" y="2696"/>
                      </a:lnTo>
                      <a:lnTo>
                        <a:pt x="435" y="2691"/>
                      </a:lnTo>
                      <a:lnTo>
                        <a:pt x="430" y="2691"/>
                      </a:lnTo>
                      <a:lnTo>
                        <a:pt x="433" y="2684"/>
                      </a:lnTo>
                      <a:lnTo>
                        <a:pt x="427" y="2684"/>
                      </a:lnTo>
                      <a:lnTo>
                        <a:pt x="430" y="2682"/>
                      </a:lnTo>
                      <a:lnTo>
                        <a:pt x="425" y="2682"/>
                      </a:lnTo>
                      <a:lnTo>
                        <a:pt x="422" y="2679"/>
                      </a:lnTo>
                      <a:lnTo>
                        <a:pt x="419" y="2682"/>
                      </a:lnTo>
                      <a:lnTo>
                        <a:pt x="417" y="2682"/>
                      </a:lnTo>
                      <a:lnTo>
                        <a:pt x="417" y="2676"/>
                      </a:lnTo>
                      <a:lnTo>
                        <a:pt x="414" y="2679"/>
                      </a:lnTo>
                      <a:lnTo>
                        <a:pt x="414" y="2676"/>
                      </a:lnTo>
                      <a:lnTo>
                        <a:pt x="414" y="2674"/>
                      </a:lnTo>
                      <a:lnTo>
                        <a:pt x="409" y="2668"/>
                      </a:lnTo>
                      <a:lnTo>
                        <a:pt x="406" y="2674"/>
                      </a:lnTo>
                      <a:lnTo>
                        <a:pt x="403" y="2674"/>
                      </a:lnTo>
                      <a:lnTo>
                        <a:pt x="400" y="2676"/>
                      </a:lnTo>
                      <a:lnTo>
                        <a:pt x="397" y="2676"/>
                      </a:lnTo>
                      <a:lnTo>
                        <a:pt x="397" y="2674"/>
                      </a:lnTo>
                      <a:lnTo>
                        <a:pt x="397" y="2676"/>
                      </a:lnTo>
                      <a:lnTo>
                        <a:pt x="392" y="2674"/>
                      </a:lnTo>
                      <a:lnTo>
                        <a:pt x="386" y="2668"/>
                      </a:lnTo>
                      <a:lnTo>
                        <a:pt x="383" y="2660"/>
                      </a:lnTo>
                      <a:lnTo>
                        <a:pt x="381" y="2663"/>
                      </a:lnTo>
                      <a:lnTo>
                        <a:pt x="381" y="2668"/>
                      </a:lnTo>
                      <a:lnTo>
                        <a:pt x="375" y="2663"/>
                      </a:lnTo>
                      <a:lnTo>
                        <a:pt x="375" y="2658"/>
                      </a:lnTo>
                      <a:lnTo>
                        <a:pt x="373" y="2655"/>
                      </a:lnTo>
                      <a:lnTo>
                        <a:pt x="373" y="2651"/>
                      </a:lnTo>
                      <a:lnTo>
                        <a:pt x="375" y="2651"/>
                      </a:lnTo>
                      <a:lnTo>
                        <a:pt x="375" y="2648"/>
                      </a:lnTo>
                      <a:lnTo>
                        <a:pt x="378" y="2648"/>
                      </a:lnTo>
                      <a:lnTo>
                        <a:pt x="381" y="2646"/>
                      </a:lnTo>
                      <a:lnTo>
                        <a:pt x="378" y="2643"/>
                      </a:lnTo>
                      <a:lnTo>
                        <a:pt x="381" y="2643"/>
                      </a:lnTo>
                      <a:lnTo>
                        <a:pt x="378" y="2643"/>
                      </a:lnTo>
                      <a:lnTo>
                        <a:pt x="381" y="2641"/>
                      </a:lnTo>
                      <a:lnTo>
                        <a:pt x="383" y="2641"/>
                      </a:lnTo>
                      <a:lnTo>
                        <a:pt x="381" y="2638"/>
                      </a:lnTo>
                      <a:lnTo>
                        <a:pt x="383" y="2635"/>
                      </a:lnTo>
                      <a:lnTo>
                        <a:pt x="383" y="2632"/>
                      </a:lnTo>
                      <a:lnTo>
                        <a:pt x="383" y="2630"/>
                      </a:lnTo>
                      <a:lnTo>
                        <a:pt x="389" y="2627"/>
                      </a:lnTo>
                      <a:lnTo>
                        <a:pt x="389" y="2624"/>
                      </a:lnTo>
                      <a:lnTo>
                        <a:pt x="392" y="2624"/>
                      </a:lnTo>
                      <a:lnTo>
                        <a:pt x="392" y="2622"/>
                      </a:lnTo>
                      <a:lnTo>
                        <a:pt x="397" y="2622"/>
                      </a:lnTo>
                      <a:lnTo>
                        <a:pt x="400" y="2615"/>
                      </a:lnTo>
                      <a:lnTo>
                        <a:pt x="403" y="2618"/>
                      </a:lnTo>
                      <a:lnTo>
                        <a:pt x="403" y="2615"/>
                      </a:lnTo>
                      <a:lnTo>
                        <a:pt x="403" y="2613"/>
                      </a:lnTo>
                      <a:lnTo>
                        <a:pt x="406" y="2610"/>
                      </a:lnTo>
                      <a:lnTo>
                        <a:pt x="406" y="2607"/>
                      </a:lnTo>
                      <a:lnTo>
                        <a:pt x="414" y="2605"/>
                      </a:lnTo>
                      <a:lnTo>
                        <a:pt x="419" y="2607"/>
                      </a:lnTo>
                      <a:lnTo>
                        <a:pt x="422" y="2607"/>
                      </a:lnTo>
                      <a:lnTo>
                        <a:pt x="425" y="2605"/>
                      </a:lnTo>
                      <a:lnTo>
                        <a:pt x="427" y="2605"/>
                      </a:lnTo>
                      <a:lnTo>
                        <a:pt x="435" y="2599"/>
                      </a:lnTo>
                      <a:lnTo>
                        <a:pt x="439" y="2597"/>
                      </a:lnTo>
                      <a:lnTo>
                        <a:pt x="442" y="2597"/>
                      </a:lnTo>
                      <a:lnTo>
                        <a:pt x="442" y="2594"/>
                      </a:lnTo>
                      <a:lnTo>
                        <a:pt x="447" y="2594"/>
                      </a:lnTo>
                      <a:lnTo>
                        <a:pt x="447" y="2586"/>
                      </a:lnTo>
                      <a:lnTo>
                        <a:pt x="458" y="2577"/>
                      </a:lnTo>
                      <a:lnTo>
                        <a:pt x="466" y="2574"/>
                      </a:lnTo>
                      <a:lnTo>
                        <a:pt x="466" y="2577"/>
                      </a:lnTo>
                      <a:lnTo>
                        <a:pt x="469" y="2574"/>
                      </a:lnTo>
                      <a:lnTo>
                        <a:pt x="475" y="2571"/>
                      </a:lnTo>
                      <a:lnTo>
                        <a:pt x="478" y="2574"/>
                      </a:lnTo>
                      <a:lnTo>
                        <a:pt x="488" y="2571"/>
                      </a:lnTo>
                      <a:lnTo>
                        <a:pt x="488" y="2569"/>
                      </a:lnTo>
                      <a:lnTo>
                        <a:pt x="496" y="2561"/>
                      </a:lnTo>
                      <a:lnTo>
                        <a:pt x="499" y="2561"/>
                      </a:lnTo>
                      <a:lnTo>
                        <a:pt x="499" y="2558"/>
                      </a:lnTo>
                      <a:lnTo>
                        <a:pt x="504" y="2558"/>
                      </a:lnTo>
                      <a:lnTo>
                        <a:pt x="508" y="2553"/>
                      </a:lnTo>
                      <a:lnTo>
                        <a:pt x="508" y="2544"/>
                      </a:lnTo>
                      <a:lnTo>
                        <a:pt x="508" y="2541"/>
                      </a:lnTo>
                      <a:lnTo>
                        <a:pt x="513" y="2538"/>
                      </a:lnTo>
                      <a:lnTo>
                        <a:pt x="508" y="2533"/>
                      </a:lnTo>
                      <a:lnTo>
                        <a:pt x="508" y="2525"/>
                      </a:lnTo>
                      <a:lnTo>
                        <a:pt x="511" y="2525"/>
                      </a:lnTo>
                      <a:lnTo>
                        <a:pt x="511" y="2522"/>
                      </a:lnTo>
                      <a:lnTo>
                        <a:pt x="513" y="2522"/>
                      </a:lnTo>
                      <a:lnTo>
                        <a:pt x="513" y="2517"/>
                      </a:lnTo>
                      <a:lnTo>
                        <a:pt x="513" y="2513"/>
                      </a:lnTo>
                      <a:lnTo>
                        <a:pt x="513" y="2511"/>
                      </a:lnTo>
                      <a:lnTo>
                        <a:pt x="513" y="2508"/>
                      </a:lnTo>
                      <a:lnTo>
                        <a:pt x="511" y="2502"/>
                      </a:lnTo>
                      <a:lnTo>
                        <a:pt x="513" y="2502"/>
                      </a:lnTo>
                      <a:lnTo>
                        <a:pt x="516" y="2497"/>
                      </a:lnTo>
                      <a:lnTo>
                        <a:pt x="516" y="2494"/>
                      </a:lnTo>
                      <a:lnTo>
                        <a:pt x="516" y="2492"/>
                      </a:lnTo>
                      <a:lnTo>
                        <a:pt x="516" y="2494"/>
                      </a:lnTo>
                      <a:lnTo>
                        <a:pt x="519" y="2492"/>
                      </a:lnTo>
                      <a:lnTo>
                        <a:pt x="519" y="2486"/>
                      </a:lnTo>
                      <a:lnTo>
                        <a:pt x="519" y="2484"/>
                      </a:lnTo>
                      <a:lnTo>
                        <a:pt x="524" y="2484"/>
                      </a:lnTo>
                      <a:lnTo>
                        <a:pt x="527" y="2475"/>
                      </a:lnTo>
                      <a:lnTo>
                        <a:pt x="530" y="2475"/>
                      </a:lnTo>
                      <a:lnTo>
                        <a:pt x="530" y="2464"/>
                      </a:lnTo>
                      <a:lnTo>
                        <a:pt x="532" y="2464"/>
                      </a:lnTo>
                      <a:lnTo>
                        <a:pt x="532" y="2459"/>
                      </a:lnTo>
                      <a:lnTo>
                        <a:pt x="538" y="2451"/>
                      </a:lnTo>
                      <a:lnTo>
                        <a:pt x="538" y="2448"/>
                      </a:lnTo>
                      <a:lnTo>
                        <a:pt x="538" y="2442"/>
                      </a:lnTo>
                      <a:lnTo>
                        <a:pt x="541" y="2442"/>
                      </a:lnTo>
                      <a:lnTo>
                        <a:pt x="544" y="2442"/>
                      </a:lnTo>
                      <a:lnTo>
                        <a:pt x="555" y="2428"/>
                      </a:lnTo>
                      <a:lnTo>
                        <a:pt x="549" y="2425"/>
                      </a:lnTo>
                      <a:lnTo>
                        <a:pt x="552" y="2420"/>
                      </a:lnTo>
                      <a:lnTo>
                        <a:pt x="549" y="2417"/>
                      </a:lnTo>
                      <a:lnTo>
                        <a:pt x="549" y="2415"/>
                      </a:lnTo>
                      <a:lnTo>
                        <a:pt x="549" y="2412"/>
                      </a:lnTo>
                      <a:lnTo>
                        <a:pt x="547" y="2408"/>
                      </a:lnTo>
                      <a:lnTo>
                        <a:pt x="549" y="2406"/>
                      </a:lnTo>
                      <a:lnTo>
                        <a:pt x="549" y="2400"/>
                      </a:lnTo>
                      <a:lnTo>
                        <a:pt x="555" y="2400"/>
                      </a:lnTo>
                      <a:lnTo>
                        <a:pt x="560" y="2392"/>
                      </a:lnTo>
                      <a:lnTo>
                        <a:pt x="563" y="2392"/>
                      </a:lnTo>
                      <a:lnTo>
                        <a:pt x="565" y="2387"/>
                      </a:lnTo>
                      <a:lnTo>
                        <a:pt x="565" y="2382"/>
                      </a:lnTo>
                      <a:lnTo>
                        <a:pt x="571" y="2382"/>
                      </a:lnTo>
                      <a:lnTo>
                        <a:pt x="574" y="2379"/>
                      </a:lnTo>
                      <a:lnTo>
                        <a:pt x="577" y="2379"/>
                      </a:lnTo>
                      <a:lnTo>
                        <a:pt x="577" y="2370"/>
                      </a:lnTo>
                      <a:lnTo>
                        <a:pt x="580" y="2367"/>
                      </a:lnTo>
                      <a:lnTo>
                        <a:pt x="582" y="2362"/>
                      </a:lnTo>
                      <a:lnTo>
                        <a:pt x="585" y="2359"/>
                      </a:lnTo>
                      <a:lnTo>
                        <a:pt x="585" y="2356"/>
                      </a:lnTo>
                      <a:lnTo>
                        <a:pt x="588" y="2354"/>
                      </a:lnTo>
                      <a:lnTo>
                        <a:pt x="596" y="2356"/>
                      </a:lnTo>
                      <a:lnTo>
                        <a:pt x="598" y="2354"/>
                      </a:lnTo>
                      <a:lnTo>
                        <a:pt x="601" y="2354"/>
                      </a:lnTo>
                      <a:lnTo>
                        <a:pt x="604" y="2354"/>
                      </a:lnTo>
                      <a:lnTo>
                        <a:pt x="607" y="2356"/>
                      </a:lnTo>
                      <a:lnTo>
                        <a:pt x="610" y="2351"/>
                      </a:lnTo>
                      <a:lnTo>
                        <a:pt x="616" y="2351"/>
                      </a:lnTo>
                      <a:lnTo>
                        <a:pt x="621" y="2334"/>
                      </a:lnTo>
                      <a:lnTo>
                        <a:pt x="629" y="2326"/>
                      </a:lnTo>
                      <a:lnTo>
                        <a:pt x="632" y="2318"/>
                      </a:lnTo>
                      <a:lnTo>
                        <a:pt x="629" y="2298"/>
                      </a:lnTo>
                      <a:lnTo>
                        <a:pt x="632" y="2285"/>
                      </a:lnTo>
                      <a:lnTo>
                        <a:pt x="632" y="2274"/>
                      </a:lnTo>
                      <a:lnTo>
                        <a:pt x="626" y="2260"/>
                      </a:lnTo>
                      <a:lnTo>
                        <a:pt x="626" y="2257"/>
                      </a:lnTo>
                      <a:lnTo>
                        <a:pt x="626" y="2252"/>
                      </a:lnTo>
                      <a:lnTo>
                        <a:pt x="632" y="2238"/>
                      </a:lnTo>
                      <a:lnTo>
                        <a:pt x="632" y="2227"/>
                      </a:lnTo>
                      <a:lnTo>
                        <a:pt x="637" y="2218"/>
                      </a:lnTo>
                      <a:lnTo>
                        <a:pt x="637" y="2213"/>
                      </a:lnTo>
                      <a:lnTo>
                        <a:pt x="634" y="2208"/>
                      </a:lnTo>
                      <a:lnTo>
                        <a:pt x="640" y="2202"/>
                      </a:lnTo>
                      <a:lnTo>
                        <a:pt x="646" y="2199"/>
                      </a:lnTo>
                      <a:lnTo>
                        <a:pt x="649" y="2199"/>
                      </a:lnTo>
                      <a:lnTo>
                        <a:pt x="651" y="2191"/>
                      </a:lnTo>
                      <a:lnTo>
                        <a:pt x="651" y="2185"/>
                      </a:lnTo>
                      <a:lnTo>
                        <a:pt x="654" y="2183"/>
                      </a:lnTo>
                      <a:lnTo>
                        <a:pt x="659" y="2177"/>
                      </a:lnTo>
                      <a:lnTo>
                        <a:pt x="662" y="2175"/>
                      </a:lnTo>
                      <a:lnTo>
                        <a:pt x="673" y="2172"/>
                      </a:lnTo>
                      <a:lnTo>
                        <a:pt x="682" y="2160"/>
                      </a:lnTo>
                      <a:lnTo>
                        <a:pt x="690" y="2157"/>
                      </a:lnTo>
                      <a:lnTo>
                        <a:pt x="690" y="2155"/>
                      </a:lnTo>
                      <a:lnTo>
                        <a:pt x="690" y="2152"/>
                      </a:lnTo>
                      <a:lnTo>
                        <a:pt x="693" y="2152"/>
                      </a:lnTo>
                      <a:lnTo>
                        <a:pt x="693" y="2150"/>
                      </a:lnTo>
                      <a:lnTo>
                        <a:pt x="698" y="2150"/>
                      </a:lnTo>
                      <a:lnTo>
                        <a:pt x="701" y="2150"/>
                      </a:lnTo>
                      <a:lnTo>
                        <a:pt x="703" y="2147"/>
                      </a:lnTo>
                      <a:lnTo>
                        <a:pt x="703" y="2150"/>
                      </a:lnTo>
                      <a:lnTo>
                        <a:pt x="709" y="2147"/>
                      </a:lnTo>
                      <a:lnTo>
                        <a:pt x="712" y="2150"/>
                      </a:lnTo>
                      <a:lnTo>
                        <a:pt x="718" y="2152"/>
                      </a:lnTo>
                      <a:lnTo>
                        <a:pt x="723" y="2150"/>
                      </a:lnTo>
                      <a:lnTo>
                        <a:pt x="726" y="2147"/>
                      </a:lnTo>
                      <a:lnTo>
                        <a:pt x="728" y="2141"/>
                      </a:lnTo>
                      <a:lnTo>
                        <a:pt x="726" y="2127"/>
                      </a:lnTo>
                      <a:lnTo>
                        <a:pt x="731" y="2122"/>
                      </a:lnTo>
                      <a:lnTo>
                        <a:pt x="731" y="2116"/>
                      </a:lnTo>
                      <a:lnTo>
                        <a:pt x="734" y="2114"/>
                      </a:lnTo>
                      <a:lnTo>
                        <a:pt x="737" y="2114"/>
                      </a:lnTo>
                      <a:lnTo>
                        <a:pt x="737" y="2108"/>
                      </a:lnTo>
                      <a:lnTo>
                        <a:pt x="742" y="2103"/>
                      </a:lnTo>
                      <a:lnTo>
                        <a:pt x="742" y="2100"/>
                      </a:lnTo>
                      <a:lnTo>
                        <a:pt x="748" y="2094"/>
                      </a:lnTo>
                      <a:lnTo>
                        <a:pt x="756" y="2091"/>
                      </a:lnTo>
                      <a:lnTo>
                        <a:pt x="709" y="2053"/>
                      </a:lnTo>
                      <a:lnTo>
                        <a:pt x="706" y="2053"/>
                      </a:lnTo>
                      <a:lnTo>
                        <a:pt x="706" y="2050"/>
                      </a:lnTo>
                      <a:lnTo>
                        <a:pt x="706" y="2047"/>
                      </a:lnTo>
                      <a:lnTo>
                        <a:pt x="703" y="2042"/>
                      </a:lnTo>
                      <a:lnTo>
                        <a:pt x="703" y="2039"/>
                      </a:lnTo>
                      <a:lnTo>
                        <a:pt x="701" y="2031"/>
                      </a:lnTo>
                      <a:lnTo>
                        <a:pt x="701" y="2025"/>
                      </a:lnTo>
                      <a:lnTo>
                        <a:pt x="703" y="2022"/>
                      </a:lnTo>
                      <a:lnTo>
                        <a:pt x="703" y="2019"/>
                      </a:lnTo>
                      <a:lnTo>
                        <a:pt x="703" y="2014"/>
                      </a:lnTo>
                      <a:lnTo>
                        <a:pt x="703" y="1998"/>
                      </a:lnTo>
                      <a:lnTo>
                        <a:pt x="698" y="1989"/>
                      </a:lnTo>
                      <a:lnTo>
                        <a:pt x="695" y="1989"/>
                      </a:lnTo>
                      <a:lnTo>
                        <a:pt x="693" y="1981"/>
                      </a:lnTo>
                      <a:lnTo>
                        <a:pt x="685" y="1976"/>
                      </a:lnTo>
                      <a:lnTo>
                        <a:pt x="682" y="1976"/>
                      </a:lnTo>
                      <a:lnTo>
                        <a:pt x="682" y="1973"/>
                      </a:lnTo>
                      <a:lnTo>
                        <a:pt x="679" y="1973"/>
                      </a:lnTo>
                      <a:lnTo>
                        <a:pt x="679" y="1970"/>
                      </a:lnTo>
                      <a:lnTo>
                        <a:pt x="676" y="1968"/>
                      </a:lnTo>
                      <a:lnTo>
                        <a:pt x="676" y="1962"/>
                      </a:lnTo>
                      <a:lnTo>
                        <a:pt x="670" y="1962"/>
                      </a:lnTo>
                      <a:lnTo>
                        <a:pt x="673" y="1957"/>
                      </a:lnTo>
                      <a:lnTo>
                        <a:pt x="676" y="1951"/>
                      </a:lnTo>
                      <a:lnTo>
                        <a:pt x="676" y="1948"/>
                      </a:lnTo>
                      <a:lnTo>
                        <a:pt x="670" y="1945"/>
                      </a:lnTo>
                      <a:lnTo>
                        <a:pt x="673" y="1945"/>
                      </a:lnTo>
                      <a:lnTo>
                        <a:pt x="676" y="1945"/>
                      </a:lnTo>
                      <a:lnTo>
                        <a:pt x="676" y="1942"/>
                      </a:lnTo>
                      <a:lnTo>
                        <a:pt x="673" y="1940"/>
                      </a:lnTo>
                      <a:lnTo>
                        <a:pt x="676" y="1937"/>
                      </a:lnTo>
                      <a:lnTo>
                        <a:pt x="667" y="1932"/>
                      </a:lnTo>
                      <a:lnTo>
                        <a:pt x="670" y="1932"/>
                      </a:lnTo>
                      <a:lnTo>
                        <a:pt x="670" y="1929"/>
                      </a:lnTo>
                      <a:lnTo>
                        <a:pt x="670" y="1926"/>
                      </a:lnTo>
                      <a:lnTo>
                        <a:pt x="667" y="1920"/>
                      </a:lnTo>
                      <a:lnTo>
                        <a:pt x="670" y="1915"/>
                      </a:lnTo>
                      <a:lnTo>
                        <a:pt x="667" y="1912"/>
                      </a:lnTo>
                      <a:lnTo>
                        <a:pt x="665" y="1912"/>
                      </a:lnTo>
                      <a:lnTo>
                        <a:pt x="659" y="1904"/>
                      </a:lnTo>
                      <a:lnTo>
                        <a:pt x="654" y="1907"/>
                      </a:lnTo>
                      <a:lnTo>
                        <a:pt x="651" y="1904"/>
                      </a:lnTo>
                      <a:lnTo>
                        <a:pt x="649" y="1907"/>
                      </a:lnTo>
                      <a:lnTo>
                        <a:pt x="646" y="1904"/>
                      </a:lnTo>
                      <a:lnTo>
                        <a:pt x="643" y="1907"/>
                      </a:lnTo>
                      <a:lnTo>
                        <a:pt x="637" y="1904"/>
                      </a:lnTo>
                      <a:lnTo>
                        <a:pt x="632" y="1901"/>
                      </a:lnTo>
                      <a:lnTo>
                        <a:pt x="632" y="1899"/>
                      </a:lnTo>
                      <a:lnTo>
                        <a:pt x="632" y="1896"/>
                      </a:lnTo>
                      <a:lnTo>
                        <a:pt x="629" y="1893"/>
                      </a:lnTo>
                      <a:lnTo>
                        <a:pt x="629" y="1891"/>
                      </a:lnTo>
                      <a:lnTo>
                        <a:pt x="626" y="1891"/>
                      </a:lnTo>
                      <a:lnTo>
                        <a:pt x="626" y="1888"/>
                      </a:lnTo>
                      <a:lnTo>
                        <a:pt x="624" y="1888"/>
                      </a:lnTo>
                      <a:lnTo>
                        <a:pt x="624" y="1891"/>
                      </a:lnTo>
                      <a:lnTo>
                        <a:pt x="624" y="1884"/>
                      </a:lnTo>
                      <a:lnTo>
                        <a:pt x="624" y="1882"/>
                      </a:lnTo>
                      <a:lnTo>
                        <a:pt x="621" y="1879"/>
                      </a:lnTo>
                      <a:lnTo>
                        <a:pt x="618" y="1882"/>
                      </a:lnTo>
                      <a:lnTo>
                        <a:pt x="624" y="1879"/>
                      </a:lnTo>
                      <a:lnTo>
                        <a:pt x="621" y="1873"/>
                      </a:lnTo>
                      <a:lnTo>
                        <a:pt x="624" y="1873"/>
                      </a:lnTo>
                      <a:lnTo>
                        <a:pt x="621" y="1871"/>
                      </a:lnTo>
                      <a:lnTo>
                        <a:pt x="624" y="1868"/>
                      </a:lnTo>
                      <a:lnTo>
                        <a:pt x="621" y="1865"/>
                      </a:lnTo>
                      <a:lnTo>
                        <a:pt x="624" y="1865"/>
                      </a:lnTo>
                      <a:lnTo>
                        <a:pt x="624" y="1863"/>
                      </a:lnTo>
                      <a:lnTo>
                        <a:pt x="618" y="1863"/>
                      </a:lnTo>
                      <a:lnTo>
                        <a:pt x="621" y="1860"/>
                      </a:lnTo>
                      <a:lnTo>
                        <a:pt x="621" y="1857"/>
                      </a:lnTo>
                      <a:lnTo>
                        <a:pt x="618" y="1857"/>
                      </a:lnTo>
                      <a:lnTo>
                        <a:pt x="618" y="1855"/>
                      </a:lnTo>
                      <a:lnTo>
                        <a:pt x="621" y="1855"/>
                      </a:lnTo>
                      <a:lnTo>
                        <a:pt x="621" y="1852"/>
                      </a:lnTo>
                      <a:lnTo>
                        <a:pt x="621" y="1848"/>
                      </a:lnTo>
                      <a:lnTo>
                        <a:pt x="618" y="1848"/>
                      </a:lnTo>
                      <a:lnTo>
                        <a:pt x="618" y="1843"/>
                      </a:lnTo>
                      <a:lnTo>
                        <a:pt x="616" y="1835"/>
                      </a:lnTo>
                      <a:lnTo>
                        <a:pt x="618" y="1832"/>
                      </a:lnTo>
                      <a:lnTo>
                        <a:pt x="613" y="1830"/>
                      </a:lnTo>
                      <a:lnTo>
                        <a:pt x="616" y="1827"/>
                      </a:lnTo>
                      <a:lnTo>
                        <a:pt x="616" y="1824"/>
                      </a:lnTo>
                      <a:lnTo>
                        <a:pt x="616" y="1819"/>
                      </a:lnTo>
                      <a:lnTo>
                        <a:pt x="613" y="1815"/>
                      </a:lnTo>
                      <a:lnTo>
                        <a:pt x="616" y="1815"/>
                      </a:lnTo>
                      <a:lnTo>
                        <a:pt x="616" y="1807"/>
                      </a:lnTo>
                      <a:lnTo>
                        <a:pt x="616" y="1804"/>
                      </a:lnTo>
                      <a:lnTo>
                        <a:pt x="616" y="1799"/>
                      </a:lnTo>
                      <a:lnTo>
                        <a:pt x="618" y="1799"/>
                      </a:lnTo>
                      <a:lnTo>
                        <a:pt x="616" y="1796"/>
                      </a:lnTo>
                      <a:lnTo>
                        <a:pt x="618" y="1791"/>
                      </a:lnTo>
                      <a:lnTo>
                        <a:pt x="616" y="1791"/>
                      </a:lnTo>
                      <a:lnTo>
                        <a:pt x="618" y="1788"/>
                      </a:lnTo>
                      <a:lnTo>
                        <a:pt x="616" y="1783"/>
                      </a:lnTo>
                      <a:lnTo>
                        <a:pt x="618" y="1779"/>
                      </a:lnTo>
                      <a:lnTo>
                        <a:pt x="616" y="1777"/>
                      </a:lnTo>
                      <a:lnTo>
                        <a:pt x="618" y="1774"/>
                      </a:lnTo>
                      <a:lnTo>
                        <a:pt x="621" y="1774"/>
                      </a:lnTo>
                      <a:lnTo>
                        <a:pt x="624" y="1774"/>
                      </a:lnTo>
                      <a:lnTo>
                        <a:pt x="621" y="1771"/>
                      </a:lnTo>
                      <a:lnTo>
                        <a:pt x="626" y="1771"/>
                      </a:lnTo>
                      <a:lnTo>
                        <a:pt x="624" y="1769"/>
                      </a:lnTo>
                      <a:lnTo>
                        <a:pt x="626" y="1769"/>
                      </a:lnTo>
                      <a:lnTo>
                        <a:pt x="624" y="1766"/>
                      </a:lnTo>
                      <a:lnTo>
                        <a:pt x="626" y="1763"/>
                      </a:lnTo>
                      <a:lnTo>
                        <a:pt x="626" y="1766"/>
                      </a:lnTo>
                      <a:lnTo>
                        <a:pt x="629" y="1763"/>
                      </a:lnTo>
                      <a:lnTo>
                        <a:pt x="632" y="1763"/>
                      </a:lnTo>
                      <a:lnTo>
                        <a:pt x="632" y="1761"/>
                      </a:lnTo>
                      <a:lnTo>
                        <a:pt x="640" y="1758"/>
                      </a:lnTo>
                      <a:lnTo>
                        <a:pt x="640" y="1755"/>
                      </a:lnTo>
                      <a:lnTo>
                        <a:pt x="646" y="1746"/>
                      </a:lnTo>
                      <a:lnTo>
                        <a:pt x="651" y="1741"/>
                      </a:lnTo>
                      <a:lnTo>
                        <a:pt x="651" y="1738"/>
                      </a:lnTo>
                      <a:lnTo>
                        <a:pt x="651" y="1736"/>
                      </a:lnTo>
                      <a:lnTo>
                        <a:pt x="654" y="1738"/>
                      </a:lnTo>
                      <a:lnTo>
                        <a:pt x="657" y="1736"/>
                      </a:lnTo>
                      <a:lnTo>
                        <a:pt x="659" y="1733"/>
                      </a:lnTo>
                      <a:lnTo>
                        <a:pt x="662" y="1730"/>
                      </a:lnTo>
                      <a:lnTo>
                        <a:pt x="667" y="1727"/>
                      </a:lnTo>
                      <a:lnTo>
                        <a:pt x="673" y="1714"/>
                      </a:lnTo>
                      <a:lnTo>
                        <a:pt x="682" y="1714"/>
                      </a:lnTo>
                      <a:lnTo>
                        <a:pt x="685" y="1710"/>
                      </a:lnTo>
                      <a:lnTo>
                        <a:pt x="687" y="1708"/>
                      </a:lnTo>
                      <a:lnTo>
                        <a:pt x="690" y="1708"/>
                      </a:lnTo>
                      <a:lnTo>
                        <a:pt x="693" y="1705"/>
                      </a:lnTo>
                      <a:lnTo>
                        <a:pt x="693" y="1702"/>
                      </a:lnTo>
                      <a:lnTo>
                        <a:pt x="695" y="1697"/>
                      </a:lnTo>
                      <a:lnTo>
                        <a:pt x="695" y="1694"/>
                      </a:lnTo>
                      <a:lnTo>
                        <a:pt x="695" y="1689"/>
                      </a:lnTo>
                      <a:lnTo>
                        <a:pt x="693" y="1681"/>
                      </a:lnTo>
                      <a:lnTo>
                        <a:pt x="695" y="1678"/>
                      </a:lnTo>
                      <a:lnTo>
                        <a:pt x="693" y="1678"/>
                      </a:lnTo>
                      <a:lnTo>
                        <a:pt x="695" y="1674"/>
                      </a:lnTo>
                      <a:lnTo>
                        <a:pt x="695" y="1669"/>
                      </a:lnTo>
                      <a:lnTo>
                        <a:pt x="693" y="1661"/>
                      </a:lnTo>
                      <a:lnTo>
                        <a:pt x="685" y="1658"/>
                      </a:lnTo>
                      <a:lnTo>
                        <a:pt x="679" y="1653"/>
                      </a:lnTo>
                      <a:lnTo>
                        <a:pt x="679" y="1648"/>
                      </a:lnTo>
                      <a:lnTo>
                        <a:pt x="676" y="1641"/>
                      </a:lnTo>
                      <a:lnTo>
                        <a:pt x="676" y="1636"/>
                      </a:lnTo>
                      <a:lnTo>
                        <a:pt x="670" y="1628"/>
                      </a:lnTo>
                      <a:lnTo>
                        <a:pt x="670" y="1620"/>
                      </a:lnTo>
                      <a:lnTo>
                        <a:pt x="670" y="1615"/>
                      </a:lnTo>
                      <a:lnTo>
                        <a:pt x="673" y="1615"/>
                      </a:lnTo>
                      <a:lnTo>
                        <a:pt x="676" y="1612"/>
                      </a:lnTo>
                      <a:lnTo>
                        <a:pt x="679" y="1609"/>
                      </a:lnTo>
                      <a:lnTo>
                        <a:pt x="676" y="1609"/>
                      </a:lnTo>
                      <a:lnTo>
                        <a:pt x="676" y="1605"/>
                      </a:lnTo>
                      <a:lnTo>
                        <a:pt x="670" y="1605"/>
                      </a:lnTo>
                      <a:lnTo>
                        <a:pt x="667" y="1600"/>
                      </a:lnTo>
                      <a:lnTo>
                        <a:pt x="667" y="1597"/>
                      </a:lnTo>
                      <a:lnTo>
                        <a:pt x="665" y="1595"/>
                      </a:lnTo>
                      <a:lnTo>
                        <a:pt x="665" y="1592"/>
                      </a:lnTo>
                      <a:lnTo>
                        <a:pt x="670" y="1592"/>
                      </a:lnTo>
                      <a:lnTo>
                        <a:pt x="667" y="1587"/>
                      </a:lnTo>
                      <a:lnTo>
                        <a:pt x="670" y="1589"/>
                      </a:lnTo>
                      <a:lnTo>
                        <a:pt x="673" y="1581"/>
                      </a:lnTo>
                      <a:lnTo>
                        <a:pt x="667" y="1579"/>
                      </a:lnTo>
                      <a:lnTo>
                        <a:pt x="667" y="1581"/>
                      </a:lnTo>
                      <a:lnTo>
                        <a:pt x="662" y="1581"/>
                      </a:lnTo>
                      <a:lnTo>
                        <a:pt x="657" y="1581"/>
                      </a:lnTo>
                      <a:lnTo>
                        <a:pt x="657" y="1579"/>
                      </a:lnTo>
                      <a:lnTo>
                        <a:pt x="654" y="1584"/>
                      </a:lnTo>
                      <a:lnTo>
                        <a:pt x="651" y="1584"/>
                      </a:lnTo>
                      <a:lnTo>
                        <a:pt x="649" y="1579"/>
                      </a:lnTo>
                      <a:lnTo>
                        <a:pt x="646" y="1581"/>
                      </a:lnTo>
                      <a:lnTo>
                        <a:pt x="634" y="1584"/>
                      </a:lnTo>
                      <a:lnTo>
                        <a:pt x="632" y="1573"/>
                      </a:lnTo>
                      <a:lnTo>
                        <a:pt x="629" y="1570"/>
                      </a:lnTo>
                      <a:lnTo>
                        <a:pt x="626" y="1573"/>
                      </a:lnTo>
                      <a:lnTo>
                        <a:pt x="626" y="1576"/>
                      </a:lnTo>
                      <a:lnTo>
                        <a:pt x="624" y="1576"/>
                      </a:lnTo>
                      <a:lnTo>
                        <a:pt x="621" y="1576"/>
                      </a:lnTo>
                      <a:lnTo>
                        <a:pt x="618" y="1573"/>
                      </a:lnTo>
                      <a:lnTo>
                        <a:pt x="616" y="1576"/>
                      </a:lnTo>
                      <a:lnTo>
                        <a:pt x="610" y="1573"/>
                      </a:lnTo>
                      <a:lnTo>
                        <a:pt x="604" y="1576"/>
                      </a:lnTo>
                      <a:lnTo>
                        <a:pt x="601" y="1573"/>
                      </a:lnTo>
                      <a:lnTo>
                        <a:pt x="598" y="1570"/>
                      </a:lnTo>
                      <a:lnTo>
                        <a:pt x="590" y="1573"/>
                      </a:lnTo>
                      <a:lnTo>
                        <a:pt x="588" y="1573"/>
                      </a:lnTo>
                      <a:lnTo>
                        <a:pt x="585" y="1579"/>
                      </a:lnTo>
                      <a:lnTo>
                        <a:pt x="580" y="1576"/>
                      </a:lnTo>
                      <a:lnTo>
                        <a:pt x="577" y="1576"/>
                      </a:lnTo>
                      <a:lnTo>
                        <a:pt x="571" y="1573"/>
                      </a:lnTo>
                      <a:lnTo>
                        <a:pt x="565" y="1570"/>
                      </a:lnTo>
                      <a:lnTo>
                        <a:pt x="563" y="1570"/>
                      </a:lnTo>
                      <a:lnTo>
                        <a:pt x="555" y="1570"/>
                      </a:lnTo>
                      <a:lnTo>
                        <a:pt x="552" y="1570"/>
                      </a:lnTo>
                      <a:lnTo>
                        <a:pt x="549" y="1567"/>
                      </a:lnTo>
                      <a:lnTo>
                        <a:pt x="549" y="1564"/>
                      </a:lnTo>
                      <a:lnTo>
                        <a:pt x="549" y="1559"/>
                      </a:lnTo>
                      <a:lnTo>
                        <a:pt x="549" y="1556"/>
                      </a:lnTo>
                      <a:lnTo>
                        <a:pt x="547" y="1556"/>
                      </a:lnTo>
                      <a:lnTo>
                        <a:pt x="544" y="1556"/>
                      </a:lnTo>
                      <a:lnTo>
                        <a:pt x="541" y="1554"/>
                      </a:lnTo>
                      <a:lnTo>
                        <a:pt x="538" y="1556"/>
                      </a:lnTo>
                      <a:lnTo>
                        <a:pt x="535" y="1556"/>
                      </a:lnTo>
                      <a:lnTo>
                        <a:pt x="527" y="1564"/>
                      </a:lnTo>
                      <a:lnTo>
                        <a:pt x="521" y="1562"/>
                      </a:lnTo>
                      <a:lnTo>
                        <a:pt x="524" y="1564"/>
                      </a:lnTo>
                      <a:lnTo>
                        <a:pt x="521" y="1573"/>
                      </a:lnTo>
                      <a:lnTo>
                        <a:pt x="524" y="1573"/>
                      </a:lnTo>
                      <a:lnTo>
                        <a:pt x="521" y="1576"/>
                      </a:lnTo>
                      <a:lnTo>
                        <a:pt x="513" y="1570"/>
                      </a:lnTo>
                      <a:lnTo>
                        <a:pt x="511" y="1570"/>
                      </a:lnTo>
                      <a:lnTo>
                        <a:pt x="508" y="1570"/>
                      </a:lnTo>
                      <a:lnTo>
                        <a:pt x="504" y="1570"/>
                      </a:lnTo>
                      <a:lnTo>
                        <a:pt x="502" y="1567"/>
                      </a:lnTo>
                      <a:lnTo>
                        <a:pt x="502" y="1564"/>
                      </a:lnTo>
                      <a:lnTo>
                        <a:pt x="499" y="1562"/>
                      </a:lnTo>
                      <a:lnTo>
                        <a:pt x="499" y="1559"/>
                      </a:lnTo>
                      <a:lnTo>
                        <a:pt x="496" y="1559"/>
                      </a:lnTo>
                      <a:lnTo>
                        <a:pt x="494" y="1559"/>
                      </a:lnTo>
                      <a:lnTo>
                        <a:pt x="496" y="1551"/>
                      </a:lnTo>
                      <a:lnTo>
                        <a:pt x="494" y="1548"/>
                      </a:lnTo>
                      <a:lnTo>
                        <a:pt x="488" y="1546"/>
                      </a:lnTo>
                      <a:lnTo>
                        <a:pt x="486" y="1548"/>
                      </a:lnTo>
                      <a:lnTo>
                        <a:pt x="483" y="1548"/>
                      </a:lnTo>
                      <a:lnTo>
                        <a:pt x="486" y="1538"/>
                      </a:lnTo>
                      <a:lnTo>
                        <a:pt x="483" y="1538"/>
                      </a:lnTo>
                      <a:lnTo>
                        <a:pt x="480" y="1534"/>
                      </a:lnTo>
                      <a:lnTo>
                        <a:pt x="480" y="1526"/>
                      </a:lnTo>
                      <a:lnTo>
                        <a:pt x="478" y="1526"/>
                      </a:lnTo>
                      <a:lnTo>
                        <a:pt x="256" y="1526"/>
                      </a:lnTo>
                      <a:lnTo>
                        <a:pt x="82" y="1526"/>
                      </a:lnTo>
                      <a:lnTo>
                        <a:pt x="33" y="1523"/>
                      </a:lnTo>
                      <a:lnTo>
                        <a:pt x="33" y="1520"/>
                      </a:lnTo>
                      <a:lnTo>
                        <a:pt x="38" y="1520"/>
                      </a:lnTo>
                      <a:lnTo>
                        <a:pt x="41" y="1520"/>
                      </a:lnTo>
                      <a:lnTo>
                        <a:pt x="41" y="1512"/>
                      </a:lnTo>
                      <a:lnTo>
                        <a:pt x="44" y="1510"/>
                      </a:lnTo>
                      <a:lnTo>
                        <a:pt x="44" y="1504"/>
                      </a:lnTo>
                      <a:lnTo>
                        <a:pt x="47" y="1495"/>
                      </a:lnTo>
                      <a:lnTo>
                        <a:pt x="47" y="1490"/>
                      </a:lnTo>
                      <a:lnTo>
                        <a:pt x="44" y="1490"/>
                      </a:lnTo>
                      <a:lnTo>
                        <a:pt x="44" y="1485"/>
                      </a:lnTo>
                      <a:lnTo>
                        <a:pt x="41" y="1482"/>
                      </a:lnTo>
                      <a:lnTo>
                        <a:pt x="44" y="1482"/>
                      </a:lnTo>
                      <a:lnTo>
                        <a:pt x="44" y="1471"/>
                      </a:lnTo>
                      <a:lnTo>
                        <a:pt x="44" y="1465"/>
                      </a:lnTo>
                      <a:lnTo>
                        <a:pt x="49" y="1462"/>
                      </a:lnTo>
                      <a:lnTo>
                        <a:pt x="49" y="1454"/>
                      </a:lnTo>
                      <a:lnTo>
                        <a:pt x="52" y="1449"/>
                      </a:lnTo>
                      <a:lnTo>
                        <a:pt x="49" y="1443"/>
                      </a:lnTo>
                      <a:lnTo>
                        <a:pt x="52" y="1441"/>
                      </a:lnTo>
                      <a:lnTo>
                        <a:pt x="55" y="1438"/>
                      </a:lnTo>
                      <a:lnTo>
                        <a:pt x="55" y="1441"/>
                      </a:lnTo>
                      <a:lnTo>
                        <a:pt x="57" y="1443"/>
                      </a:lnTo>
                      <a:lnTo>
                        <a:pt x="57" y="1446"/>
                      </a:lnTo>
                      <a:lnTo>
                        <a:pt x="64" y="1446"/>
                      </a:lnTo>
                      <a:lnTo>
                        <a:pt x="61" y="1441"/>
                      </a:lnTo>
                      <a:lnTo>
                        <a:pt x="64" y="1432"/>
                      </a:lnTo>
                      <a:lnTo>
                        <a:pt x="61" y="1429"/>
                      </a:lnTo>
                      <a:lnTo>
                        <a:pt x="61" y="1424"/>
                      </a:lnTo>
                      <a:lnTo>
                        <a:pt x="57" y="1418"/>
                      </a:lnTo>
                      <a:lnTo>
                        <a:pt x="57" y="1416"/>
                      </a:lnTo>
                      <a:lnTo>
                        <a:pt x="64" y="1413"/>
                      </a:lnTo>
                      <a:lnTo>
                        <a:pt x="64" y="1410"/>
                      </a:lnTo>
                      <a:lnTo>
                        <a:pt x="61" y="1410"/>
                      </a:lnTo>
                      <a:lnTo>
                        <a:pt x="55" y="1405"/>
                      </a:lnTo>
                      <a:lnTo>
                        <a:pt x="55" y="1396"/>
                      </a:lnTo>
                      <a:lnTo>
                        <a:pt x="57" y="1393"/>
                      </a:lnTo>
                      <a:lnTo>
                        <a:pt x="61" y="1393"/>
                      </a:lnTo>
                      <a:lnTo>
                        <a:pt x="61" y="1390"/>
                      </a:lnTo>
                      <a:lnTo>
                        <a:pt x="61" y="1385"/>
                      </a:lnTo>
                      <a:lnTo>
                        <a:pt x="61" y="1380"/>
                      </a:lnTo>
                      <a:lnTo>
                        <a:pt x="61" y="1377"/>
                      </a:lnTo>
                      <a:lnTo>
                        <a:pt x="57" y="1374"/>
                      </a:lnTo>
                      <a:lnTo>
                        <a:pt x="64" y="1366"/>
                      </a:lnTo>
                      <a:lnTo>
                        <a:pt x="61" y="1360"/>
                      </a:lnTo>
                      <a:lnTo>
                        <a:pt x="64" y="1357"/>
                      </a:lnTo>
                      <a:lnTo>
                        <a:pt x="61" y="1349"/>
                      </a:lnTo>
                      <a:lnTo>
                        <a:pt x="66" y="1344"/>
                      </a:lnTo>
                      <a:lnTo>
                        <a:pt x="66" y="1339"/>
                      </a:lnTo>
                      <a:lnTo>
                        <a:pt x="61" y="1333"/>
                      </a:lnTo>
                      <a:lnTo>
                        <a:pt x="61" y="1316"/>
                      </a:lnTo>
                      <a:lnTo>
                        <a:pt x="66" y="1305"/>
                      </a:lnTo>
                      <a:lnTo>
                        <a:pt x="64" y="1303"/>
                      </a:lnTo>
                      <a:lnTo>
                        <a:pt x="66" y="1300"/>
                      </a:lnTo>
                      <a:lnTo>
                        <a:pt x="69" y="1286"/>
                      </a:lnTo>
                      <a:lnTo>
                        <a:pt x="66" y="1286"/>
                      </a:lnTo>
                      <a:lnTo>
                        <a:pt x="64" y="1286"/>
                      </a:lnTo>
                      <a:lnTo>
                        <a:pt x="64" y="1283"/>
                      </a:lnTo>
                      <a:lnTo>
                        <a:pt x="66" y="1280"/>
                      </a:lnTo>
                      <a:lnTo>
                        <a:pt x="61" y="1278"/>
                      </a:lnTo>
                      <a:lnTo>
                        <a:pt x="57" y="1275"/>
                      </a:lnTo>
                      <a:lnTo>
                        <a:pt x="55" y="1275"/>
                      </a:lnTo>
                      <a:lnTo>
                        <a:pt x="52" y="1270"/>
                      </a:lnTo>
                      <a:lnTo>
                        <a:pt x="52" y="1259"/>
                      </a:lnTo>
                      <a:lnTo>
                        <a:pt x="49" y="1259"/>
                      </a:lnTo>
                      <a:lnTo>
                        <a:pt x="47" y="1250"/>
                      </a:lnTo>
                      <a:lnTo>
                        <a:pt x="44" y="1250"/>
                      </a:lnTo>
                      <a:lnTo>
                        <a:pt x="38" y="1250"/>
                      </a:lnTo>
                      <a:lnTo>
                        <a:pt x="36" y="1244"/>
                      </a:lnTo>
                      <a:lnTo>
                        <a:pt x="33" y="1244"/>
                      </a:lnTo>
                      <a:lnTo>
                        <a:pt x="30" y="1239"/>
                      </a:lnTo>
                      <a:lnTo>
                        <a:pt x="36" y="1236"/>
                      </a:lnTo>
                      <a:lnTo>
                        <a:pt x="30" y="1228"/>
                      </a:lnTo>
                      <a:lnTo>
                        <a:pt x="25" y="1219"/>
                      </a:lnTo>
                      <a:lnTo>
                        <a:pt x="21" y="1214"/>
                      </a:lnTo>
                      <a:lnTo>
                        <a:pt x="21" y="1206"/>
                      </a:lnTo>
                      <a:lnTo>
                        <a:pt x="21" y="1203"/>
                      </a:lnTo>
                      <a:lnTo>
                        <a:pt x="21" y="1198"/>
                      </a:lnTo>
                      <a:lnTo>
                        <a:pt x="33" y="1195"/>
                      </a:lnTo>
                      <a:lnTo>
                        <a:pt x="30" y="1192"/>
                      </a:lnTo>
                      <a:lnTo>
                        <a:pt x="30" y="1186"/>
                      </a:lnTo>
                      <a:lnTo>
                        <a:pt x="30" y="1183"/>
                      </a:lnTo>
                      <a:lnTo>
                        <a:pt x="21" y="1181"/>
                      </a:lnTo>
                      <a:lnTo>
                        <a:pt x="21" y="1178"/>
                      </a:lnTo>
                      <a:lnTo>
                        <a:pt x="13" y="1178"/>
                      </a:lnTo>
                      <a:lnTo>
                        <a:pt x="13" y="1175"/>
                      </a:lnTo>
                      <a:lnTo>
                        <a:pt x="16" y="1162"/>
                      </a:lnTo>
                      <a:lnTo>
                        <a:pt x="16" y="1157"/>
                      </a:lnTo>
                      <a:lnTo>
                        <a:pt x="19" y="1150"/>
                      </a:lnTo>
                      <a:lnTo>
                        <a:pt x="19" y="1145"/>
                      </a:lnTo>
                      <a:lnTo>
                        <a:pt x="21" y="1145"/>
                      </a:lnTo>
                      <a:lnTo>
                        <a:pt x="19" y="1137"/>
                      </a:lnTo>
                      <a:lnTo>
                        <a:pt x="21" y="1134"/>
                      </a:lnTo>
                      <a:lnTo>
                        <a:pt x="21" y="1132"/>
                      </a:lnTo>
                      <a:lnTo>
                        <a:pt x="30" y="1126"/>
                      </a:lnTo>
                      <a:lnTo>
                        <a:pt x="36" y="1112"/>
                      </a:lnTo>
                      <a:lnTo>
                        <a:pt x="36" y="1109"/>
                      </a:lnTo>
                      <a:lnTo>
                        <a:pt x="41" y="1106"/>
                      </a:lnTo>
                      <a:lnTo>
                        <a:pt x="41" y="1098"/>
                      </a:lnTo>
                      <a:lnTo>
                        <a:pt x="38" y="1096"/>
                      </a:lnTo>
                      <a:lnTo>
                        <a:pt x="41" y="1090"/>
                      </a:lnTo>
                      <a:lnTo>
                        <a:pt x="44" y="1090"/>
                      </a:lnTo>
                      <a:lnTo>
                        <a:pt x="44" y="1088"/>
                      </a:lnTo>
                      <a:lnTo>
                        <a:pt x="41" y="1085"/>
                      </a:lnTo>
                      <a:lnTo>
                        <a:pt x="44" y="1081"/>
                      </a:lnTo>
                      <a:lnTo>
                        <a:pt x="44" y="1071"/>
                      </a:lnTo>
                      <a:lnTo>
                        <a:pt x="49" y="1065"/>
                      </a:lnTo>
                      <a:lnTo>
                        <a:pt x="49" y="1057"/>
                      </a:lnTo>
                      <a:lnTo>
                        <a:pt x="49" y="1055"/>
                      </a:lnTo>
                      <a:lnTo>
                        <a:pt x="47" y="1045"/>
                      </a:lnTo>
                      <a:lnTo>
                        <a:pt x="47" y="1037"/>
                      </a:lnTo>
                      <a:lnTo>
                        <a:pt x="41" y="1035"/>
                      </a:lnTo>
                      <a:lnTo>
                        <a:pt x="44" y="1029"/>
                      </a:lnTo>
                      <a:lnTo>
                        <a:pt x="44" y="1027"/>
                      </a:lnTo>
                      <a:lnTo>
                        <a:pt x="38" y="1024"/>
                      </a:lnTo>
                      <a:lnTo>
                        <a:pt x="33" y="1021"/>
                      </a:lnTo>
                      <a:lnTo>
                        <a:pt x="41" y="1010"/>
                      </a:lnTo>
                      <a:lnTo>
                        <a:pt x="41" y="1002"/>
                      </a:lnTo>
                      <a:lnTo>
                        <a:pt x="30" y="996"/>
                      </a:lnTo>
                      <a:lnTo>
                        <a:pt x="25" y="996"/>
                      </a:lnTo>
                      <a:lnTo>
                        <a:pt x="21" y="994"/>
                      </a:lnTo>
                      <a:lnTo>
                        <a:pt x="33" y="988"/>
                      </a:lnTo>
                      <a:lnTo>
                        <a:pt x="36" y="991"/>
                      </a:lnTo>
                      <a:lnTo>
                        <a:pt x="41" y="991"/>
                      </a:lnTo>
                      <a:lnTo>
                        <a:pt x="44" y="986"/>
                      </a:lnTo>
                      <a:lnTo>
                        <a:pt x="52" y="983"/>
                      </a:lnTo>
                      <a:lnTo>
                        <a:pt x="52" y="976"/>
                      </a:lnTo>
                      <a:lnTo>
                        <a:pt x="49" y="968"/>
                      </a:lnTo>
                      <a:lnTo>
                        <a:pt x="55" y="968"/>
                      </a:lnTo>
                      <a:lnTo>
                        <a:pt x="61" y="958"/>
                      </a:lnTo>
                      <a:lnTo>
                        <a:pt x="64" y="955"/>
                      </a:lnTo>
                      <a:lnTo>
                        <a:pt x="61" y="955"/>
                      </a:lnTo>
                      <a:lnTo>
                        <a:pt x="61" y="952"/>
                      </a:lnTo>
                      <a:lnTo>
                        <a:pt x="57" y="955"/>
                      </a:lnTo>
                      <a:lnTo>
                        <a:pt x="55" y="955"/>
                      </a:lnTo>
                      <a:lnTo>
                        <a:pt x="52" y="950"/>
                      </a:lnTo>
                      <a:lnTo>
                        <a:pt x="55" y="935"/>
                      </a:lnTo>
                      <a:lnTo>
                        <a:pt x="55" y="933"/>
                      </a:lnTo>
                      <a:lnTo>
                        <a:pt x="52" y="933"/>
                      </a:lnTo>
                      <a:lnTo>
                        <a:pt x="52" y="930"/>
                      </a:lnTo>
                      <a:lnTo>
                        <a:pt x="49" y="930"/>
                      </a:lnTo>
                      <a:lnTo>
                        <a:pt x="49" y="919"/>
                      </a:lnTo>
                      <a:lnTo>
                        <a:pt x="47" y="919"/>
                      </a:lnTo>
                      <a:lnTo>
                        <a:pt x="47" y="914"/>
                      </a:lnTo>
                      <a:lnTo>
                        <a:pt x="41" y="917"/>
                      </a:lnTo>
                      <a:lnTo>
                        <a:pt x="33" y="908"/>
                      </a:lnTo>
                      <a:lnTo>
                        <a:pt x="33" y="905"/>
                      </a:lnTo>
                      <a:lnTo>
                        <a:pt x="44" y="902"/>
                      </a:lnTo>
                      <a:lnTo>
                        <a:pt x="28" y="894"/>
                      </a:lnTo>
                      <a:lnTo>
                        <a:pt x="25" y="891"/>
                      </a:lnTo>
                      <a:lnTo>
                        <a:pt x="21" y="889"/>
                      </a:lnTo>
                      <a:lnTo>
                        <a:pt x="21" y="886"/>
                      </a:lnTo>
                      <a:lnTo>
                        <a:pt x="19" y="883"/>
                      </a:lnTo>
                      <a:lnTo>
                        <a:pt x="28" y="875"/>
                      </a:lnTo>
                      <a:lnTo>
                        <a:pt x="30" y="875"/>
                      </a:lnTo>
                      <a:lnTo>
                        <a:pt x="30" y="869"/>
                      </a:lnTo>
                      <a:lnTo>
                        <a:pt x="33" y="866"/>
                      </a:lnTo>
                      <a:lnTo>
                        <a:pt x="28" y="858"/>
                      </a:lnTo>
                      <a:lnTo>
                        <a:pt x="33" y="856"/>
                      </a:lnTo>
                      <a:lnTo>
                        <a:pt x="28" y="853"/>
                      </a:lnTo>
                      <a:lnTo>
                        <a:pt x="21" y="848"/>
                      </a:lnTo>
                      <a:lnTo>
                        <a:pt x="13" y="848"/>
                      </a:lnTo>
                      <a:lnTo>
                        <a:pt x="8" y="845"/>
                      </a:lnTo>
                      <a:lnTo>
                        <a:pt x="8" y="842"/>
                      </a:lnTo>
                      <a:lnTo>
                        <a:pt x="3" y="845"/>
                      </a:lnTo>
                      <a:lnTo>
                        <a:pt x="3" y="836"/>
                      </a:lnTo>
                      <a:lnTo>
                        <a:pt x="3" y="833"/>
                      </a:lnTo>
                      <a:lnTo>
                        <a:pt x="5" y="828"/>
                      </a:lnTo>
                      <a:lnTo>
                        <a:pt x="8" y="825"/>
                      </a:lnTo>
                      <a:lnTo>
                        <a:pt x="5" y="820"/>
                      </a:lnTo>
                      <a:lnTo>
                        <a:pt x="8" y="812"/>
                      </a:lnTo>
                      <a:lnTo>
                        <a:pt x="8" y="809"/>
                      </a:lnTo>
                      <a:lnTo>
                        <a:pt x="3" y="812"/>
                      </a:lnTo>
                      <a:lnTo>
                        <a:pt x="0" y="809"/>
                      </a:lnTo>
                      <a:lnTo>
                        <a:pt x="0" y="809"/>
                      </a:lnTo>
                      <a:close/>
                    </a:path>
                  </a:pathLst>
                </a:custGeom>
                <a:grpFill/>
                <a:ln w="12700" cap="flat" cmpd="sng" algn="ctr">
                  <a:solidFill>
                    <a:schemeClr val="bg1">
                      <a:lumMod val="85000"/>
                    </a:schemeClr>
                  </a:solidFill>
                  <a:prstDash val="solid"/>
                  <a:round/>
                  <a:headEnd type="none" w="med" len="med"/>
                  <a:tailEnd type="none" w="med" len="med"/>
                </a:ln>
              </p:spPr>
            </p:sp>
            <p:sp>
              <p:nvSpPr>
                <p:cNvPr id="50" name="ee4p_BR_11"/>
                <p:cNvSpPr>
                  <a:spLocks/>
                </p:cNvSpPr>
                <p:nvPr>
                  <p:custDataLst>
                    <p:tags r:id="rId12"/>
                  </p:custDataLst>
                </p:nvPr>
              </p:nvSpPr>
              <p:spPr bwMode="auto">
                <a:xfrm>
                  <a:off x="4178591" y="4180118"/>
                  <a:ext cx="756844" cy="803678"/>
                </a:xfrm>
                <a:custGeom>
                  <a:avLst/>
                  <a:gdLst/>
                  <a:ahLst/>
                  <a:cxnLst>
                    <a:cxn ang="0">
                      <a:pos x="174" y="222"/>
                    </a:cxn>
                    <a:cxn ang="0">
                      <a:pos x="199" y="205"/>
                    </a:cxn>
                    <a:cxn ang="0">
                      <a:pos x="281" y="291"/>
                    </a:cxn>
                    <a:cxn ang="0">
                      <a:pos x="375" y="268"/>
                    </a:cxn>
                    <a:cxn ang="0">
                      <a:pos x="485" y="180"/>
                    </a:cxn>
                    <a:cxn ang="0">
                      <a:pos x="560" y="89"/>
                    </a:cxn>
                    <a:cxn ang="0">
                      <a:pos x="646" y="64"/>
                    </a:cxn>
                    <a:cxn ang="0">
                      <a:pos x="739" y="45"/>
                    </a:cxn>
                    <a:cxn ang="0">
                      <a:pos x="811" y="9"/>
                    </a:cxn>
                    <a:cxn ang="0">
                      <a:pos x="891" y="36"/>
                    </a:cxn>
                    <a:cxn ang="0">
                      <a:pos x="971" y="64"/>
                    </a:cxn>
                    <a:cxn ang="0">
                      <a:pos x="1051" y="100"/>
                    </a:cxn>
                    <a:cxn ang="0">
                      <a:pos x="1117" y="147"/>
                    </a:cxn>
                    <a:cxn ang="0">
                      <a:pos x="1186" y="180"/>
                    </a:cxn>
                    <a:cxn ang="0">
                      <a:pos x="1253" y="194"/>
                    </a:cxn>
                    <a:cxn ang="0">
                      <a:pos x="1352" y="189"/>
                    </a:cxn>
                    <a:cxn ang="0">
                      <a:pos x="1469" y="136"/>
                    </a:cxn>
                    <a:cxn ang="0">
                      <a:pos x="1551" y="202"/>
                    </a:cxn>
                    <a:cxn ang="0">
                      <a:pos x="1661" y="186"/>
                    </a:cxn>
                    <a:cxn ang="0">
                      <a:pos x="1763" y="64"/>
                    </a:cxn>
                    <a:cxn ang="0">
                      <a:pos x="1735" y="258"/>
                    </a:cxn>
                    <a:cxn ang="0">
                      <a:pos x="1761" y="327"/>
                    </a:cxn>
                    <a:cxn ang="0">
                      <a:pos x="1852" y="340"/>
                    </a:cxn>
                    <a:cxn ang="0">
                      <a:pos x="1937" y="348"/>
                    </a:cxn>
                    <a:cxn ang="0">
                      <a:pos x="2095" y="486"/>
                    </a:cxn>
                    <a:cxn ang="0">
                      <a:pos x="2136" y="619"/>
                    </a:cxn>
                    <a:cxn ang="0">
                      <a:pos x="2346" y="672"/>
                    </a:cxn>
                    <a:cxn ang="0">
                      <a:pos x="2448" y="724"/>
                    </a:cxn>
                    <a:cxn ang="0">
                      <a:pos x="2520" y="759"/>
                    </a:cxn>
                    <a:cxn ang="0">
                      <a:pos x="2606" y="806"/>
                    </a:cxn>
                    <a:cxn ang="0">
                      <a:pos x="2721" y="834"/>
                    </a:cxn>
                    <a:cxn ang="0">
                      <a:pos x="2826" y="878"/>
                    </a:cxn>
                    <a:cxn ang="0">
                      <a:pos x="2939" y="961"/>
                    </a:cxn>
                    <a:cxn ang="0">
                      <a:pos x="2912" y="1187"/>
                    </a:cxn>
                    <a:cxn ang="0">
                      <a:pos x="2683" y="1447"/>
                    </a:cxn>
                    <a:cxn ang="0">
                      <a:pos x="2555" y="1690"/>
                    </a:cxn>
                    <a:cxn ang="0">
                      <a:pos x="2451" y="1923"/>
                    </a:cxn>
                    <a:cxn ang="0">
                      <a:pos x="2180" y="2189"/>
                    </a:cxn>
                    <a:cxn ang="0">
                      <a:pos x="1937" y="2365"/>
                    </a:cxn>
                    <a:cxn ang="0">
                      <a:pos x="1692" y="2657"/>
                    </a:cxn>
                    <a:cxn ang="0">
                      <a:pos x="1520" y="2835"/>
                    </a:cxn>
                    <a:cxn ang="0">
                      <a:pos x="1382" y="2807"/>
                    </a:cxn>
                    <a:cxn ang="0">
                      <a:pos x="1267" y="2856"/>
                    </a:cxn>
                    <a:cxn ang="0">
                      <a:pos x="1134" y="2851"/>
                    </a:cxn>
                    <a:cxn ang="0">
                      <a:pos x="1093" y="2713"/>
                    </a:cxn>
                    <a:cxn ang="0">
                      <a:pos x="1071" y="2559"/>
                    </a:cxn>
                    <a:cxn ang="0">
                      <a:pos x="1027" y="2421"/>
                    </a:cxn>
                    <a:cxn ang="0">
                      <a:pos x="1007" y="2268"/>
                    </a:cxn>
                    <a:cxn ang="0">
                      <a:pos x="889" y="2142"/>
                    </a:cxn>
                    <a:cxn ang="0">
                      <a:pos x="775" y="2125"/>
                    </a:cxn>
                    <a:cxn ang="0">
                      <a:pos x="700" y="2061"/>
                    </a:cxn>
                    <a:cxn ang="0">
                      <a:pos x="637" y="2117"/>
                    </a:cxn>
                    <a:cxn ang="0">
                      <a:pos x="563" y="2133"/>
                    </a:cxn>
                    <a:cxn ang="0">
                      <a:pos x="477" y="2125"/>
                    </a:cxn>
                    <a:cxn ang="0">
                      <a:pos x="389" y="2114"/>
                    </a:cxn>
                    <a:cxn ang="0">
                      <a:pos x="314" y="2112"/>
                    </a:cxn>
                    <a:cxn ang="0">
                      <a:pos x="226" y="2064"/>
                    </a:cxn>
                    <a:cxn ang="0">
                      <a:pos x="99" y="2073"/>
                    </a:cxn>
                    <a:cxn ang="0">
                      <a:pos x="90" y="1921"/>
                    </a:cxn>
                    <a:cxn ang="0">
                      <a:pos x="123" y="1664"/>
                    </a:cxn>
                    <a:cxn ang="0">
                      <a:pos x="118" y="1501"/>
                    </a:cxn>
                    <a:cxn ang="0">
                      <a:pos x="19" y="1292"/>
                    </a:cxn>
                    <a:cxn ang="0">
                      <a:pos x="123" y="1181"/>
                    </a:cxn>
                  </a:cxnLst>
                  <a:rect l="0" t="0" r="r" b="b"/>
                  <a:pathLst>
                    <a:path w="2944" h="2892">
                      <a:moveTo>
                        <a:pt x="54" y="999"/>
                      </a:moveTo>
                      <a:lnTo>
                        <a:pt x="115" y="872"/>
                      </a:lnTo>
                      <a:lnTo>
                        <a:pt x="157" y="782"/>
                      </a:lnTo>
                      <a:lnTo>
                        <a:pt x="187" y="782"/>
                      </a:lnTo>
                      <a:lnTo>
                        <a:pt x="192" y="773"/>
                      </a:lnTo>
                      <a:lnTo>
                        <a:pt x="190" y="773"/>
                      </a:lnTo>
                      <a:lnTo>
                        <a:pt x="192" y="767"/>
                      </a:lnTo>
                      <a:lnTo>
                        <a:pt x="187" y="762"/>
                      </a:lnTo>
                      <a:lnTo>
                        <a:pt x="184" y="759"/>
                      </a:lnTo>
                      <a:lnTo>
                        <a:pt x="182" y="759"/>
                      </a:lnTo>
                      <a:lnTo>
                        <a:pt x="182" y="726"/>
                      </a:lnTo>
                      <a:lnTo>
                        <a:pt x="163" y="726"/>
                      </a:lnTo>
                      <a:lnTo>
                        <a:pt x="248" y="450"/>
                      </a:lnTo>
                      <a:lnTo>
                        <a:pt x="289" y="448"/>
                      </a:lnTo>
                      <a:lnTo>
                        <a:pt x="289" y="445"/>
                      </a:lnTo>
                      <a:lnTo>
                        <a:pt x="284" y="442"/>
                      </a:lnTo>
                      <a:lnTo>
                        <a:pt x="281" y="439"/>
                      </a:lnTo>
                      <a:lnTo>
                        <a:pt x="281" y="437"/>
                      </a:lnTo>
                      <a:lnTo>
                        <a:pt x="281" y="434"/>
                      </a:lnTo>
                      <a:lnTo>
                        <a:pt x="278" y="431"/>
                      </a:lnTo>
                      <a:lnTo>
                        <a:pt x="276" y="434"/>
                      </a:lnTo>
                      <a:lnTo>
                        <a:pt x="270" y="431"/>
                      </a:lnTo>
                      <a:lnTo>
                        <a:pt x="270" y="434"/>
                      </a:lnTo>
                      <a:lnTo>
                        <a:pt x="240" y="406"/>
                      </a:lnTo>
                      <a:lnTo>
                        <a:pt x="237" y="396"/>
                      </a:lnTo>
                      <a:lnTo>
                        <a:pt x="232" y="370"/>
                      </a:lnTo>
                      <a:lnTo>
                        <a:pt x="182" y="276"/>
                      </a:lnTo>
                      <a:lnTo>
                        <a:pt x="199" y="276"/>
                      </a:lnTo>
                      <a:lnTo>
                        <a:pt x="199" y="268"/>
                      </a:lnTo>
                      <a:lnTo>
                        <a:pt x="182" y="255"/>
                      </a:lnTo>
                      <a:lnTo>
                        <a:pt x="187" y="238"/>
                      </a:lnTo>
                      <a:lnTo>
                        <a:pt x="182" y="233"/>
                      </a:lnTo>
                      <a:lnTo>
                        <a:pt x="179" y="233"/>
                      </a:lnTo>
                      <a:lnTo>
                        <a:pt x="174" y="222"/>
                      </a:lnTo>
                      <a:lnTo>
                        <a:pt x="171" y="222"/>
                      </a:lnTo>
                      <a:lnTo>
                        <a:pt x="166" y="207"/>
                      </a:lnTo>
                      <a:lnTo>
                        <a:pt x="159" y="205"/>
                      </a:lnTo>
                      <a:lnTo>
                        <a:pt x="157" y="199"/>
                      </a:lnTo>
                      <a:lnTo>
                        <a:pt x="159" y="194"/>
                      </a:lnTo>
                      <a:lnTo>
                        <a:pt x="159" y="189"/>
                      </a:lnTo>
                      <a:lnTo>
                        <a:pt x="159" y="186"/>
                      </a:lnTo>
                      <a:lnTo>
                        <a:pt x="157" y="189"/>
                      </a:lnTo>
                      <a:lnTo>
                        <a:pt x="157" y="186"/>
                      </a:lnTo>
                      <a:lnTo>
                        <a:pt x="159" y="180"/>
                      </a:lnTo>
                      <a:lnTo>
                        <a:pt x="154" y="180"/>
                      </a:lnTo>
                      <a:lnTo>
                        <a:pt x="157" y="180"/>
                      </a:lnTo>
                      <a:lnTo>
                        <a:pt x="159" y="174"/>
                      </a:lnTo>
                      <a:lnTo>
                        <a:pt x="154" y="177"/>
                      </a:lnTo>
                      <a:lnTo>
                        <a:pt x="154" y="174"/>
                      </a:lnTo>
                      <a:lnTo>
                        <a:pt x="157" y="171"/>
                      </a:lnTo>
                      <a:lnTo>
                        <a:pt x="157" y="169"/>
                      </a:lnTo>
                      <a:lnTo>
                        <a:pt x="151" y="166"/>
                      </a:lnTo>
                      <a:lnTo>
                        <a:pt x="151" y="163"/>
                      </a:lnTo>
                      <a:lnTo>
                        <a:pt x="154" y="163"/>
                      </a:lnTo>
                      <a:lnTo>
                        <a:pt x="168" y="166"/>
                      </a:lnTo>
                      <a:lnTo>
                        <a:pt x="174" y="155"/>
                      </a:lnTo>
                      <a:lnTo>
                        <a:pt x="179" y="153"/>
                      </a:lnTo>
                      <a:lnTo>
                        <a:pt x="184" y="158"/>
                      </a:lnTo>
                      <a:lnTo>
                        <a:pt x="184" y="169"/>
                      </a:lnTo>
                      <a:lnTo>
                        <a:pt x="190" y="171"/>
                      </a:lnTo>
                      <a:lnTo>
                        <a:pt x="190" y="177"/>
                      </a:lnTo>
                      <a:lnTo>
                        <a:pt x="190" y="183"/>
                      </a:lnTo>
                      <a:lnTo>
                        <a:pt x="192" y="194"/>
                      </a:lnTo>
                      <a:lnTo>
                        <a:pt x="195" y="194"/>
                      </a:lnTo>
                      <a:lnTo>
                        <a:pt x="195" y="199"/>
                      </a:lnTo>
                      <a:lnTo>
                        <a:pt x="199" y="199"/>
                      </a:lnTo>
                      <a:lnTo>
                        <a:pt x="199" y="202"/>
                      </a:lnTo>
                      <a:lnTo>
                        <a:pt x="199" y="205"/>
                      </a:lnTo>
                      <a:lnTo>
                        <a:pt x="199" y="207"/>
                      </a:lnTo>
                      <a:lnTo>
                        <a:pt x="201" y="210"/>
                      </a:lnTo>
                      <a:lnTo>
                        <a:pt x="201" y="213"/>
                      </a:lnTo>
                      <a:lnTo>
                        <a:pt x="204" y="213"/>
                      </a:lnTo>
                      <a:lnTo>
                        <a:pt x="201" y="215"/>
                      </a:lnTo>
                      <a:lnTo>
                        <a:pt x="199" y="219"/>
                      </a:lnTo>
                      <a:lnTo>
                        <a:pt x="199" y="222"/>
                      </a:lnTo>
                      <a:lnTo>
                        <a:pt x="199" y="227"/>
                      </a:lnTo>
                      <a:lnTo>
                        <a:pt x="195" y="230"/>
                      </a:lnTo>
                      <a:lnTo>
                        <a:pt x="201" y="233"/>
                      </a:lnTo>
                      <a:lnTo>
                        <a:pt x="201" y="235"/>
                      </a:lnTo>
                      <a:lnTo>
                        <a:pt x="204" y="235"/>
                      </a:lnTo>
                      <a:lnTo>
                        <a:pt x="204" y="238"/>
                      </a:lnTo>
                      <a:lnTo>
                        <a:pt x="212" y="235"/>
                      </a:lnTo>
                      <a:lnTo>
                        <a:pt x="212" y="233"/>
                      </a:lnTo>
                      <a:lnTo>
                        <a:pt x="215" y="233"/>
                      </a:lnTo>
                      <a:lnTo>
                        <a:pt x="220" y="238"/>
                      </a:lnTo>
                      <a:lnTo>
                        <a:pt x="223" y="243"/>
                      </a:lnTo>
                      <a:lnTo>
                        <a:pt x="226" y="246"/>
                      </a:lnTo>
                      <a:lnTo>
                        <a:pt x="223" y="246"/>
                      </a:lnTo>
                      <a:lnTo>
                        <a:pt x="226" y="252"/>
                      </a:lnTo>
                      <a:lnTo>
                        <a:pt x="232" y="255"/>
                      </a:lnTo>
                      <a:lnTo>
                        <a:pt x="228" y="258"/>
                      </a:lnTo>
                      <a:lnTo>
                        <a:pt x="226" y="258"/>
                      </a:lnTo>
                      <a:lnTo>
                        <a:pt x="228" y="266"/>
                      </a:lnTo>
                      <a:lnTo>
                        <a:pt x="228" y="268"/>
                      </a:lnTo>
                      <a:lnTo>
                        <a:pt x="240" y="266"/>
                      </a:lnTo>
                      <a:lnTo>
                        <a:pt x="243" y="274"/>
                      </a:lnTo>
                      <a:lnTo>
                        <a:pt x="248" y="274"/>
                      </a:lnTo>
                      <a:lnTo>
                        <a:pt x="251" y="276"/>
                      </a:lnTo>
                      <a:lnTo>
                        <a:pt x="259" y="282"/>
                      </a:lnTo>
                      <a:lnTo>
                        <a:pt x="256" y="288"/>
                      </a:lnTo>
                      <a:lnTo>
                        <a:pt x="268" y="293"/>
                      </a:lnTo>
                      <a:lnTo>
                        <a:pt x="281" y="291"/>
                      </a:lnTo>
                      <a:lnTo>
                        <a:pt x="281" y="299"/>
                      </a:lnTo>
                      <a:lnTo>
                        <a:pt x="286" y="307"/>
                      </a:lnTo>
                      <a:lnTo>
                        <a:pt x="292" y="310"/>
                      </a:lnTo>
                      <a:lnTo>
                        <a:pt x="295" y="304"/>
                      </a:lnTo>
                      <a:lnTo>
                        <a:pt x="292" y="296"/>
                      </a:lnTo>
                      <a:lnTo>
                        <a:pt x="297" y="296"/>
                      </a:lnTo>
                      <a:lnTo>
                        <a:pt x="304" y="288"/>
                      </a:lnTo>
                      <a:lnTo>
                        <a:pt x="309" y="291"/>
                      </a:lnTo>
                      <a:lnTo>
                        <a:pt x="309" y="288"/>
                      </a:lnTo>
                      <a:lnTo>
                        <a:pt x="312" y="284"/>
                      </a:lnTo>
                      <a:lnTo>
                        <a:pt x="312" y="282"/>
                      </a:lnTo>
                      <a:lnTo>
                        <a:pt x="317" y="284"/>
                      </a:lnTo>
                      <a:lnTo>
                        <a:pt x="322" y="276"/>
                      </a:lnTo>
                      <a:lnTo>
                        <a:pt x="325" y="276"/>
                      </a:lnTo>
                      <a:lnTo>
                        <a:pt x="328" y="279"/>
                      </a:lnTo>
                      <a:lnTo>
                        <a:pt x="330" y="282"/>
                      </a:lnTo>
                      <a:lnTo>
                        <a:pt x="333" y="279"/>
                      </a:lnTo>
                      <a:lnTo>
                        <a:pt x="337" y="282"/>
                      </a:lnTo>
                      <a:lnTo>
                        <a:pt x="337" y="279"/>
                      </a:lnTo>
                      <a:lnTo>
                        <a:pt x="342" y="279"/>
                      </a:lnTo>
                      <a:lnTo>
                        <a:pt x="342" y="276"/>
                      </a:lnTo>
                      <a:lnTo>
                        <a:pt x="348" y="274"/>
                      </a:lnTo>
                      <a:lnTo>
                        <a:pt x="350" y="271"/>
                      </a:lnTo>
                      <a:lnTo>
                        <a:pt x="353" y="274"/>
                      </a:lnTo>
                      <a:lnTo>
                        <a:pt x="356" y="271"/>
                      </a:lnTo>
                      <a:lnTo>
                        <a:pt x="358" y="271"/>
                      </a:lnTo>
                      <a:lnTo>
                        <a:pt x="356" y="274"/>
                      </a:lnTo>
                      <a:lnTo>
                        <a:pt x="358" y="276"/>
                      </a:lnTo>
                      <a:lnTo>
                        <a:pt x="358" y="271"/>
                      </a:lnTo>
                      <a:lnTo>
                        <a:pt x="366" y="274"/>
                      </a:lnTo>
                      <a:lnTo>
                        <a:pt x="373" y="271"/>
                      </a:lnTo>
                      <a:lnTo>
                        <a:pt x="381" y="271"/>
                      </a:lnTo>
                      <a:lnTo>
                        <a:pt x="381" y="268"/>
                      </a:lnTo>
                      <a:lnTo>
                        <a:pt x="375" y="268"/>
                      </a:lnTo>
                      <a:lnTo>
                        <a:pt x="373" y="263"/>
                      </a:lnTo>
                      <a:lnTo>
                        <a:pt x="375" y="266"/>
                      </a:lnTo>
                      <a:lnTo>
                        <a:pt x="381" y="260"/>
                      </a:lnTo>
                      <a:lnTo>
                        <a:pt x="383" y="263"/>
                      </a:lnTo>
                      <a:lnTo>
                        <a:pt x="383" y="260"/>
                      </a:lnTo>
                      <a:lnTo>
                        <a:pt x="386" y="260"/>
                      </a:lnTo>
                      <a:lnTo>
                        <a:pt x="394" y="260"/>
                      </a:lnTo>
                      <a:lnTo>
                        <a:pt x="402" y="258"/>
                      </a:lnTo>
                      <a:lnTo>
                        <a:pt x="411" y="258"/>
                      </a:lnTo>
                      <a:lnTo>
                        <a:pt x="416" y="252"/>
                      </a:lnTo>
                      <a:lnTo>
                        <a:pt x="427" y="258"/>
                      </a:lnTo>
                      <a:lnTo>
                        <a:pt x="427" y="255"/>
                      </a:lnTo>
                      <a:lnTo>
                        <a:pt x="435" y="255"/>
                      </a:lnTo>
                      <a:lnTo>
                        <a:pt x="435" y="246"/>
                      </a:lnTo>
                      <a:lnTo>
                        <a:pt x="442" y="243"/>
                      </a:lnTo>
                      <a:lnTo>
                        <a:pt x="444" y="238"/>
                      </a:lnTo>
                      <a:lnTo>
                        <a:pt x="450" y="238"/>
                      </a:lnTo>
                      <a:lnTo>
                        <a:pt x="452" y="235"/>
                      </a:lnTo>
                      <a:lnTo>
                        <a:pt x="455" y="238"/>
                      </a:lnTo>
                      <a:lnTo>
                        <a:pt x="458" y="238"/>
                      </a:lnTo>
                      <a:lnTo>
                        <a:pt x="460" y="222"/>
                      </a:lnTo>
                      <a:lnTo>
                        <a:pt x="466" y="222"/>
                      </a:lnTo>
                      <a:lnTo>
                        <a:pt x="466" y="219"/>
                      </a:lnTo>
                      <a:lnTo>
                        <a:pt x="468" y="213"/>
                      </a:lnTo>
                      <a:lnTo>
                        <a:pt x="472" y="213"/>
                      </a:lnTo>
                      <a:lnTo>
                        <a:pt x="475" y="213"/>
                      </a:lnTo>
                      <a:lnTo>
                        <a:pt x="480" y="207"/>
                      </a:lnTo>
                      <a:lnTo>
                        <a:pt x="483" y="199"/>
                      </a:lnTo>
                      <a:lnTo>
                        <a:pt x="491" y="189"/>
                      </a:lnTo>
                      <a:lnTo>
                        <a:pt x="491" y="186"/>
                      </a:lnTo>
                      <a:lnTo>
                        <a:pt x="485" y="189"/>
                      </a:lnTo>
                      <a:lnTo>
                        <a:pt x="483" y="186"/>
                      </a:lnTo>
                      <a:lnTo>
                        <a:pt x="483" y="183"/>
                      </a:lnTo>
                      <a:lnTo>
                        <a:pt x="485" y="180"/>
                      </a:lnTo>
                      <a:lnTo>
                        <a:pt x="483" y="174"/>
                      </a:lnTo>
                      <a:lnTo>
                        <a:pt x="485" y="174"/>
                      </a:lnTo>
                      <a:lnTo>
                        <a:pt x="488" y="169"/>
                      </a:lnTo>
                      <a:lnTo>
                        <a:pt x="494" y="169"/>
                      </a:lnTo>
                      <a:lnTo>
                        <a:pt x="499" y="161"/>
                      </a:lnTo>
                      <a:lnTo>
                        <a:pt x="508" y="158"/>
                      </a:lnTo>
                      <a:lnTo>
                        <a:pt x="513" y="155"/>
                      </a:lnTo>
                      <a:lnTo>
                        <a:pt x="519" y="158"/>
                      </a:lnTo>
                      <a:lnTo>
                        <a:pt x="524" y="155"/>
                      </a:lnTo>
                      <a:lnTo>
                        <a:pt x="527" y="147"/>
                      </a:lnTo>
                      <a:lnTo>
                        <a:pt x="529" y="147"/>
                      </a:lnTo>
                      <a:lnTo>
                        <a:pt x="532" y="141"/>
                      </a:lnTo>
                      <a:lnTo>
                        <a:pt x="529" y="138"/>
                      </a:lnTo>
                      <a:lnTo>
                        <a:pt x="532" y="133"/>
                      </a:lnTo>
                      <a:lnTo>
                        <a:pt x="535" y="136"/>
                      </a:lnTo>
                      <a:lnTo>
                        <a:pt x="537" y="133"/>
                      </a:lnTo>
                      <a:lnTo>
                        <a:pt x="535" y="128"/>
                      </a:lnTo>
                      <a:lnTo>
                        <a:pt x="537" y="125"/>
                      </a:lnTo>
                      <a:lnTo>
                        <a:pt x="544" y="125"/>
                      </a:lnTo>
                      <a:lnTo>
                        <a:pt x="546" y="122"/>
                      </a:lnTo>
                      <a:lnTo>
                        <a:pt x="546" y="120"/>
                      </a:lnTo>
                      <a:lnTo>
                        <a:pt x="541" y="117"/>
                      </a:lnTo>
                      <a:lnTo>
                        <a:pt x="544" y="114"/>
                      </a:lnTo>
                      <a:lnTo>
                        <a:pt x="546" y="114"/>
                      </a:lnTo>
                      <a:lnTo>
                        <a:pt x="549" y="112"/>
                      </a:lnTo>
                      <a:lnTo>
                        <a:pt x="546" y="108"/>
                      </a:lnTo>
                      <a:lnTo>
                        <a:pt x="544" y="108"/>
                      </a:lnTo>
                      <a:lnTo>
                        <a:pt x="537" y="105"/>
                      </a:lnTo>
                      <a:lnTo>
                        <a:pt x="544" y="102"/>
                      </a:lnTo>
                      <a:lnTo>
                        <a:pt x="544" y="94"/>
                      </a:lnTo>
                      <a:lnTo>
                        <a:pt x="554" y="92"/>
                      </a:lnTo>
                      <a:lnTo>
                        <a:pt x="560" y="94"/>
                      </a:lnTo>
                      <a:lnTo>
                        <a:pt x="563" y="94"/>
                      </a:lnTo>
                      <a:lnTo>
                        <a:pt x="560" y="89"/>
                      </a:lnTo>
                      <a:lnTo>
                        <a:pt x="563" y="86"/>
                      </a:lnTo>
                      <a:lnTo>
                        <a:pt x="571" y="81"/>
                      </a:lnTo>
                      <a:lnTo>
                        <a:pt x="571" y="78"/>
                      </a:lnTo>
                      <a:lnTo>
                        <a:pt x="568" y="75"/>
                      </a:lnTo>
                      <a:lnTo>
                        <a:pt x="573" y="72"/>
                      </a:lnTo>
                      <a:lnTo>
                        <a:pt x="573" y="67"/>
                      </a:lnTo>
                      <a:lnTo>
                        <a:pt x="580" y="67"/>
                      </a:lnTo>
                      <a:lnTo>
                        <a:pt x="582" y="67"/>
                      </a:lnTo>
                      <a:lnTo>
                        <a:pt x="582" y="61"/>
                      </a:lnTo>
                      <a:lnTo>
                        <a:pt x="588" y="61"/>
                      </a:lnTo>
                      <a:lnTo>
                        <a:pt x="590" y="64"/>
                      </a:lnTo>
                      <a:lnTo>
                        <a:pt x="601" y="64"/>
                      </a:lnTo>
                      <a:lnTo>
                        <a:pt x="598" y="67"/>
                      </a:lnTo>
                      <a:lnTo>
                        <a:pt x="604" y="64"/>
                      </a:lnTo>
                      <a:lnTo>
                        <a:pt x="606" y="67"/>
                      </a:lnTo>
                      <a:lnTo>
                        <a:pt x="606" y="69"/>
                      </a:lnTo>
                      <a:lnTo>
                        <a:pt x="613" y="72"/>
                      </a:lnTo>
                      <a:lnTo>
                        <a:pt x="615" y="69"/>
                      </a:lnTo>
                      <a:lnTo>
                        <a:pt x="613" y="67"/>
                      </a:lnTo>
                      <a:lnTo>
                        <a:pt x="615" y="67"/>
                      </a:lnTo>
                      <a:lnTo>
                        <a:pt x="618" y="72"/>
                      </a:lnTo>
                      <a:lnTo>
                        <a:pt x="621" y="69"/>
                      </a:lnTo>
                      <a:lnTo>
                        <a:pt x="618" y="67"/>
                      </a:lnTo>
                      <a:lnTo>
                        <a:pt x="618" y="64"/>
                      </a:lnTo>
                      <a:lnTo>
                        <a:pt x="621" y="67"/>
                      </a:lnTo>
                      <a:lnTo>
                        <a:pt x="626" y="69"/>
                      </a:lnTo>
                      <a:lnTo>
                        <a:pt x="626" y="67"/>
                      </a:lnTo>
                      <a:lnTo>
                        <a:pt x="631" y="67"/>
                      </a:lnTo>
                      <a:lnTo>
                        <a:pt x="631" y="69"/>
                      </a:lnTo>
                      <a:lnTo>
                        <a:pt x="634" y="69"/>
                      </a:lnTo>
                      <a:lnTo>
                        <a:pt x="640" y="69"/>
                      </a:lnTo>
                      <a:lnTo>
                        <a:pt x="642" y="69"/>
                      </a:lnTo>
                      <a:lnTo>
                        <a:pt x="649" y="69"/>
                      </a:lnTo>
                      <a:lnTo>
                        <a:pt x="646" y="64"/>
                      </a:lnTo>
                      <a:lnTo>
                        <a:pt x="649" y="64"/>
                      </a:lnTo>
                      <a:lnTo>
                        <a:pt x="657" y="67"/>
                      </a:lnTo>
                      <a:lnTo>
                        <a:pt x="665" y="61"/>
                      </a:lnTo>
                      <a:lnTo>
                        <a:pt x="667" y="64"/>
                      </a:lnTo>
                      <a:lnTo>
                        <a:pt x="670" y="61"/>
                      </a:lnTo>
                      <a:lnTo>
                        <a:pt x="673" y="61"/>
                      </a:lnTo>
                      <a:lnTo>
                        <a:pt x="673" y="59"/>
                      </a:lnTo>
                      <a:lnTo>
                        <a:pt x="675" y="59"/>
                      </a:lnTo>
                      <a:lnTo>
                        <a:pt x="673" y="53"/>
                      </a:lnTo>
                      <a:lnTo>
                        <a:pt x="675" y="56"/>
                      </a:lnTo>
                      <a:lnTo>
                        <a:pt x="679" y="51"/>
                      </a:lnTo>
                      <a:lnTo>
                        <a:pt x="679" y="56"/>
                      </a:lnTo>
                      <a:lnTo>
                        <a:pt x="682" y="56"/>
                      </a:lnTo>
                      <a:lnTo>
                        <a:pt x="690" y="61"/>
                      </a:lnTo>
                      <a:lnTo>
                        <a:pt x="690" y="59"/>
                      </a:lnTo>
                      <a:lnTo>
                        <a:pt x="692" y="59"/>
                      </a:lnTo>
                      <a:lnTo>
                        <a:pt x="692" y="64"/>
                      </a:lnTo>
                      <a:lnTo>
                        <a:pt x="698" y="61"/>
                      </a:lnTo>
                      <a:lnTo>
                        <a:pt x="698" y="67"/>
                      </a:lnTo>
                      <a:lnTo>
                        <a:pt x="700" y="69"/>
                      </a:lnTo>
                      <a:lnTo>
                        <a:pt x="706" y="64"/>
                      </a:lnTo>
                      <a:lnTo>
                        <a:pt x="711" y="61"/>
                      </a:lnTo>
                      <a:lnTo>
                        <a:pt x="715" y="64"/>
                      </a:lnTo>
                      <a:lnTo>
                        <a:pt x="718" y="59"/>
                      </a:lnTo>
                      <a:lnTo>
                        <a:pt x="723" y="59"/>
                      </a:lnTo>
                      <a:lnTo>
                        <a:pt x="726" y="53"/>
                      </a:lnTo>
                      <a:lnTo>
                        <a:pt x="726" y="51"/>
                      </a:lnTo>
                      <a:lnTo>
                        <a:pt x="734" y="48"/>
                      </a:lnTo>
                      <a:lnTo>
                        <a:pt x="734" y="45"/>
                      </a:lnTo>
                      <a:lnTo>
                        <a:pt x="736" y="45"/>
                      </a:lnTo>
                      <a:lnTo>
                        <a:pt x="736" y="43"/>
                      </a:lnTo>
                      <a:lnTo>
                        <a:pt x="742" y="45"/>
                      </a:lnTo>
                      <a:lnTo>
                        <a:pt x="742" y="48"/>
                      </a:lnTo>
                      <a:lnTo>
                        <a:pt x="739" y="45"/>
                      </a:lnTo>
                      <a:lnTo>
                        <a:pt x="739" y="48"/>
                      </a:lnTo>
                      <a:lnTo>
                        <a:pt x="744" y="53"/>
                      </a:lnTo>
                      <a:lnTo>
                        <a:pt x="744" y="51"/>
                      </a:lnTo>
                      <a:lnTo>
                        <a:pt x="751" y="51"/>
                      </a:lnTo>
                      <a:lnTo>
                        <a:pt x="751" y="48"/>
                      </a:lnTo>
                      <a:lnTo>
                        <a:pt x="753" y="45"/>
                      </a:lnTo>
                      <a:lnTo>
                        <a:pt x="756" y="45"/>
                      </a:lnTo>
                      <a:lnTo>
                        <a:pt x="759" y="48"/>
                      </a:lnTo>
                      <a:lnTo>
                        <a:pt x="761" y="45"/>
                      </a:lnTo>
                      <a:lnTo>
                        <a:pt x="764" y="45"/>
                      </a:lnTo>
                      <a:lnTo>
                        <a:pt x="767" y="39"/>
                      </a:lnTo>
                      <a:lnTo>
                        <a:pt x="764" y="36"/>
                      </a:lnTo>
                      <a:lnTo>
                        <a:pt x="764" y="34"/>
                      </a:lnTo>
                      <a:lnTo>
                        <a:pt x="767" y="34"/>
                      </a:lnTo>
                      <a:lnTo>
                        <a:pt x="772" y="34"/>
                      </a:lnTo>
                      <a:lnTo>
                        <a:pt x="769" y="34"/>
                      </a:lnTo>
                      <a:lnTo>
                        <a:pt x="772" y="31"/>
                      </a:lnTo>
                      <a:lnTo>
                        <a:pt x="778" y="34"/>
                      </a:lnTo>
                      <a:lnTo>
                        <a:pt x="775" y="28"/>
                      </a:lnTo>
                      <a:lnTo>
                        <a:pt x="775" y="25"/>
                      </a:lnTo>
                      <a:lnTo>
                        <a:pt x="778" y="28"/>
                      </a:lnTo>
                      <a:lnTo>
                        <a:pt x="778" y="23"/>
                      </a:lnTo>
                      <a:lnTo>
                        <a:pt x="784" y="23"/>
                      </a:lnTo>
                      <a:lnTo>
                        <a:pt x="787" y="25"/>
                      </a:lnTo>
                      <a:lnTo>
                        <a:pt x="792" y="25"/>
                      </a:lnTo>
                      <a:lnTo>
                        <a:pt x="792" y="23"/>
                      </a:lnTo>
                      <a:lnTo>
                        <a:pt x="797" y="25"/>
                      </a:lnTo>
                      <a:lnTo>
                        <a:pt x="795" y="20"/>
                      </a:lnTo>
                      <a:lnTo>
                        <a:pt x="797" y="20"/>
                      </a:lnTo>
                      <a:lnTo>
                        <a:pt x="800" y="17"/>
                      </a:lnTo>
                      <a:lnTo>
                        <a:pt x="805" y="20"/>
                      </a:lnTo>
                      <a:lnTo>
                        <a:pt x="805" y="9"/>
                      </a:lnTo>
                      <a:lnTo>
                        <a:pt x="808" y="12"/>
                      </a:lnTo>
                      <a:lnTo>
                        <a:pt x="811" y="9"/>
                      </a:lnTo>
                      <a:lnTo>
                        <a:pt x="813" y="12"/>
                      </a:lnTo>
                      <a:lnTo>
                        <a:pt x="820" y="9"/>
                      </a:lnTo>
                      <a:lnTo>
                        <a:pt x="822" y="9"/>
                      </a:lnTo>
                      <a:lnTo>
                        <a:pt x="825" y="12"/>
                      </a:lnTo>
                      <a:lnTo>
                        <a:pt x="825" y="9"/>
                      </a:lnTo>
                      <a:lnTo>
                        <a:pt x="825" y="6"/>
                      </a:lnTo>
                      <a:lnTo>
                        <a:pt x="828" y="6"/>
                      </a:lnTo>
                      <a:lnTo>
                        <a:pt x="830" y="3"/>
                      </a:lnTo>
                      <a:lnTo>
                        <a:pt x="833" y="3"/>
                      </a:lnTo>
                      <a:lnTo>
                        <a:pt x="836" y="0"/>
                      </a:lnTo>
                      <a:lnTo>
                        <a:pt x="839" y="3"/>
                      </a:lnTo>
                      <a:lnTo>
                        <a:pt x="847" y="6"/>
                      </a:lnTo>
                      <a:lnTo>
                        <a:pt x="853" y="3"/>
                      </a:lnTo>
                      <a:lnTo>
                        <a:pt x="856" y="3"/>
                      </a:lnTo>
                      <a:lnTo>
                        <a:pt x="858" y="3"/>
                      </a:lnTo>
                      <a:lnTo>
                        <a:pt x="861" y="9"/>
                      </a:lnTo>
                      <a:lnTo>
                        <a:pt x="864" y="9"/>
                      </a:lnTo>
                      <a:lnTo>
                        <a:pt x="861" y="3"/>
                      </a:lnTo>
                      <a:lnTo>
                        <a:pt x="864" y="3"/>
                      </a:lnTo>
                      <a:lnTo>
                        <a:pt x="869" y="9"/>
                      </a:lnTo>
                      <a:lnTo>
                        <a:pt x="874" y="12"/>
                      </a:lnTo>
                      <a:lnTo>
                        <a:pt x="880" y="17"/>
                      </a:lnTo>
                      <a:lnTo>
                        <a:pt x="874" y="17"/>
                      </a:lnTo>
                      <a:lnTo>
                        <a:pt x="874" y="23"/>
                      </a:lnTo>
                      <a:lnTo>
                        <a:pt x="877" y="20"/>
                      </a:lnTo>
                      <a:lnTo>
                        <a:pt x="877" y="23"/>
                      </a:lnTo>
                      <a:lnTo>
                        <a:pt x="877" y="31"/>
                      </a:lnTo>
                      <a:lnTo>
                        <a:pt x="880" y="28"/>
                      </a:lnTo>
                      <a:lnTo>
                        <a:pt x="880" y="34"/>
                      </a:lnTo>
                      <a:lnTo>
                        <a:pt x="882" y="31"/>
                      </a:lnTo>
                      <a:lnTo>
                        <a:pt x="886" y="31"/>
                      </a:lnTo>
                      <a:lnTo>
                        <a:pt x="886" y="39"/>
                      </a:lnTo>
                      <a:lnTo>
                        <a:pt x="889" y="34"/>
                      </a:lnTo>
                      <a:lnTo>
                        <a:pt x="891" y="36"/>
                      </a:lnTo>
                      <a:lnTo>
                        <a:pt x="894" y="36"/>
                      </a:lnTo>
                      <a:lnTo>
                        <a:pt x="897" y="36"/>
                      </a:lnTo>
                      <a:lnTo>
                        <a:pt x="902" y="36"/>
                      </a:lnTo>
                      <a:lnTo>
                        <a:pt x="899" y="39"/>
                      </a:lnTo>
                      <a:lnTo>
                        <a:pt x="905" y="48"/>
                      </a:lnTo>
                      <a:lnTo>
                        <a:pt x="910" y="45"/>
                      </a:lnTo>
                      <a:lnTo>
                        <a:pt x="910" y="43"/>
                      </a:lnTo>
                      <a:lnTo>
                        <a:pt x="910" y="39"/>
                      </a:lnTo>
                      <a:lnTo>
                        <a:pt x="916" y="43"/>
                      </a:lnTo>
                      <a:lnTo>
                        <a:pt x="927" y="43"/>
                      </a:lnTo>
                      <a:lnTo>
                        <a:pt x="925" y="45"/>
                      </a:lnTo>
                      <a:lnTo>
                        <a:pt x="922" y="45"/>
                      </a:lnTo>
                      <a:lnTo>
                        <a:pt x="922" y="48"/>
                      </a:lnTo>
                      <a:lnTo>
                        <a:pt x="927" y="45"/>
                      </a:lnTo>
                      <a:lnTo>
                        <a:pt x="925" y="48"/>
                      </a:lnTo>
                      <a:lnTo>
                        <a:pt x="927" y="51"/>
                      </a:lnTo>
                      <a:lnTo>
                        <a:pt x="933" y="48"/>
                      </a:lnTo>
                      <a:lnTo>
                        <a:pt x="930" y="45"/>
                      </a:lnTo>
                      <a:lnTo>
                        <a:pt x="933" y="43"/>
                      </a:lnTo>
                      <a:lnTo>
                        <a:pt x="938" y="51"/>
                      </a:lnTo>
                      <a:lnTo>
                        <a:pt x="941" y="48"/>
                      </a:lnTo>
                      <a:lnTo>
                        <a:pt x="943" y="53"/>
                      </a:lnTo>
                      <a:lnTo>
                        <a:pt x="946" y="56"/>
                      </a:lnTo>
                      <a:lnTo>
                        <a:pt x="949" y="53"/>
                      </a:lnTo>
                      <a:lnTo>
                        <a:pt x="951" y="53"/>
                      </a:lnTo>
                      <a:lnTo>
                        <a:pt x="949" y="56"/>
                      </a:lnTo>
                      <a:lnTo>
                        <a:pt x="951" y="59"/>
                      </a:lnTo>
                      <a:lnTo>
                        <a:pt x="955" y="56"/>
                      </a:lnTo>
                      <a:lnTo>
                        <a:pt x="960" y="56"/>
                      </a:lnTo>
                      <a:lnTo>
                        <a:pt x="963" y="56"/>
                      </a:lnTo>
                      <a:lnTo>
                        <a:pt x="960" y="61"/>
                      </a:lnTo>
                      <a:lnTo>
                        <a:pt x="968" y="69"/>
                      </a:lnTo>
                      <a:lnTo>
                        <a:pt x="968" y="67"/>
                      </a:lnTo>
                      <a:lnTo>
                        <a:pt x="971" y="64"/>
                      </a:lnTo>
                      <a:lnTo>
                        <a:pt x="974" y="69"/>
                      </a:lnTo>
                      <a:lnTo>
                        <a:pt x="976" y="67"/>
                      </a:lnTo>
                      <a:lnTo>
                        <a:pt x="979" y="67"/>
                      </a:lnTo>
                      <a:lnTo>
                        <a:pt x="982" y="69"/>
                      </a:lnTo>
                      <a:lnTo>
                        <a:pt x="985" y="69"/>
                      </a:lnTo>
                      <a:lnTo>
                        <a:pt x="988" y="72"/>
                      </a:lnTo>
                      <a:lnTo>
                        <a:pt x="991" y="72"/>
                      </a:lnTo>
                      <a:lnTo>
                        <a:pt x="994" y="78"/>
                      </a:lnTo>
                      <a:lnTo>
                        <a:pt x="999" y="72"/>
                      </a:lnTo>
                      <a:lnTo>
                        <a:pt x="1002" y="78"/>
                      </a:lnTo>
                      <a:lnTo>
                        <a:pt x="1007" y="72"/>
                      </a:lnTo>
                      <a:lnTo>
                        <a:pt x="1010" y="78"/>
                      </a:lnTo>
                      <a:lnTo>
                        <a:pt x="1012" y="72"/>
                      </a:lnTo>
                      <a:lnTo>
                        <a:pt x="1015" y="78"/>
                      </a:lnTo>
                      <a:lnTo>
                        <a:pt x="1020" y="72"/>
                      </a:lnTo>
                      <a:lnTo>
                        <a:pt x="1020" y="75"/>
                      </a:lnTo>
                      <a:lnTo>
                        <a:pt x="1020" y="78"/>
                      </a:lnTo>
                      <a:lnTo>
                        <a:pt x="1027" y="81"/>
                      </a:lnTo>
                      <a:lnTo>
                        <a:pt x="1027" y="78"/>
                      </a:lnTo>
                      <a:lnTo>
                        <a:pt x="1027" y="75"/>
                      </a:lnTo>
                      <a:lnTo>
                        <a:pt x="1027" y="72"/>
                      </a:lnTo>
                      <a:lnTo>
                        <a:pt x="1029" y="78"/>
                      </a:lnTo>
                      <a:lnTo>
                        <a:pt x="1035" y="84"/>
                      </a:lnTo>
                      <a:lnTo>
                        <a:pt x="1037" y="86"/>
                      </a:lnTo>
                      <a:lnTo>
                        <a:pt x="1037" y="81"/>
                      </a:lnTo>
                      <a:lnTo>
                        <a:pt x="1043" y="86"/>
                      </a:lnTo>
                      <a:lnTo>
                        <a:pt x="1045" y="89"/>
                      </a:lnTo>
                      <a:lnTo>
                        <a:pt x="1051" y="86"/>
                      </a:lnTo>
                      <a:lnTo>
                        <a:pt x="1048" y="89"/>
                      </a:lnTo>
                      <a:lnTo>
                        <a:pt x="1051" y="89"/>
                      </a:lnTo>
                      <a:lnTo>
                        <a:pt x="1048" y="94"/>
                      </a:lnTo>
                      <a:lnTo>
                        <a:pt x="1051" y="97"/>
                      </a:lnTo>
                      <a:lnTo>
                        <a:pt x="1048" y="97"/>
                      </a:lnTo>
                      <a:lnTo>
                        <a:pt x="1051" y="100"/>
                      </a:lnTo>
                      <a:lnTo>
                        <a:pt x="1048" y="100"/>
                      </a:lnTo>
                      <a:lnTo>
                        <a:pt x="1048" y="105"/>
                      </a:lnTo>
                      <a:lnTo>
                        <a:pt x="1051" y="108"/>
                      </a:lnTo>
                      <a:lnTo>
                        <a:pt x="1051" y="105"/>
                      </a:lnTo>
                      <a:lnTo>
                        <a:pt x="1054" y="105"/>
                      </a:lnTo>
                      <a:lnTo>
                        <a:pt x="1054" y="108"/>
                      </a:lnTo>
                      <a:lnTo>
                        <a:pt x="1054" y="114"/>
                      </a:lnTo>
                      <a:lnTo>
                        <a:pt x="1057" y="114"/>
                      </a:lnTo>
                      <a:lnTo>
                        <a:pt x="1060" y="117"/>
                      </a:lnTo>
                      <a:lnTo>
                        <a:pt x="1060" y="114"/>
                      </a:lnTo>
                      <a:lnTo>
                        <a:pt x="1065" y="120"/>
                      </a:lnTo>
                      <a:lnTo>
                        <a:pt x="1063" y="120"/>
                      </a:lnTo>
                      <a:lnTo>
                        <a:pt x="1068" y="122"/>
                      </a:lnTo>
                      <a:lnTo>
                        <a:pt x="1068" y="125"/>
                      </a:lnTo>
                      <a:lnTo>
                        <a:pt x="1071" y="128"/>
                      </a:lnTo>
                      <a:lnTo>
                        <a:pt x="1076" y="128"/>
                      </a:lnTo>
                      <a:lnTo>
                        <a:pt x="1076" y="133"/>
                      </a:lnTo>
                      <a:lnTo>
                        <a:pt x="1079" y="133"/>
                      </a:lnTo>
                      <a:lnTo>
                        <a:pt x="1081" y="133"/>
                      </a:lnTo>
                      <a:lnTo>
                        <a:pt x="1081" y="136"/>
                      </a:lnTo>
                      <a:lnTo>
                        <a:pt x="1084" y="133"/>
                      </a:lnTo>
                      <a:lnTo>
                        <a:pt x="1084" y="136"/>
                      </a:lnTo>
                      <a:lnTo>
                        <a:pt x="1087" y="133"/>
                      </a:lnTo>
                      <a:lnTo>
                        <a:pt x="1089" y="133"/>
                      </a:lnTo>
                      <a:lnTo>
                        <a:pt x="1093" y="130"/>
                      </a:lnTo>
                      <a:lnTo>
                        <a:pt x="1096" y="133"/>
                      </a:lnTo>
                      <a:lnTo>
                        <a:pt x="1101" y="138"/>
                      </a:lnTo>
                      <a:lnTo>
                        <a:pt x="1101" y="141"/>
                      </a:lnTo>
                      <a:lnTo>
                        <a:pt x="1104" y="141"/>
                      </a:lnTo>
                      <a:lnTo>
                        <a:pt x="1104" y="144"/>
                      </a:lnTo>
                      <a:lnTo>
                        <a:pt x="1106" y="144"/>
                      </a:lnTo>
                      <a:lnTo>
                        <a:pt x="1112" y="144"/>
                      </a:lnTo>
                      <a:lnTo>
                        <a:pt x="1114" y="144"/>
                      </a:lnTo>
                      <a:lnTo>
                        <a:pt x="1117" y="147"/>
                      </a:lnTo>
                      <a:lnTo>
                        <a:pt x="1123" y="144"/>
                      </a:lnTo>
                      <a:lnTo>
                        <a:pt x="1129" y="147"/>
                      </a:lnTo>
                      <a:lnTo>
                        <a:pt x="1129" y="150"/>
                      </a:lnTo>
                      <a:lnTo>
                        <a:pt x="1132" y="150"/>
                      </a:lnTo>
                      <a:lnTo>
                        <a:pt x="1134" y="147"/>
                      </a:lnTo>
                      <a:lnTo>
                        <a:pt x="1137" y="150"/>
                      </a:lnTo>
                      <a:lnTo>
                        <a:pt x="1142" y="153"/>
                      </a:lnTo>
                      <a:lnTo>
                        <a:pt x="1145" y="153"/>
                      </a:lnTo>
                      <a:lnTo>
                        <a:pt x="1145" y="161"/>
                      </a:lnTo>
                      <a:lnTo>
                        <a:pt x="1150" y="161"/>
                      </a:lnTo>
                      <a:lnTo>
                        <a:pt x="1150" y="158"/>
                      </a:lnTo>
                      <a:lnTo>
                        <a:pt x="1150" y="161"/>
                      </a:lnTo>
                      <a:lnTo>
                        <a:pt x="1156" y="163"/>
                      </a:lnTo>
                      <a:lnTo>
                        <a:pt x="1156" y="161"/>
                      </a:lnTo>
                      <a:lnTo>
                        <a:pt x="1153" y="161"/>
                      </a:lnTo>
                      <a:lnTo>
                        <a:pt x="1156" y="158"/>
                      </a:lnTo>
                      <a:lnTo>
                        <a:pt x="1158" y="161"/>
                      </a:lnTo>
                      <a:lnTo>
                        <a:pt x="1167" y="158"/>
                      </a:lnTo>
                      <a:lnTo>
                        <a:pt x="1170" y="158"/>
                      </a:lnTo>
                      <a:lnTo>
                        <a:pt x="1167" y="161"/>
                      </a:lnTo>
                      <a:lnTo>
                        <a:pt x="1173" y="163"/>
                      </a:lnTo>
                      <a:lnTo>
                        <a:pt x="1170" y="166"/>
                      </a:lnTo>
                      <a:lnTo>
                        <a:pt x="1173" y="163"/>
                      </a:lnTo>
                      <a:lnTo>
                        <a:pt x="1173" y="166"/>
                      </a:lnTo>
                      <a:lnTo>
                        <a:pt x="1175" y="166"/>
                      </a:lnTo>
                      <a:lnTo>
                        <a:pt x="1178" y="166"/>
                      </a:lnTo>
                      <a:lnTo>
                        <a:pt x="1178" y="163"/>
                      </a:lnTo>
                      <a:lnTo>
                        <a:pt x="1181" y="166"/>
                      </a:lnTo>
                      <a:lnTo>
                        <a:pt x="1178" y="169"/>
                      </a:lnTo>
                      <a:lnTo>
                        <a:pt x="1181" y="171"/>
                      </a:lnTo>
                      <a:lnTo>
                        <a:pt x="1183" y="171"/>
                      </a:lnTo>
                      <a:lnTo>
                        <a:pt x="1183" y="174"/>
                      </a:lnTo>
                      <a:lnTo>
                        <a:pt x="1186" y="174"/>
                      </a:lnTo>
                      <a:lnTo>
                        <a:pt x="1186" y="180"/>
                      </a:lnTo>
                      <a:lnTo>
                        <a:pt x="1189" y="177"/>
                      </a:lnTo>
                      <a:lnTo>
                        <a:pt x="1186" y="180"/>
                      </a:lnTo>
                      <a:lnTo>
                        <a:pt x="1189" y="183"/>
                      </a:lnTo>
                      <a:lnTo>
                        <a:pt x="1189" y="180"/>
                      </a:lnTo>
                      <a:lnTo>
                        <a:pt x="1191" y="183"/>
                      </a:lnTo>
                      <a:lnTo>
                        <a:pt x="1191" y="180"/>
                      </a:lnTo>
                      <a:lnTo>
                        <a:pt x="1195" y="180"/>
                      </a:lnTo>
                      <a:lnTo>
                        <a:pt x="1195" y="183"/>
                      </a:lnTo>
                      <a:lnTo>
                        <a:pt x="1201" y="186"/>
                      </a:lnTo>
                      <a:lnTo>
                        <a:pt x="1201" y="189"/>
                      </a:lnTo>
                      <a:lnTo>
                        <a:pt x="1198" y="186"/>
                      </a:lnTo>
                      <a:lnTo>
                        <a:pt x="1198" y="189"/>
                      </a:lnTo>
                      <a:lnTo>
                        <a:pt x="1206" y="189"/>
                      </a:lnTo>
                      <a:lnTo>
                        <a:pt x="1206" y="191"/>
                      </a:lnTo>
                      <a:lnTo>
                        <a:pt x="1209" y="191"/>
                      </a:lnTo>
                      <a:lnTo>
                        <a:pt x="1209" y="194"/>
                      </a:lnTo>
                      <a:lnTo>
                        <a:pt x="1214" y="191"/>
                      </a:lnTo>
                      <a:lnTo>
                        <a:pt x="1217" y="194"/>
                      </a:lnTo>
                      <a:lnTo>
                        <a:pt x="1217" y="197"/>
                      </a:lnTo>
                      <a:lnTo>
                        <a:pt x="1219" y="197"/>
                      </a:lnTo>
                      <a:lnTo>
                        <a:pt x="1217" y="199"/>
                      </a:lnTo>
                      <a:lnTo>
                        <a:pt x="1219" y="199"/>
                      </a:lnTo>
                      <a:lnTo>
                        <a:pt x="1219" y="197"/>
                      </a:lnTo>
                      <a:lnTo>
                        <a:pt x="1222" y="199"/>
                      </a:lnTo>
                      <a:lnTo>
                        <a:pt x="1225" y="199"/>
                      </a:lnTo>
                      <a:lnTo>
                        <a:pt x="1231" y="199"/>
                      </a:lnTo>
                      <a:lnTo>
                        <a:pt x="1231" y="202"/>
                      </a:lnTo>
                      <a:lnTo>
                        <a:pt x="1236" y="205"/>
                      </a:lnTo>
                      <a:lnTo>
                        <a:pt x="1242" y="199"/>
                      </a:lnTo>
                      <a:lnTo>
                        <a:pt x="1244" y="194"/>
                      </a:lnTo>
                      <a:lnTo>
                        <a:pt x="1247" y="197"/>
                      </a:lnTo>
                      <a:lnTo>
                        <a:pt x="1247" y="194"/>
                      </a:lnTo>
                      <a:lnTo>
                        <a:pt x="1250" y="197"/>
                      </a:lnTo>
                      <a:lnTo>
                        <a:pt x="1253" y="194"/>
                      </a:lnTo>
                      <a:lnTo>
                        <a:pt x="1255" y="197"/>
                      </a:lnTo>
                      <a:lnTo>
                        <a:pt x="1255" y="194"/>
                      </a:lnTo>
                      <a:lnTo>
                        <a:pt x="1258" y="197"/>
                      </a:lnTo>
                      <a:lnTo>
                        <a:pt x="1260" y="199"/>
                      </a:lnTo>
                      <a:lnTo>
                        <a:pt x="1264" y="199"/>
                      </a:lnTo>
                      <a:lnTo>
                        <a:pt x="1267" y="199"/>
                      </a:lnTo>
                      <a:lnTo>
                        <a:pt x="1270" y="199"/>
                      </a:lnTo>
                      <a:lnTo>
                        <a:pt x="1270" y="197"/>
                      </a:lnTo>
                      <a:lnTo>
                        <a:pt x="1270" y="199"/>
                      </a:lnTo>
                      <a:lnTo>
                        <a:pt x="1275" y="199"/>
                      </a:lnTo>
                      <a:lnTo>
                        <a:pt x="1278" y="197"/>
                      </a:lnTo>
                      <a:lnTo>
                        <a:pt x="1278" y="199"/>
                      </a:lnTo>
                      <a:lnTo>
                        <a:pt x="1278" y="197"/>
                      </a:lnTo>
                      <a:lnTo>
                        <a:pt x="1280" y="197"/>
                      </a:lnTo>
                      <a:lnTo>
                        <a:pt x="1280" y="194"/>
                      </a:lnTo>
                      <a:lnTo>
                        <a:pt x="1283" y="197"/>
                      </a:lnTo>
                      <a:lnTo>
                        <a:pt x="1283" y="194"/>
                      </a:lnTo>
                      <a:lnTo>
                        <a:pt x="1288" y="197"/>
                      </a:lnTo>
                      <a:lnTo>
                        <a:pt x="1291" y="199"/>
                      </a:lnTo>
                      <a:lnTo>
                        <a:pt x="1291" y="197"/>
                      </a:lnTo>
                      <a:lnTo>
                        <a:pt x="1294" y="191"/>
                      </a:lnTo>
                      <a:lnTo>
                        <a:pt x="1297" y="194"/>
                      </a:lnTo>
                      <a:lnTo>
                        <a:pt x="1300" y="189"/>
                      </a:lnTo>
                      <a:lnTo>
                        <a:pt x="1303" y="191"/>
                      </a:lnTo>
                      <a:lnTo>
                        <a:pt x="1303" y="189"/>
                      </a:lnTo>
                      <a:lnTo>
                        <a:pt x="1308" y="189"/>
                      </a:lnTo>
                      <a:lnTo>
                        <a:pt x="1311" y="186"/>
                      </a:lnTo>
                      <a:lnTo>
                        <a:pt x="1324" y="186"/>
                      </a:lnTo>
                      <a:lnTo>
                        <a:pt x="1327" y="186"/>
                      </a:lnTo>
                      <a:lnTo>
                        <a:pt x="1331" y="191"/>
                      </a:lnTo>
                      <a:lnTo>
                        <a:pt x="1336" y="189"/>
                      </a:lnTo>
                      <a:lnTo>
                        <a:pt x="1344" y="191"/>
                      </a:lnTo>
                      <a:lnTo>
                        <a:pt x="1349" y="189"/>
                      </a:lnTo>
                      <a:lnTo>
                        <a:pt x="1352" y="189"/>
                      </a:lnTo>
                      <a:lnTo>
                        <a:pt x="1360" y="186"/>
                      </a:lnTo>
                      <a:lnTo>
                        <a:pt x="1360" y="183"/>
                      </a:lnTo>
                      <a:lnTo>
                        <a:pt x="1360" y="180"/>
                      </a:lnTo>
                      <a:lnTo>
                        <a:pt x="1363" y="180"/>
                      </a:lnTo>
                      <a:lnTo>
                        <a:pt x="1369" y="174"/>
                      </a:lnTo>
                      <a:lnTo>
                        <a:pt x="1372" y="174"/>
                      </a:lnTo>
                      <a:lnTo>
                        <a:pt x="1377" y="169"/>
                      </a:lnTo>
                      <a:lnTo>
                        <a:pt x="1382" y="169"/>
                      </a:lnTo>
                      <a:lnTo>
                        <a:pt x="1385" y="169"/>
                      </a:lnTo>
                      <a:lnTo>
                        <a:pt x="1385" y="166"/>
                      </a:lnTo>
                      <a:lnTo>
                        <a:pt x="1388" y="163"/>
                      </a:lnTo>
                      <a:lnTo>
                        <a:pt x="1385" y="163"/>
                      </a:lnTo>
                      <a:lnTo>
                        <a:pt x="1388" y="158"/>
                      </a:lnTo>
                      <a:lnTo>
                        <a:pt x="1388" y="155"/>
                      </a:lnTo>
                      <a:lnTo>
                        <a:pt x="1390" y="150"/>
                      </a:lnTo>
                      <a:lnTo>
                        <a:pt x="1400" y="147"/>
                      </a:lnTo>
                      <a:lnTo>
                        <a:pt x="1402" y="147"/>
                      </a:lnTo>
                      <a:lnTo>
                        <a:pt x="1405" y="147"/>
                      </a:lnTo>
                      <a:lnTo>
                        <a:pt x="1410" y="144"/>
                      </a:lnTo>
                      <a:lnTo>
                        <a:pt x="1410" y="138"/>
                      </a:lnTo>
                      <a:lnTo>
                        <a:pt x="1413" y="141"/>
                      </a:lnTo>
                      <a:lnTo>
                        <a:pt x="1418" y="144"/>
                      </a:lnTo>
                      <a:lnTo>
                        <a:pt x="1418" y="141"/>
                      </a:lnTo>
                      <a:lnTo>
                        <a:pt x="1421" y="141"/>
                      </a:lnTo>
                      <a:lnTo>
                        <a:pt x="1426" y="138"/>
                      </a:lnTo>
                      <a:lnTo>
                        <a:pt x="1429" y="136"/>
                      </a:lnTo>
                      <a:lnTo>
                        <a:pt x="1435" y="138"/>
                      </a:lnTo>
                      <a:lnTo>
                        <a:pt x="1443" y="136"/>
                      </a:lnTo>
                      <a:lnTo>
                        <a:pt x="1454" y="130"/>
                      </a:lnTo>
                      <a:lnTo>
                        <a:pt x="1457" y="128"/>
                      </a:lnTo>
                      <a:lnTo>
                        <a:pt x="1462" y="130"/>
                      </a:lnTo>
                      <a:lnTo>
                        <a:pt x="1462" y="133"/>
                      </a:lnTo>
                      <a:lnTo>
                        <a:pt x="1465" y="130"/>
                      </a:lnTo>
                      <a:lnTo>
                        <a:pt x="1469" y="136"/>
                      </a:lnTo>
                      <a:lnTo>
                        <a:pt x="1477" y="130"/>
                      </a:lnTo>
                      <a:lnTo>
                        <a:pt x="1479" y="130"/>
                      </a:lnTo>
                      <a:lnTo>
                        <a:pt x="1482" y="133"/>
                      </a:lnTo>
                      <a:lnTo>
                        <a:pt x="1490" y="133"/>
                      </a:lnTo>
                      <a:lnTo>
                        <a:pt x="1495" y="136"/>
                      </a:lnTo>
                      <a:lnTo>
                        <a:pt x="1498" y="136"/>
                      </a:lnTo>
                      <a:lnTo>
                        <a:pt x="1498" y="138"/>
                      </a:lnTo>
                      <a:lnTo>
                        <a:pt x="1501" y="138"/>
                      </a:lnTo>
                      <a:lnTo>
                        <a:pt x="1498" y="144"/>
                      </a:lnTo>
                      <a:lnTo>
                        <a:pt x="1501" y="144"/>
                      </a:lnTo>
                      <a:lnTo>
                        <a:pt x="1501" y="147"/>
                      </a:lnTo>
                      <a:lnTo>
                        <a:pt x="1504" y="153"/>
                      </a:lnTo>
                      <a:lnTo>
                        <a:pt x="1518" y="155"/>
                      </a:lnTo>
                      <a:lnTo>
                        <a:pt x="1520" y="158"/>
                      </a:lnTo>
                      <a:lnTo>
                        <a:pt x="1523" y="155"/>
                      </a:lnTo>
                      <a:lnTo>
                        <a:pt x="1526" y="158"/>
                      </a:lnTo>
                      <a:lnTo>
                        <a:pt x="1526" y="161"/>
                      </a:lnTo>
                      <a:lnTo>
                        <a:pt x="1528" y="163"/>
                      </a:lnTo>
                      <a:lnTo>
                        <a:pt x="1531" y="166"/>
                      </a:lnTo>
                      <a:lnTo>
                        <a:pt x="1540" y="169"/>
                      </a:lnTo>
                      <a:lnTo>
                        <a:pt x="1540" y="171"/>
                      </a:lnTo>
                      <a:lnTo>
                        <a:pt x="1540" y="174"/>
                      </a:lnTo>
                      <a:lnTo>
                        <a:pt x="1538" y="171"/>
                      </a:lnTo>
                      <a:lnTo>
                        <a:pt x="1538" y="177"/>
                      </a:lnTo>
                      <a:lnTo>
                        <a:pt x="1540" y="180"/>
                      </a:lnTo>
                      <a:lnTo>
                        <a:pt x="1538" y="183"/>
                      </a:lnTo>
                      <a:lnTo>
                        <a:pt x="1540" y="183"/>
                      </a:lnTo>
                      <a:lnTo>
                        <a:pt x="1540" y="186"/>
                      </a:lnTo>
                      <a:lnTo>
                        <a:pt x="1543" y="186"/>
                      </a:lnTo>
                      <a:lnTo>
                        <a:pt x="1540" y="194"/>
                      </a:lnTo>
                      <a:lnTo>
                        <a:pt x="1538" y="197"/>
                      </a:lnTo>
                      <a:lnTo>
                        <a:pt x="1543" y="199"/>
                      </a:lnTo>
                      <a:lnTo>
                        <a:pt x="1551" y="205"/>
                      </a:lnTo>
                      <a:lnTo>
                        <a:pt x="1551" y="202"/>
                      </a:lnTo>
                      <a:lnTo>
                        <a:pt x="1551" y="205"/>
                      </a:lnTo>
                      <a:lnTo>
                        <a:pt x="1554" y="205"/>
                      </a:lnTo>
                      <a:lnTo>
                        <a:pt x="1559" y="207"/>
                      </a:lnTo>
                      <a:lnTo>
                        <a:pt x="1562" y="207"/>
                      </a:lnTo>
                      <a:lnTo>
                        <a:pt x="1564" y="207"/>
                      </a:lnTo>
                      <a:lnTo>
                        <a:pt x="1570" y="207"/>
                      </a:lnTo>
                      <a:lnTo>
                        <a:pt x="1573" y="207"/>
                      </a:lnTo>
                      <a:lnTo>
                        <a:pt x="1576" y="205"/>
                      </a:lnTo>
                      <a:lnTo>
                        <a:pt x="1579" y="205"/>
                      </a:lnTo>
                      <a:lnTo>
                        <a:pt x="1584" y="205"/>
                      </a:lnTo>
                      <a:lnTo>
                        <a:pt x="1587" y="202"/>
                      </a:lnTo>
                      <a:lnTo>
                        <a:pt x="1592" y="199"/>
                      </a:lnTo>
                      <a:lnTo>
                        <a:pt x="1595" y="194"/>
                      </a:lnTo>
                      <a:lnTo>
                        <a:pt x="1600" y="194"/>
                      </a:lnTo>
                      <a:lnTo>
                        <a:pt x="1603" y="191"/>
                      </a:lnTo>
                      <a:lnTo>
                        <a:pt x="1609" y="191"/>
                      </a:lnTo>
                      <a:lnTo>
                        <a:pt x="1612" y="189"/>
                      </a:lnTo>
                      <a:lnTo>
                        <a:pt x="1615" y="189"/>
                      </a:lnTo>
                      <a:lnTo>
                        <a:pt x="1617" y="186"/>
                      </a:lnTo>
                      <a:lnTo>
                        <a:pt x="1623" y="183"/>
                      </a:lnTo>
                      <a:lnTo>
                        <a:pt x="1625" y="186"/>
                      </a:lnTo>
                      <a:lnTo>
                        <a:pt x="1631" y="186"/>
                      </a:lnTo>
                      <a:lnTo>
                        <a:pt x="1633" y="189"/>
                      </a:lnTo>
                      <a:lnTo>
                        <a:pt x="1636" y="186"/>
                      </a:lnTo>
                      <a:lnTo>
                        <a:pt x="1639" y="191"/>
                      </a:lnTo>
                      <a:lnTo>
                        <a:pt x="1645" y="189"/>
                      </a:lnTo>
                      <a:lnTo>
                        <a:pt x="1648" y="191"/>
                      </a:lnTo>
                      <a:lnTo>
                        <a:pt x="1648" y="189"/>
                      </a:lnTo>
                      <a:lnTo>
                        <a:pt x="1648" y="191"/>
                      </a:lnTo>
                      <a:lnTo>
                        <a:pt x="1650" y="189"/>
                      </a:lnTo>
                      <a:lnTo>
                        <a:pt x="1656" y="189"/>
                      </a:lnTo>
                      <a:lnTo>
                        <a:pt x="1661" y="191"/>
                      </a:lnTo>
                      <a:lnTo>
                        <a:pt x="1664" y="189"/>
                      </a:lnTo>
                      <a:lnTo>
                        <a:pt x="1661" y="186"/>
                      </a:lnTo>
                      <a:lnTo>
                        <a:pt x="1664" y="180"/>
                      </a:lnTo>
                      <a:lnTo>
                        <a:pt x="1664" y="177"/>
                      </a:lnTo>
                      <a:lnTo>
                        <a:pt x="1672" y="169"/>
                      </a:lnTo>
                      <a:lnTo>
                        <a:pt x="1672" y="166"/>
                      </a:lnTo>
                      <a:lnTo>
                        <a:pt x="1672" y="161"/>
                      </a:lnTo>
                      <a:lnTo>
                        <a:pt x="1675" y="155"/>
                      </a:lnTo>
                      <a:lnTo>
                        <a:pt x="1675" y="153"/>
                      </a:lnTo>
                      <a:lnTo>
                        <a:pt x="1672" y="153"/>
                      </a:lnTo>
                      <a:lnTo>
                        <a:pt x="1672" y="150"/>
                      </a:lnTo>
                      <a:lnTo>
                        <a:pt x="1672" y="147"/>
                      </a:lnTo>
                      <a:lnTo>
                        <a:pt x="1672" y="141"/>
                      </a:lnTo>
                      <a:lnTo>
                        <a:pt x="1675" y="144"/>
                      </a:lnTo>
                      <a:lnTo>
                        <a:pt x="1675" y="141"/>
                      </a:lnTo>
                      <a:lnTo>
                        <a:pt x="1678" y="141"/>
                      </a:lnTo>
                      <a:lnTo>
                        <a:pt x="1681" y="136"/>
                      </a:lnTo>
                      <a:lnTo>
                        <a:pt x="1684" y="130"/>
                      </a:lnTo>
                      <a:lnTo>
                        <a:pt x="1694" y="128"/>
                      </a:lnTo>
                      <a:lnTo>
                        <a:pt x="1697" y="128"/>
                      </a:lnTo>
                      <a:lnTo>
                        <a:pt x="1700" y="130"/>
                      </a:lnTo>
                      <a:lnTo>
                        <a:pt x="1702" y="128"/>
                      </a:lnTo>
                      <a:lnTo>
                        <a:pt x="1705" y="128"/>
                      </a:lnTo>
                      <a:lnTo>
                        <a:pt x="1705" y="125"/>
                      </a:lnTo>
                      <a:lnTo>
                        <a:pt x="1714" y="122"/>
                      </a:lnTo>
                      <a:lnTo>
                        <a:pt x="1717" y="120"/>
                      </a:lnTo>
                      <a:lnTo>
                        <a:pt x="1722" y="114"/>
                      </a:lnTo>
                      <a:lnTo>
                        <a:pt x="1725" y="112"/>
                      </a:lnTo>
                      <a:lnTo>
                        <a:pt x="1727" y="108"/>
                      </a:lnTo>
                      <a:lnTo>
                        <a:pt x="1730" y="105"/>
                      </a:lnTo>
                      <a:lnTo>
                        <a:pt x="1741" y="94"/>
                      </a:lnTo>
                      <a:lnTo>
                        <a:pt x="1744" y="89"/>
                      </a:lnTo>
                      <a:lnTo>
                        <a:pt x="1747" y="86"/>
                      </a:lnTo>
                      <a:lnTo>
                        <a:pt x="1763" y="81"/>
                      </a:lnTo>
                      <a:lnTo>
                        <a:pt x="1761" y="72"/>
                      </a:lnTo>
                      <a:lnTo>
                        <a:pt x="1763" y="64"/>
                      </a:lnTo>
                      <a:lnTo>
                        <a:pt x="1766" y="61"/>
                      </a:lnTo>
                      <a:lnTo>
                        <a:pt x="1769" y="53"/>
                      </a:lnTo>
                      <a:lnTo>
                        <a:pt x="1774" y="51"/>
                      </a:lnTo>
                      <a:lnTo>
                        <a:pt x="1783" y="51"/>
                      </a:lnTo>
                      <a:lnTo>
                        <a:pt x="1788" y="43"/>
                      </a:lnTo>
                      <a:lnTo>
                        <a:pt x="1791" y="39"/>
                      </a:lnTo>
                      <a:lnTo>
                        <a:pt x="1791" y="34"/>
                      </a:lnTo>
                      <a:lnTo>
                        <a:pt x="1794" y="34"/>
                      </a:lnTo>
                      <a:lnTo>
                        <a:pt x="1796" y="34"/>
                      </a:lnTo>
                      <a:lnTo>
                        <a:pt x="1802" y="28"/>
                      </a:lnTo>
                      <a:lnTo>
                        <a:pt x="1814" y="25"/>
                      </a:lnTo>
                      <a:lnTo>
                        <a:pt x="1819" y="28"/>
                      </a:lnTo>
                      <a:lnTo>
                        <a:pt x="1819" y="34"/>
                      </a:lnTo>
                      <a:lnTo>
                        <a:pt x="1824" y="36"/>
                      </a:lnTo>
                      <a:lnTo>
                        <a:pt x="1816" y="207"/>
                      </a:lnTo>
                      <a:lnTo>
                        <a:pt x="1814" y="207"/>
                      </a:lnTo>
                      <a:lnTo>
                        <a:pt x="1807" y="210"/>
                      </a:lnTo>
                      <a:lnTo>
                        <a:pt x="1802" y="207"/>
                      </a:lnTo>
                      <a:lnTo>
                        <a:pt x="1796" y="213"/>
                      </a:lnTo>
                      <a:lnTo>
                        <a:pt x="1794" y="213"/>
                      </a:lnTo>
                      <a:lnTo>
                        <a:pt x="1786" y="213"/>
                      </a:lnTo>
                      <a:lnTo>
                        <a:pt x="1783" y="213"/>
                      </a:lnTo>
                      <a:lnTo>
                        <a:pt x="1778" y="213"/>
                      </a:lnTo>
                      <a:lnTo>
                        <a:pt x="1774" y="213"/>
                      </a:lnTo>
                      <a:lnTo>
                        <a:pt x="1771" y="215"/>
                      </a:lnTo>
                      <a:lnTo>
                        <a:pt x="1758" y="222"/>
                      </a:lnTo>
                      <a:lnTo>
                        <a:pt x="1753" y="224"/>
                      </a:lnTo>
                      <a:lnTo>
                        <a:pt x="1753" y="233"/>
                      </a:lnTo>
                      <a:lnTo>
                        <a:pt x="1750" y="235"/>
                      </a:lnTo>
                      <a:lnTo>
                        <a:pt x="1744" y="238"/>
                      </a:lnTo>
                      <a:lnTo>
                        <a:pt x="1744" y="240"/>
                      </a:lnTo>
                      <a:lnTo>
                        <a:pt x="1741" y="243"/>
                      </a:lnTo>
                      <a:lnTo>
                        <a:pt x="1735" y="255"/>
                      </a:lnTo>
                      <a:lnTo>
                        <a:pt x="1735" y="258"/>
                      </a:lnTo>
                      <a:lnTo>
                        <a:pt x="1733" y="263"/>
                      </a:lnTo>
                      <a:lnTo>
                        <a:pt x="1730" y="268"/>
                      </a:lnTo>
                      <a:lnTo>
                        <a:pt x="1719" y="282"/>
                      </a:lnTo>
                      <a:lnTo>
                        <a:pt x="1719" y="288"/>
                      </a:lnTo>
                      <a:lnTo>
                        <a:pt x="1717" y="291"/>
                      </a:lnTo>
                      <a:lnTo>
                        <a:pt x="1714" y="296"/>
                      </a:lnTo>
                      <a:lnTo>
                        <a:pt x="1714" y="299"/>
                      </a:lnTo>
                      <a:lnTo>
                        <a:pt x="1714" y="301"/>
                      </a:lnTo>
                      <a:lnTo>
                        <a:pt x="1717" y="307"/>
                      </a:lnTo>
                      <a:lnTo>
                        <a:pt x="1714" y="310"/>
                      </a:lnTo>
                      <a:lnTo>
                        <a:pt x="1717" y="310"/>
                      </a:lnTo>
                      <a:lnTo>
                        <a:pt x="1714" y="315"/>
                      </a:lnTo>
                      <a:lnTo>
                        <a:pt x="1717" y="318"/>
                      </a:lnTo>
                      <a:lnTo>
                        <a:pt x="1717" y="315"/>
                      </a:lnTo>
                      <a:lnTo>
                        <a:pt x="1719" y="315"/>
                      </a:lnTo>
                      <a:lnTo>
                        <a:pt x="1722" y="312"/>
                      </a:lnTo>
                      <a:lnTo>
                        <a:pt x="1725" y="315"/>
                      </a:lnTo>
                      <a:lnTo>
                        <a:pt x="1730" y="315"/>
                      </a:lnTo>
                      <a:lnTo>
                        <a:pt x="1733" y="315"/>
                      </a:lnTo>
                      <a:lnTo>
                        <a:pt x="1733" y="312"/>
                      </a:lnTo>
                      <a:lnTo>
                        <a:pt x="1735" y="312"/>
                      </a:lnTo>
                      <a:lnTo>
                        <a:pt x="1741" y="312"/>
                      </a:lnTo>
                      <a:lnTo>
                        <a:pt x="1744" y="318"/>
                      </a:lnTo>
                      <a:lnTo>
                        <a:pt x="1747" y="318"/>
                      </a:lnTo>
                      <a:lnTo>
                        <a:pt x="1744" y="315"/>
                      </a:lnTo>
                      <a:lnTo>
                        <a:pt x="1747" y="315"/>
                      </a:lnTo>
                      <a:lnTo>
                        <a:pt x="1747" y="320"/>
                      </a:lnTo>
                      <a:lnTo>
                        <a:pt x="1753" y="318"/>
                      </a:lnTo>
                      <a:lnTo>
                        <a:pt x="1755" y="320"/>
                      </a:lnTo>
                      <a:lnTo>
                        <a:pt x="1755" y="324"/>
                      </a:lnTo>
                      <a:lnTo>
                        <a:pt x="1758" y="320"/>
                      </a:lnTo>
                      <a:lnTo>
                        <a:pt x="1758" y="324"/>
                      </a:lnTo>
                      <a:lnTo>
                        <a:pt x="1761" y="324"/>
                      </a:lnTo>
                      <a:lnTo>
                        <a:pt x="1761" y="327"/>
                      </a:lnTo>
                      <a:lnTo>
                        <a:pt x="1763" y="327"/>
                      </a:lnTo>
                      <a:lnTo>
                        <a:pt x="1766" y="329"/>
                      </a:lnTo>
                      <a:lnTo>
                        <a:pt x="1766" y="332"/>
                      </a:lnTo>
                      <a:lnTo>
                        <a:pt x="1766" y="335"/>
                      </a:lnTo>
                      <a:lnTo>
                        <a:pt x="1769" y="332"/>
                      </a:lnTo>
                      <a:lnTo>
                        <a:pt x="1771" y="332"/>
                      </a:lnTo>
                      <a:lnTo>
                        <a:pt x="1771" y="335"/>
                      </a:lnTo>
                      <a:lnTo>
                        <a:pt x="1771" y="337"/>
                      </a:lnTo>
                      <a:lnTo>
                        <a:pt x="1774" y="337"/>
                      </a:lnTo>
                      <a:lnTo>
                        <a:pt x="1774" y="340"/>
                      </a:lnTo>
                      <a:lnTo>
                        <a:pt x="1778" y="340"/>
                      </a:lnTo>
                      <a:lnTo>
                        <a:pt x="1780" y="340"/>
                      </a:lnTo>
                      <a:lnTo>
                        <a:pt x="1778" y="343"/>
                      </a:lnTo>
                      <a:lnTo>
                        <a:pt x="1780" y="343"/>
                      </a:lnTo>
                      <a:lnTo>
                        <a:pt x="1780" y="345"/>
                      </a:lnTo>
                      <a:lnTo>
                        <a:pt x="1783" y="348"/>
                      </a:lnTo>
                      <a:lnTo>
                        <a:pt x="1786" y="351"/>
                      </a:lnTo>
                      <a:lnTo>
                        <a:pt x="1799" y="348"/>
                      </a:lnTo>
                      <a:lnTo>
                        <a:pt x="1802" y="348"/>
                      </a:lnTo>
                      <a:lnTo>
                        <a:pt x="1805" y="351"/>
                      </a:lnTo>
                      <a:lnTo>
                        <a:pt x="1807" y="348"/>
                      </a:lnTo>
                      <a:lnTo>
                        <a:pt x="1810" y="348"/>
                      </a:lnTo>
                      <a:lnTo>
                        <a:pt x="1810" y="351"/>
                      </a:lnTo>
                      <a:lnTo>
                        <a:pt x="1816" y="351"/>
                      </a:lnTo>
                      <a:lnTo>
                        <a:pt x="1819" y="357"/>
                      </a:lnTo>
                      <a:lnTo>
                        <a:pt x="1822" y="351"/>
                      </a:lnTo>
                      <a:lnTo>
                        <a:pt x="1824" y="348"/>
                      </a:lnTo>
                      <a:lnTo>
                        <a:pt x="1827" y="345"/>
                      </a:lnTo>
                      <a:lnTo>
                        <a:pt x="1832" y="343"/>
                      </a:lnTo>
                      <a:lnTo>
                        <a:pt x="1832" y="340"/>
                      </a:lnTo>
                      <a:lnTo>
                        <a:pt x="1843" y="340"/>
                      </a:lnTo>
                      <a:lnTo>
                        <a:pt x="1847" y="343"/>
                      </a:lnTo>
                      <a:lnTo>
                        <a:pt x="1847" y="340"/>
                      </a:lnTo>
                      <a:lnTo>
                        <a:pt x="1852" y="340"/>
                      </a:lnTo>
                      <a:lnTo>
                        <a:pt x="1852" y="343"/>
                      </a:lnTo>
                      <a:lnTo>
                        <a:pt x="1855" y="348"/>
                      </a:lnTo>
                      <a:lnTo>
                        <a:pt x="1863" y="351"/>
                      </a:lnTo>
                      <a:lnTo>
                        <a:pt x="1863" y="353"/>
                      </a:lnTo>
                      <a:lnTo>
                        <a:pt x="1868" y="353"/>
                      </a:lnTo>
                      <a:lnTo>
                        <a:pt x="1871" y="351"/>
                      </a:lnTo>
                      <a:lnTo>
                        <a:pt x="1873" y="351"/>
                      </a:lnTo>
                      <a:lnTo>
                        <a:pt x="1873" y="357"/>
                      </a:lnTo>
                      <a:lnTo>
                        <a:pt x="1879" y="357"/>
                      </a:lnTo>
                      <a:lnTo>
                        <a:pt x="1885" y="360"/>
                      </a:lnTo>
                      <a:lnTo>
                        <a:pt x="1891" y="360"/>
                      </a:lnTo>
                      <a:lnTo>
                        <a:pt x="1893" y="362"/>
                      </a:lnTo>
                      <a:lnTo>
                        <a:pt x="1896" y="362"/>
                      </a:lnTo>
                      <a:lnTo>
                        <a:pt x="1899" y="365"/>
                      </a:lnTo>
                      <a:lnTo>
                        <a:pt x="1904" y="368"/>
                      </a:lnTo>
                      <a:lnTo>
                        <a:pt x="1907" y="365"/>
                      </a:lnTo>
                      <a:lnTo>
                        <a:pt x="1909" y="365"/>
                      </a:lnTo>
                      <a:lnTo>
                        <a:pt x="1912" y="360"/>
                      </a:lnTo>
                      <a:lnTo>
                        <a:pt x="1916" y="357"/>
                      </a:lnTo>
                      <a:lnTo>
                        <a:pt x="1916" y="348"/>
                      </a:lnTo>
                      <a:lnTo>
                        <a:pt x="1918" y="348"/>
                      </a:lnTo>
                      <a:lnTo>
                        <a:pt x="1918" y="345"/>
                      </a:lnTo>
                      <a:lnTo>
                        <a:pt x="1921" y="348"/>
                      </a:lnTo>
                      <a:lnTo>
                        <a:pt x="1921" y="345"/>
                      </a:lnTo>
                      <a:lnTo>
                        <a:pt x="1924" y="343"/>
                      </a:lnTo>
                      <a:lnTo>
                        <a:pt x="1924" y="345"/>
                      </a:lnTo>
                      <a:lnTo>
                        <a:pt x="1926" y="343"/>
                      </a:lnTo>
                      <a:lnTo>
                        <a:pt x="1926" y="345"/>
                      </a:lnTo>
                      <a:lnTo>
                        <a:pt x="1929" y="345"/>
                      </a:lnTo>
                      <a:lnTo>
                        <a:pt x="1929" y="343"/>
                      </a:lnTo>
                      <a:lnTo>
                        <a:pt x="1932" y="348"/>
                      </a:lnTo>
                      <a:lnTo>
                        <a:pt x="1934" y="345"/>
                      </a:lnTo>
                      <a:lnTo>
                        <a:pt x="1934" y="348"/>
                      </a:lnTo>
                      <a:lnTo>
                        <a:pt x="1937" y="348"/>
                      </a:lnTo>
                      <a:lnTo>
                        <a:pt x="1945" y="353"/>
                      </a:lnTo>
                      <a:lnTo>
                        <a:pt x="1954" y="351"/>
                      </a:lnTo>
                      <a:lnTo>
                        <a:pt x="1962" y="353"/>
                      </a:lnTo>
                      <a:lnTo>
                        <a:pt x="1965" y="353"/>
                      </a:lnTo>
                      <a:lnTo>
                        <a:pt x="1968" y="351"/>
                      </a:lnTo>
                      <a:lnTo>
                        <a:pt x="1978" y="348"/>
                      </a:lnTo>
                      <a:lnTo>
                        <a:pt x="1995" y="351"/>
                      </a:lnTo>
                      <a:lnTo>
                        <a:pt x="2003" y="353"/>
                      </a:lnTo>
                      <a:lnTo>
                        <a:pt x="2006" y="353"/>
                      </a:lnTo>
                      <a:lnTo>
                        <a:pt x="2011" y="357"/>
                      </a:lnTo>
                      <a:lnTo>
                        <a:pt x="2017" y="360"/>
                      </a:lnTo>
                      <a:lnTo>
                        <a:pt x="2020" y="360"/>
                      </a:lnTo>
                      <a:lnTo>
                        <a:pt x="2023" y="365"/>
                      </a:lnTo>
                      <a:lnTo>
                        <a:pt x="2031" y="368"/>
                      </a:lnTo>
                      <a:lnTo>
                        <a:pt x="2072" y="368"/>
                      </a:lnTo>
                      <a:lnTo>
                        <a:pt x="2070" y="370"/>
                      </a:lnTo>
                      <a:lnTo>
                        <a:pt x="2067" y="373"/>
                      </a:lnTo>
                      <a:lnTo>
                        <a:pt x="2064" y="373"/>
                      </a:lnTo>
                      <a:lnTo>
                        <a:pt x="2054" y="373"/>
                      </a:lnTo>
                      <a:lnTo>
                        <a:pt x="2050" y="376"/>
                      </a:lnTo>
                      <a:lnTo>
                        <a:pt x="2045" y="379"/>
                      </a:lnTo>
                      <a:lnTo>
                        <a:pt x="2042" y="384"/>
                      </a:lnTo>
                      <a:lnTo>
                        <a:pt x="2045" y="393"/>
                      </a:lnTo>
                      <a:lnTo>
                        <a:pt x="2047" y="409"/>
                      </a:lnTo>
                      <a:lnTo>
                        <a:pt x="2047" y="417"/>
                      </a:lnTo>
                      <a:lnTo>
                        <a:pt x="2056" y="442"/>
                      </a:lnTo>
                      <a:lnTo>
                        <a:pt x="2056" y="453"/>
                      </a:lnTo>
                      <a:lnTo>
                        <a:pt x="2059" y="465"/>
                      </a:lnTo>
                      <a:lnTo>
                        <a:pt x="2059" y="481"/>
                      </a:lnTo>
                      <a:lnTo>
                        <a:pt x="2072" y="494"/>
                      </a:lnTo>
                      <a:lnTo>
                        <a:pt x="2083" y="494"/>
                      </a:lnTo>
                      <a:lnTo>
                        <a:pt x="2089" y="498"/>
                      </a:lnTo>
                      <a:lnTo>
                        <a:pt x="2092" y="498"/>
                      </a:lnTo>
                      <a:lnTo>
                        <a:pt x="2095" y="486"/>
                      </a:lnTo>
                      <a:lnTo>
                        <a:pt x="2108" y="478"/>
                      </a:lnTo>
                      <a:lnTo>
                        <a:pt x="2123" y="475"/>
                      </a:lnTo>
                      <a:lnTo>
                        <a:pt x="2133" y="475"/>
                      </a:lnTo>
                      <a:lnTo>
                        <a:pt x="2152" y="481"/>
                      </a:lnTo>
                      <a:lnTo>
                        <a:pt x="2172" y="481"/>
                      </a:lnTo>
                      <a:lnTo>
                        <a:pt x="2175" y="481"/>
                      </a:lnTo>
                      <a:lnTo>
                        <a:pt x="2183" y="483"/>
                      </a:lnTo>
                      <a:lnTo>
                        <a:pt x="2188" y="486"/>
                      </a:lnTo>
                      <a:lnTo>
                        <a:pt x="2197" y="491"/>
                      </a:lnTo>
                      <a:lnTo>
                        <a:pt x="2197" y="494"/>
                      </a:lnTo>
                      <a:lnTo>
                        <a:pt x="2200" y="498"/>
                      </a:lnTo>
                      <a:lnTo>
                        <a:pt x="2197" y="506"/>
                      </a:lnTo>
                      <a:lnTo>
                        <a:pt x="2188" y="514"/>
                      </a:lnTo>
                      <a:lnTo>
                        <a:pt x="2183" y="525"/>
                      </a:lnTo>
                      <a:lnTo>
                        <a:pt x="2167" y="527"/>
                      </a:lnTo>
                      <a:lnTo>
                        <a:pt x="2158" y="527"/>
                      </a:lnTo>
                      <a:lnTo>
                        <a:pt x="2156" y="527"/>
                      </a:lnTo>
                      <a:lnTo>
                        <a:pt x="2152" y="531"/>
                      </a:lnTo>
                      <a:lnTo>
                        <a:pt x="2152" y="534"/>
                      </a:lnTo>
                      <a:lnTo>
                        <a:pt x="2149" y="544"/>
                      </a:lnTo>
                      <a:lnTo>
                        <a:pt x="2141" y="550"/>
                      </a:lnTo>
                      <a:lnTo>
                        <a:pt x="2139" y="555"/>
                      </a:lnTo>
                      <a:lnTo>
                        <a:pt x="2136" y="563"/>
                      </a:lnTo>
                      <a:lnTo>
                        <a:pt x="2125" y="567"/>
                      </a:lnTo>
                      <a:lnTo>
                        <a:pt x="2116" y="577"/>
                      </a:lnTo>
                      <a:lnTo>
                        <a:pt x="2116" y="580"/>
                      </a:lnTo>
                      <a:lnTo>
                        <a:pt x="2119" y="585"/>
                      </a:lnTo>
                      <a:lnTo>
                        <a:pt x="2119" y="591"/>
                      </a:lnTo>
                      <a:lnTo>
                        <a:pt x="2125" y="596"/>
                      </a:lnTo>
                      <a:lnTo>
                        <a:pt x="2128" y="603"/>
                      </a:lnTo>
                      <a:lnTo>
                        <a:pt x="2125" y="608"/>
                      </a:lnTo>
                      <a:lnTo>
                        <a:pt x="2133" y="608"/>
                      </a:lnTo>
                      <a:lnTo>
                        <a:pt x="2136" y="611"/>
                      </a:lnTo>
                      <a:lnTo>
                        <a:pt x="2136" y="619"/>
                      </a:lnTo>
                      <a:lnTo>
                        <a:pt x="2152" y="621"/>
                      </a:lnTo>
                      <a:lnTo>
                        <a:pt x="2164" y="627"/>
                      </a:lnTo>
                      <a:lnTo>
                        <a:pt x="2164" y="629"/>
                      </a:lnTo>
                      <a:lnTo>
                        <a:pt x="2167" y="629"/>
                      </a:lnTo>
                      <a:lnTo>
                        <a:pt x="2172" y="632"/>
                      </a:lnTo>
                      <a:lnTo>
                        <a:pt x="2177" y="629"/>
                      </a:lnTo>
                      <a:lnTo>
                        <a:pt x="2188" y="636"/>
                      </a:lnTo>
                      <a:lnTo>
                        <a:pt x="2197" y="636"/>
                      </a:lnTo>
                      <a:lnTo>
                        <a:pt x="2202" y="638"/>
                      </a:lnTo>
                      <a:lnTo>
                        <a:pt x="2210" y="638"/>
                      </a:lnTo>
                      <a:lnTo>
                        <a:pt x="2216" y="641"/>
                      </a:lnTo>
                      <a:lnTo>
                        <a:pt x="2230" y="636"/>
                      </a:lnTo>
                      <a:lnTo>
                        <a:pt x="2233" y="636"/>
                      </a:lnTo>
                      <a:lnTo>
                        <a:pt x="2246" y="638"/>
                      </a:lnTo>
                      <a:lnTo>
                        <a:pt x="2249" y="641"/>
                      </a:lnTo>
                      <a:lnTo>
                        <a:pt x="2254" y="638"/>
                      </a:lnTo>
                      <a:lnTo>
                        <a:pt x="2266" y="638"/>
                      </a:lnTo>
                      <a:lnTo>
                        <a:pt x="2269" y="636"/>
                      </a:lnTo>
                      <a:lnTo>
                        <a:pt x="2277" y="629"/>
                      </a:lnTo>
                      <a:lnTo>
                        <a:pt x="2282" y="627"/>
                      </a:lnTo>
                      <a:lnTo>
                        <a:pt x="2282" y="624"/>
                      </a:lnTo>
                      <a:lnTo>
                        <a:pt x="2290" y="624"/>
                      </a:lnTo>
                      <a:lnTo>
                        <a:pt x="2297" y="627"/>
                      </a:lnTo>
                      <a:lnTo>
                        <a:pt x="2297" y="629"/>
                      </a:lnTo>
                      <a:lnTo>
                        <a:pt x="2305" y="632"/>
                      </a:lnTo>
                      <a:lnTo>
                        <a:pt x="2315" y="638"/>
                      </a:lnTo>
                      <a:lnTo>
                        <a:pt x="2326" y="638"/>
                      </a:lnTo>
                      <a:lnTo>
                        <a:pt x="2335" y="654"/>
                      </a:lnTo>
                      <a:lnTo>
                        <a:pt x="2335" y="657"/>
                      </a:lnTo>
                      <a:lnTo>
                        <a:pt x="2340" y="660"/>
                      </a:lnTo>
                      <a:lnTo>
                        <a:pt x="2340" y="663"/>
                      </a:lnTo>
                      <a:lnTo>
                        <a:pt x="2340" y="665"/>
                      </a:lnTo>
                      <a:lnTo>
                        <a:pt x="2346" y="668"/>
                      </a:lnTo>
                      <a:lnTo>
                        <a:pt x="2346" y="672"/>
                      </a:lnTo>
                      <a:lnTo>
                        <a:pt x="2354" y="680"/>
                      </a:lnTo>
                      <a:lnTo>
                        <a:pt x="2354" y="682"/>
                      </a:lnTo>
                      <a:lnTo>
                        <a:pt x="2359" y="682"/>
                      </a:lnTo>
                      <a:lnTo>
                        <a:pt x="2356" y="685"/>
                      </a:lnTo>
                      <a:lnTo>
                        <a:pt x="2366" y="685"/>
                      </a:lnTo>
                      <a:lnTo>
                        <a:pt x="2366" y="690"/>
                      </a:lnTo>
                      <a:lnTo>
                        <a:pt x="2363" y="690"/>
                      </a:lnTo>
                      <a:lnTo>
                        <a:pt x="2368" y="690"/>
                      </a:lnTo>
                      <a:lnTo>
                        <a:pt x="2368" y="693"/>
                      </a:lnTo>
                      <a:lnTo>
                        <a:pt x="2371" y="693"/>
                      </a:lnTo>
                      <a:lnTo>
                        <a:pt x="2371" y="696"/>
                      </a:lnTo>
                      <a:lnTo>
                        <a:pt x="2376" y="698"/>
                      </a:lnTo>
                      <a:lnTo>
                        <a:pt x="2382" y="701"/>
                      </a:lnTo>
                      <a:lnTo>
                        <a:pt x="2387" y="701"/>
                      </a:lnTo>
                      <a:lnTo>
                        <a:pt x="2387" y="696"/>
                      </a:lnTo>
                      <a:lnTo>
                        <a:pt x="2395" y="696"/>
                      </a:lnTo>
                      <a:lnTo>
                        <a:pt x="2401" y="698"/>
                      </a:lnTo>
                      <a:lnTo>
                        <a:pt x="2401" y="696"/>
                      </a:lnTo>
                      <a:lnTo>
                        <a:pt x="2407" y="701"/>
                      </a:lnTo>
                      <a:lnTo>
                        <a:pt x="2417" y="701"/>
                      </a:lnTo>
                      <a:lnTo>
                        <a:pt x="2423" y="704"/>
                      </a:lnTo>
                      <a:lnTo>
                        <a:pt x="2423" y="707"/>
                      </a:lnTo>
                      <a:lnTo>
                        <a:pt x="2425" y="704"/>
                      </a:lnTo>
                      <a:lnTo>
                        <a:pt x="2425" y="707"/>
                      </a:lnTo>
                      <a:lnTo>
                        <a:pt x="2432" y="704"/>
                      </a:lnTo>
                      <a:lnTo>
                        <a:pt x="2434" y="704"/>
                      </a:lnTo>
                      <a:lnTo>
                        <a:pt x="2434" y="707"/>
                      </a:lnTo>
                      <a:lnTo>
                        <a:pt x="2437" y="707"/>
                      </a:lnTo>
                      <a:lnTo>
                        <a:pt x="2437" y="710"/>
                      </a:lnTo>
                      <a:lnTo>
                        <a:pt x="2440" y="713"/>
                      </a:lnTo>
                      <a:lnTo>
                        <a:pt x="2440" y="718"/>
                      </a:lnTo>
                      <a:lnTo>
                        <a:pt x="2443" y="718"/>
                      </a:lnTo>
                      <a:lnTo>
                        <a:pt x="2445" y="721"/>
                      </a:lnTo>
                      <a:lnTo>
                        <a:pt x="2448" y="724"/>
                      </a:lnTo>
                      <a:lnTo>
                        <a:pt x="2451" y="724"/>
                      </a:lnTo>
                      <a:lnTo>
                        <a:pt x="2453" y="726"/>
                      </a:lnTo>
                      <a:lnTo>
                        <a:pt x="2456" y="726"/>
                      </a:lnTo>
                      <a:lnTo>
                        <a:pt x="2461" y="729"/>
                      </a:lnTo>
                      <a:lnTo>
                        <a:pt x="2461" y="726"/>
                      </a:lnTo>
                      <a:lnTo>
                        <a:pt x="2465" y="729"/>
                      </a:lnTo>
                      <a:lnTo>
                        <a:pt x="2465" y="734"/>
                      </a:lnTo>
                      <a:lnTo>
                        <a:pt x="2468" y="737"/>
                      </a:lnTo>
                      <a:lnTo>
                        <a:pt x="2465" y="737"/>
                      </a:lnTo>
                      <a:lnTo>
                        <a:pt x="2470" y="743"/>
                      </a:lnTo>
                      <a:lnTo>
                        <a:pt x="2473" y="743"/>
                      </a:lnTo>
                      <a:lnTo>
                        <a:pt x="2470" y="743"/>
                      </a:lnTo>
                      <a:lnTo>
                        <a:pt x="2470" y="746"/>
                      </a:lnTo>
                      <a:lnTo>
                        <a:pt x="2473" y="746"/>
                      </a:lnTo>
                      <a:lnTo>
                        <a:pt x="2476" y="749"/>
                      </a:lnTo>
                      <a:lnTo>
                        <a:pt x="2481" y="749"/>
                      </a:lnTo>
                      <a:lnTo>
                        <a:pt x="2484" y="746"/>
                      </a:lnTo>
                      <a:lnTo>
                        <a:pt x="2486" y="749"/>
                      </a:lnTo>
                      <a:lnTo>
                        <a:pt x="2489" y="749"/>
                      </a:lnTo>
                      <a:lnTo>
                        <a:pt x="2492" y="751"/>
                      </a:lnTo>
                      <a:lnTo>
                        <a:pt x="2492" y="754"/>
                      </a:lnTo>
                      <a:lnTo>
                        <a:pt x="2492" y="751"/>
                      </a:lnTo>
                      <a:lnTo>
                        <a:pt x="2497" y="754"/>
                      </a:lnTo>
                      <a:lnTo>
                        <a:pt x="2501" y="754"/>
                      </a:lnTo>
                      <a:lnTo>
                        <a:pt x="2503" y="757"/>
                      </a:lnTo>
                      <a:lnTo>
                        <a:pt x="2501" y="759"/>
                      </a:lnTo>
                      <a:lnTo>
                        <a:pt x="2501" y="762"/>
                      </a:lnTo>
                      <a:lnTo>
                        <a:pt x="2503" y="759"/>
                      </a:lnTo>
                      <a:lnTo>
                        <a:pt x="2506" y="757"/>
                      </a:lnTo>
                      <a:lnTo>
                        <a:pt x="2509" y="754"/>
                      </a:lnTo>
                      <a:lnTo>
                        <a:pt x="2509" y="757"/>
                      </a:lnTo>
                      <a:lnTo>
                        <a:pt x="2514" y="757"/>
                      </a:lnTo>
                      <a:lnTo>
                        <a:pt x="2517" y="759"/>
                      </a:lnTo>
                      <a:lnTo>
                        <a:pt x="2520" y="759"/>
                      </a:lnTo>
                      <a:lnTo>
                        <a:pt x="2522" y="759"/>
                      </a:lnTo>
                      <a:lnTo>
                        <a:pt x="2520" y="754"/>
                      </a:lnTo>
                      <a:lnTo>
                        <a:pt x="2522" y="757"/>
                      </a:lnTo>
                      <a:lnTo>
                        <a:pt x="2525" y="759"/>
                      </a:lnTo>
                      <a:lnTo>
                        <a:pt x="2528" y="759"/>
                      </a:lnTo>
                      <a:lnTo>
                        <a:pt x="2530" y="759"/>
                      </a:lnTo>
                      <a:lnTo>
                        <a:pt x="2530" y="757"/>
                      </a:lnTo>
                      <a:lnTo>
                        <a:pt x="2534" y="759"/>
                      </a:lnTo>
                      <a:lnTo>
                        <a:pt x="2539" y="759"/>
                      </a:lnTo>
                      <a:lnTo>
                        <a:pt x="2539" y="762"/>
                      </a:lnTo>
                      <a:lnTo>
                        <a:pt x="2542" y="762"/>
                      </a:lnTo>
                      <a:lnTo>
                        <a:pt x="2545" y="767"/>
                      </a:lnTo>
                      <a:lnTo>
                        <a:pt x="2550" y="767"/>
                      </a:lnTo>
                      <a:lnTo>
                        <a:pt x="2553" y="773"/>
                      </a:lnTo>
                      <a:lnTo>
                        <a:pt x="2553" y="776"/>
                      </a:lnTo>
                      <a:lnTo>
                        <a:pt x="2555" y="776"/>
                      </a:lnTo>
                      <a:lnTo>
                        <a:pt x="2558" y="782"/>
                      </a:lnTo>
                      <a:lnTo>
                        <a:pt x="2561" y="782"/>
                      </a:lnTo>
                      <a:lnTo>
                        <a:pt x="2561" y="784"/>
                      </a:lnTo>
                      <a:lnTo>
                        <a:pt x="2566" y="790"/>
                      </a:lnTo>
                      <a:lnTo>
                        <a:pt x="2570" y="790"/>
                      </a:lnTo>
                      <a:lnTo>
                        <a:pt x="2570" y="787"/>
                      </a:lnTo>
                      <a:lnTo>
                        <a:pt x="2572" y="787"/>
                      </a:lnTo>
                      <a:lnTo>
                        <a:pt x="2575" y="787"/>
                      </a:lnTo>
                      <a:lnTo>
                        <a:pt x="2572" y="790"/>
                      </a:lnTo>
                      <a:lnTo>
                        <a:pt x="2572" y="793"/>
                      </a:lnTo>
                      <a:lnTo>
                        <a:pt x="2581" y="793"/>
                      </a:lnTo>
                      <a:lnTo>
                        <a:pt x="2591" y="798"/>
                      </a:lnTo>
                      <a:lnTo>
                        <a:pt x="2589" y="798"/>
                      </a:lnTo>
                      <a:lnTo>
                        <a:pt x="2594" y="801"/>
                      </a:lnTo>
                      <a:lnTo>
                        <a:pt x="2591" y="801"/>
                      </a:lnTo>
                      <a:lnTo>
                        <a:pt x="2597" y="803"/>
                      </a:lnTo>
                      <a:lnTo>
                        <a:pt x="2599" y="801"/>
                      </a:lnTo>
                      <a:lnTo>
                        <a:pt x="2606" y="806"/>
                      </a:lnTo>
                      <a:lnTo>
                        <a:pt x="2611" y="806"/>
                      </a:lnTo>
                      <a:lnTo>
                        <a:pt x="2614" y="806"/>
                      </a:lnTo>
                      <a:lnTo>
                        <a:pt x="2611" y="806"/>
                      </a:lnTo>
                      <a:lnTo>
                        <a:pt x="2611" y="810"/>
                      </a:lnTo>
                      <a:lnTo>
                        <a:pt x="2614" y="810"/>
                      </a:lnTo>
                      <a:lnTo>
                        <a:pt x="2614" y="812"/>
                      </a:lnTo>
                      <a:lnTo>
                        <a:pt x="2616" y="810"/>
                      </a:lnTo>
                      <a:lnTo>
                        <a:pt x="2619" y="815"/>
                      </a:lnTo>
                      <a:lnTo>
                        <a:pt x="2622" y="815"/>
                      </a:lnTo>
                      <a:lnTo>
                        <a:pt x="2624" y="812"/>
                      </a:lnTo>
                      <a:lnTo>
                        <a:pt x="2627" y="815"/>
                      </a:lnTo>
                      <a:lnTo>
                        <a:pt x="2624" y="815"/>
                      </a:lnTo>
                      <a:lnTo>
                        <a:pt x="2630" y="820"/>
                      </a:lnTo>
                      <a:lnTo>
                        <a:pt x="2632" y="818"/>
                      </a:lnTo>
                      <a:lnTo>
                        <a:pt x="2647" y="826"/>
                      </a:lnTo>
                      <a:lnTo>
                        <a:pt x="2652" y="823"/>
                      </a:lnTo>
                      <a:lnTo>
                        <a:pt x="2655" y="823"/>
                      </a:lnTo>
                      <a:lnTo>
                        <a:pt x="2660" y="826"/>
                      </a:lnTo>
                      <a:lnTo>
                        <a:pt x="2666" y="826"/>
                      </a:lnTo>
                      <a:lnTo>
                        <a:pt x="2666" y="828"/>
                      </a:lnTo>
                      <a:lnTo>
                        <a:pt x="2672" y="826"/>
                      </a:lnTo>
                      <a:lnTo>
                        <a:pt x="2675" y="823"/>
                      </a:lnTo>
                      <a:lnTo>
                        <a:pt x="2680" y="823"/>
                      </a:lnTo>
                      <a:lnTo>
                        <a:pt x="2680" y="826"/>
                      </a:lnTo>
                      <a:lnTo>
                        <a:pt x="2688" y="826"/>
                      </a:lnTo>
                      <a:lnTo>
                        <a:pt x="2691" y="828"/>
                      </a:lnTo>
                      <a:lnTo>
                        <a:pt x="2693" y="828"/>
                      </a:lnTo>
                      <a:lnTo>
                        <a:pt x="2699" y="828"/>
                      </a:lnTo>
                      <a:lnTo>
                        <a:pt x="2708" y="831"/>
                      </a:lnTo>
                      <a:lnTo>
                        <a:pt x="2711" y="831"/>
                      </a:lnTo>
                      <a:lnTo>
                        <a:pt x="2711" y="834"/>
                      </a:lnTo>
                      <a:lnTo>
                        <a:pt x="2713" y="836"/>
                      </a:lnTo>
                      <a:lnTo>
                        <a:pt x="2719" y="836"/>
                      </a:lnTo>
                      <a:lnTo>
                        <a:pt x="2721" y="834"/>
                      </a:lnTo>
                      <a:lnTo>
                        <a:pt x="2727" y="839"/>
                      </a:lnTo>
                      <a:lnTo>
                        <a:pt x="2729" y="836"/>
                      </a:lnTo>
                      <a:lnTo>
                        <a:pt x="2732" y="836"/>
                      </a:lnTo>
                      <a:lnTo>
                        <a:pt x="2735" y="839"/>
                      </a:lnTo>
                      <a:lnTo>
                        <a:pt x="2741" y="839"/>
                      </a:lnTo>
                      <a:lnTo>
                        <a:pt x="2744" y="839"/>
                      </a:lnTo>
                      <a:lnTo>
                        <a:pt x="2746" y="842"/>
                      </a:lnTo>
                      <a:lnTo>
                        <a:pt x="2749" y="842"/>
                      </a:lnTo>
                      <a:lnTo>
                        <a:pt x="2746" y="845"/>
                      </a:lnTo>
                      <a:lnTo>
                        <a:pt x="2749" y="845"/>
                      </a:lnTo>
                      <a:lnTo>
                        <a:pt x="2749" y="848"/>
                      </a:lnTo>
                      <a:lnTo>
                        <a:pt x="2752" y="848"/>
                      </a:lnTo>
                      <a:lnTo>
                        <a:pt x="2754" y="851"/>
                      </a:lnTo>
                      <a:lnTo>
                        <a:pt x="2762" y="851"/>
                      </a:lnTo>
                      <a:lnTo>
                        <a:pt x="2762" y="853"/>
                      </a:lnTo>
                      <a:lnTo>
                        <a:pt x="2762" y="856"/>
                      </a:lnTo>
                      <a:lnTo>
                        <a:pt x="2765" y="859"/>
                      </a:lnTo>
                      <a:lnTo>
                        <a:pt x="2765" y="862"/>
                      </a:lnTo>
                      <a:lnTo>
                        <a:pt x="2773" y="859"/>
                      </a:lnTo>
                      <a:lnTo>
                        <a:pt x="2780" y="862"/>
                      </a:lnTo>
                      <a:lnTo>
                        <a:pt x="2790" y="862"/>
                      </a:lnTo>
                      <a:lnTo>
                        <a:pt x="2790" y="870"/>
                      </a:lnTo>
                      <a:lnTo>
                        <a:pt x="2793" y="870"/>
                      </a:lnTo>
                      <a:lnTo>
                        <a:pt x="2796" y="872"/>
                      </a:lnTo>
                      <a:lnTo>
                        <a:pt x="2798" y="875"/>
                      </a:lnTo>
                      <a:lnTo>
                        <a:pt x="2801" y="872"/>
                      </a:lnTo>
                      <a:lnTo>
                        <a:pt x="2801" y="878"/>
                      </a:lnTo>
                      <a:lnTo>
                        <a:pt x="2810" y="881"/>
                      </a:lnTo>
                      <a:lnTo>
                        <a:pt x="2813" y="884"/>
                      </a:lnTo>
                      <a:lnTo>
                        <a:pt x="2815" y="881"/>
                      </a:lnTo>
                      <a:lnTo>
                        <a:pt x="2821" y="881"/>
                      </a:lnTo>
                      <a:lnTo>
                        <a:pt x="2821" y="878"/>
                      </a:lnTo>
                      <a:lnTo>
                        <a:pt x="2823" y="878"/>
                      </a:lnTo>
                      <a:lnTo>
                        <a:pt x="2826" y="878"/>
                      </a:lnTo>
                      <a:lnTo>
                        <a:pt x="2829" y="881"/>
                      </a:lnTo>
                      <a:lnTo>
                        <a:pt x="2831" y="878"/>
                      </a:lnTo>
                      <a:lnTo>
                        <a:pt x="2831" y="881"/>
                      </a:lnTo>
                      <a:lnTo>
                        <a:pt x="2837" y="881"/>
                      </a:lnTo>
                      <a:lnTo>
                        <a:pt x="2839" y="887"/>
                      </a:lnTo>
                      <a:lnTo>
                        <a:pt x="2846" y="889"/>
                      </a:lnTo>
                      <a:lnTo>
                        <a:pt x="2857" y="889"/>
                      </a:lnTo>
                      <a:lnTo>
                        <a:pt x="2862" y="895"/>
                      </a:lnTo>
                      <a:lnTo>
                        <a:pt x="2867" y="895"/>
                      </a:lnTo>
                      <a:lnTo>
                        <a:pt x="2870" y="897"/>
                      </a:lnTo>
                      <a:lnTo>
                        <a:pt x="2875" y="897"/>
                      </a:lnTo>
                      <a:lnTo>
                        <a:pt x="2879" y="897"/>
                      </a:lnTo>
                      <a:lnTo>
                        <a:pt x="2879" y="900"/>
                      </a:lnTo>
                      <a:lnTo>
                        <a:pt x="2887" y="905"/>
                      </a:lnTo>
                      <a:lnTo>
                        <a:pt x="2887" y="908"/>
                      </a:lnTo>
                      <a:lnTo>
                        <a:pt x="2890" y="905"/>
                      </a:lnTo>
                      <a:lnTo>
                        <a:pt x="2892" y="908"/>
                      </a:lnTo>
                      <a:lnTo>
                        <a:pt x="2898" y="913"/>
                      </a:lnTo>
                      <a:lnTo>
                        <a:pt x="2898" y="920"/>
                      </a:lnTo>
                      <a:lnTo>
                        <a:pt x="2900" y="920"/>
                      </a:lnTo>
                      <a:lnTo>
                        <a:pt x="2903" y="928"/>
                      </a:lnTo>
                      <a:lnTo>
                        <a:pt x="2906" y="930"/>
                      </a:lnTo>
                      <a:lnTo>
                        <a:pt x="2906" y="933"/>
                      </a:lnTo>
                      <a:lnTo>
                        <a:pt x="2900" y="936"/>
                      </a:lnTo>
                      <a:lnTo>
                        <a:pt x="2908" y="939"/>
                      </a:lnTo>
                      <a:lnTo>
                        <a:pt x="2912" y="936"/>
                      </a:lnTo>
                      <a:lnTo>
                        <a:pt x="2915" y="939"/>
                      </a:lnTo>
                      <a:lnTo>
                        <a:pt x="2912" y="941"/>
                      </a:lnTo>
                      <a:lnTo>
                        <a:pt x="2920" y="941"/>
                      </a:lnTo>
                      <a:lnTo>
                        <a:pt x="2920" y="950"/>
                      </a:lnTo>
                      <a:lnTo>
                        <a:pt x="2928" y="950"/>
                      </a:lnTo>
                      <a:lnTo>
                        <a:pt x="2934" y="956"/>
                      </a:lnTo>
                      <a:lnTo>
                        <a:pt x="2936" y="958"/>
                      </a:lnTo>
                      <a:lnTo>
                        <a:pt x="2939" y="961"/>
                      </a:lnTo>
                      <a:lnTo>
                        <a:pt x="2939" y="964"/>
                      </a:lnTo>
                      <a:lnTo>
                        <a:pt x="2934" y="966"/>
                      </a:lnTo>
                      <a:lnTo>
                        <a:pt x="2928" y="972"/>
                      </a:lnTo>
                      <a:lnTo>
                        <a:pt x="2928" y="977"/>
                      </a:lnTo>
                      <a:lnTo>
                        <a:pt x="2942" y="997"/>
                      </a:lnTo>
                      <a:lnTo>
                        <a:pt x="2944" y="1002"/>
                      </a:lnTo>
                      <a:lnTo>
                        <a:pt x="2944" y="1010"/>
                      </a:lnTo>
                      <a:lnTo>
                        <a:pt x="2944" y="1016"/>
                      </a:lnTo>
                      <a:lnTo>
                        <a:pt x="2939" y="1016"/>
                      </a:lnTo>
                      <a:lnTo>
                        <a:pt x="2936" y="1016"/>
                      </a:lnTo>
                      <a:lnTo>
                        <a:pt x="2928" y="1013"/>
                      </a:lnTo>
                      <a:lnTo>
                        <a:pt x="2926" y="1013"/>
                      </a:lnTo>
                      <a:lnTo>
                        <a:pt x="2920" y="1016"/>
                      </a:lnTo>
                      <a:lnTo>
                        <a:pt x="2917" y="1022"/>
                      </a:lnTo>
                      <a:lnTo>
                        <a:pt x="2908" y="1043"/>
                      </a:lnTo>
                      <a:lnTo>
                        <a:pt x="2906" y="1046"/>
                      </a:lnTo>
                      <a:lnTo>
                        <a:pt x="2900" y="1058"/>
                      </a:lnTo>
                      <a:lnTo>
                        <a:pt x="2898" y="1071"/>
                      </a:lnTo>
                      <a:lnTo>
                        <a:pt x="2895" y="1074"/>
                      </a:lnTo>
                      <a:lnTo>
                        <a:pt x="2895" y="1077"/>
                      </a:lnTo>
                      <a:lnTo>
                        <a:pt x="2903" y="1085"/>
                      </a:lnTo>
                      <a:lnTo>
                        <a:pt x="2898" y="1094"/>
                      </a:lnTo>
                      <a:lnTo>
                        <a:pt x="2900" y="1099"/>
                      </a:lnTo>
                      <a:lnTo>
                        <a:pt x="2900" y="1102"/>
                      </a:lnTo>
                      <a:lnTo>
                        <a:pt x="2906" y="1107"/>
                      </a:lnTo>
                      <a:lnTo>
                        <a:pt x="2906" y="1120"/>
                      </a:lnTo>
                      <a:lnTo>
                        <a:pt x="2906" y="1132"/>
                      </a:lnTo>
                      <a:lnTo>
                        <a:pt x="2908" y="1137"/>
                      </a:lnTo>
                      <a:lnTo>
                        <a:pt x="2915" y="1145"/>
                      </a:lnTo>
                      <a:lnTo>
                        <a:pt x="2915" y="1148"/>
                      </a:lnTo>
                      <a:lnTo>
                        <a:pt x="2915" y="1151"/>
                      </a:lnTo>
                      <a:lnTo>
                        <a:pt x="2915" y="1154"/>
                      </a:lnTo>
                      <a:lnTo>
                        <a:pt x="2906" y="1173"/>
                      </a:lnTo>
                      <a:lnTo>
                        <a:pt x="2912" y="1187"/>
                      </a:lnTo>
                      <a:lnTo>
                        <a:pt x="2912" y="1198"/>
                      </a:lnTo>
                      <a:lnTo>
                        <a:pt x="2908" y="1207"/>
                      </a:lnTo>
                      <a:lnTo>
                        <a:pt x="2906" y="1209"/>
                      </a:lnTo>
                      <a:lnTo>
                        <a:pt x="2912" y="1217"/>
                      </a:lnTo>
                      <a:lnTo>
                        <a:pt x="2915" y="1223"/>
                      </a:lnTo>
                      <a:lnTo>
                        <a:pt x="2915" y="1229"/>
                      </a:lnTo>
                      <a:lnTo>
                        <a:pt x="2903" y="1250"/>
                      </a:lnTo>
                      <a:lnTo>
                        <a:pt x="2895" y="1270"/>
                      </a:lnTo>
                      <a:lnTo>
                        <a:pt x="2890" y="1286"/>
                      </a:lnTo>
                      <a:lnTo>
                        <a:pt x="2887" y="1292"/>
                      </a:lnTo>
                      <a:lnTo>
                        <a:pt x="2873" y="1303"/>
                      </a:lnTo>
                      <a:lnTo>
                        <a:pt x="2867" y="1306"/>
                      </a:lnTo>
                      <a:lnTo>
                        <a:pt x="2862" y="1311"/>
                      </a:lnTo>
                      <a:lnTo>
                        <a:pt x="2857" y="1314"/>
                      </a:lnTo>
                      <a:lnTo>
                        <a:pt x="2854" y="1314"/>
                      </a:lnTo>
                      <a:lnTo>
                        <a:pt x="2846" y="1317"/>
                      </a:lnTo>
                      <a:lnTo>
                        <a:pt x="2834" y="1319"/>
                      </a:lnTo>
                      <a:lnTo>
                        <a:pt x="2818" y="1319"/>
                      </a:lnTo>
                      <a:lnTo>
                        <a:pt x="2793" y="1325"/>
                      </a:lnTo>
                      <a:lnTo>
                        <a:pt x="2785" y="1330"/>
                      </a:lnTo>
                      <a:lnTo>
                        <a:pt x="2777" y="1336"/>
                      </a:lnTo>
                      <a:lnTo>
                        <a:pt x="2773" y="1336"/>
                      </a:lnTo>
                      <a:lnTo>
                        <a:pt x="2770" y="1339"/>
                      </a:lnTo>
                      <a:lnTo>
                        <a:pt x="2768" y="1350"/>
                      </a:lnTo>
                      <a:lnTo>
                        <a:pt x="2762" y="1353"/>
                      </a:lnTo>
                      <a:lnTo>
                        <a:pt x="2749" y="1378"/>
                      </a:lnTo>
                      <a:lnTo>
                        <a:pt x="2749" y="1380"/>
                      </a:lnTo>
                      <a:lnTo>
                        <a:pt x="2744" y="1383"/>
                      </a:lnTo>
                      <a:lnTo>
                        <a:pt x="2732" y="1391"/>
                      </a:lnTo>
                      <a:lnTo>
                        <a:pt x="2727" y="1396"/>
                      </a:lnTo>
                      <a:lnTo>
                        <a:pt x="2713" y="1419"/>
                      </a:lnTo>
                      <a:lnTo>
                        <a:pt x="2711" y="1427"/>
                      </a:lnTo>
                      <a:lnTo>
                        <a:pt x="2701" y="1435"/>
                      </a:lnTo>
                      <a:lnTo>
                        <a:pt x="2683" y="1447"/>
                      </a:lnTo>
                      <a:lnTo>
                        <a:pt x="2680" y="1449"/>
                      </a:lnTo>
                      <a:lnTo>
                        <a:pt x="2677" y="1452"/>
                      </a:lnTo>
                      <a:lnTo>
                        <a:pt x="2677" y="1455"/>
                      </a:lnTo>
                      <a:lnTo>
                        <a:pt x="2675" y="1457"/>
                      </a:lnTo>
                      <a:lnTo>
                        <a:pt x="2672" y="1460"/>
                      </a:lnTo>
                      <a:lnTo>
                        <a:pt x="2658" y="1491"/>
                      </a:lnTo>
                      <a:lnTo>
                        <a:pt x="2655" y="1504"/>
                      </a:lnTo>
                      <a:lnTo>
                        <a:pt x="2660" y="1513"/>
                      </a:lnTo>
                      <a:lnTo>
                        <a:pt x="2660" y="1516"/>
                      </a:lnTo>
                      <a:lnTo>
                        <a:pt x="2660" y="1518"/>
                      </a:lnTo>
                      <a:lnTo>
                        <a:pt x="2658" y="1532"/>
                      </a:lnTo>
                      <a:lnTo>
                        <a:pt x="2658" y="1546"/>
                      </a:lnTo>
                      <a:lnTo>
                        <a:pt x="2660" y="1554"/>
                      </a:lnTo>
                      <a:lnTo>
                        <a:pt x="2666" y="1559"/>
                      </a:lnTo>
                      <a:lnTo>
                        <a:pt x="2663" y="1579"/>
                      </a:lnTo>
                      <a:lnTo>
                        <a:pt x="2660" y="1585"/>
                      </a:lnTo>
                      <a:lnTo>
                        <a:pt x="2644" y="1595"/>
                      </a:lnTo>
                      <a:lnTo>
                        <a:pt x="2641" y="1595"/>
                      </a:lnTo>
                      <a:lnTo>
                        <a:pt x="2624" y="1595"/>
                      </a:lnTo>
                      <a:lnTo>
                        <a:pt x="2619" y="1598"/>
                      </a:lnTo>
                      <a:lnTo>
                        <a:pt x="2608" y="1611"/>
                      </a:lnTo>
                      <a:lnTo>
                        <a:pt x="2606" y="1620"/>
                      </a:lnTo>
                      <a:lnTo>
                        <a:pt x="2599" y="1629"/>
                      </a:lnTo>
                      <a:lnTo>
                        <a:pt x="2599" y="1637"/>
                      </a:lnTo>
                      <a:lnTo>
                        <a:pt x="2594" y="1651"/>
                      </a:lnTo>
                      <a:lnTo>
                        <a:pt x="2586" y="1654"/>
                      </a:lnTo>
                      <a:lnTo>
                        <a:pt x="2583" y="1659"/>
                      </a:lnTo>
                      <a:lnTo>
                        <a:pt x="2581" y="1659"/>
                      </a:lnTo>
                      <a:lnTo>
                        <a:pt x="2572" y="1662"/>
                      </a:lnTo>
                      <a:lnTo>
                        <a:pt x="2561" y="1662"/>
                      </a:lnTo>
                      <a:lnTo>
                        <a:pt x="2558" y="1664"/>
                      </a:lnTo>
                      <a:lnTo>
                        <a:pt x="2555" y="1670"/>
                      </a:lnTo>
                      <a:lnTo>
                        <a:pt x="2558" y="1684"/>
                      </a:lnTo>
                      <a:lnTo>
                        <a:pt x="2555" y="1690"/>
                      </a:lnTo>
                      <a:lnTo>
                        <a:pt x="2558" y="1692"/>
                      </a:lnTo>
                      <a:lnTo>
                        <a:pt x="2563" y="1700"/>
                      </a:lnTo>
                      <a:lnTo>
                        <a:pt x="2566" y="1716"/>
                      </a:lnTo>
                      <a:lnTo>
                        <a:pt x="2570" y="1720"/>
                      </a:lnTo>
                      <a:lnTo>
                        <a:pt x="2566" y="1733"/>
                      </a:lnTo>
                      <a:lnTo>
                        <a:pt x="2563" y="1744"/>
                      </a:lnTo>
                      <a:lnTo>
                        <a:pt x="2563" y="1747"/>
                      </a:lnTo>
                      <a:lnTo>
                        <a:pt x="2563" y="1749"/>
                      </a:lnTo>
                      <a:lnTo>
                        <a:pt x="2563" y="1753"/>
                      </a:lnTo>
                      <a:lnTo>
                        <a:pt x="2561" y="1756"/>
                      </a:lnTo>
                      <a:lnTo>
                        <a:pt x="2545" y="1769"/>
                      </a:lnTo>
                      <a:lnTo>
                        <a:pt x="2542" y="1780"/>
                      </a:lnTo>
                      <a:lnTo>
                        <a:pt x="2539" y="1789"/>
                      </a:lnTo>
                      <a:lnTo>
                        <a:pt x="2537" y="1797"/>
                      </a:lnTo>
                      <a:lnTo>
                        <a:pt x="2528" y="1805"/>
                      </a:lnTo>
                      <a:lnTo>
                        <a:pt x="2522" y="1813"/>
                      </a:lnTo>
                      <a:lnTo>
                        <a:pt x="2520" y="1816"/>
                      </a:lnTo>
                      <a:lnTo>
                        <a:pt x="2509" y="1822"/>
                      </a:lnTo>
                      <a:lnTo>
                        <a:pt x="2501" y="1822"/>
                      </a:lnTo>
                      <a:lnTo>
                        <a:pt x="2484" y="1818"/>
                      </a:lnTo>
                      <a:lnTo>
                        <a:pt x="2481" y="1818"/>
                      </a:lnTo>
                      <a:lnTo>
                        <a:pt x="2476" y="1822"/>
                      </a:lnTo>
                      <a:lnTo>
                        <a:pt x="2470" y="1833"/>
                      </a:lnTo>
                      <a:lnTo>
                        <a:pt x="2465" y="1841"/>
                      </a:lnTo>
                      <a:lnTo>
                        <a:pt x="2468" y="1846"/>
                      </a:lnTo>
                      <a:lnTo>
                        <a:pt x="2481" y="1858"/>
                      </a:lnTo>
                      <a:lnTo>
                        <a:pt x="2481" y="1866"/>
                      </a:lnTo>
                      <a:lnTo>
                        <a:pt x="2486" y="1877"/>
                      </a:lnTo>
                      <a:lnTo>
                        <a:pt x="2486" y="1885"/>
                      </a:lnTo>
                      <a:lnTo>
                        <a:pt x="2486" y="1887"/>
                      </a:lnTo>
                      <a:lnTo>
                        <a:pt x="2476" y="1907"/>
                      </a:lnTo>
                      <a:lnTo>
                        <a:pt x="2470" y="1913"/>
                      </a:lnTo>
                      <a:lnTo>
                        <a:pt x="2468" y="1918"/>
                      </a:lnTo>
                      <a:lnTo>
                        <a:pt x="2451" y="1923"/>
                      </a:lnTo>
                      <a:lnTo>
                        <a:pt x="2443" y="1930"/>
                      </a:lnTo>
                      <a:lnTo>
                        <a:pt x="2434" y="1948"/>
                      </a:lnTo>
                      <a:lnTo>
                        <a:pt x="2434" y="1954"/>
                      </a:lnTo>
                      <a:lnTo>
                        <a:pt x="2432" y="1963"/>
                      </a:lnTo>
                      <a:lnTo>
                        <a:pt x="2412" y="1976"/>
                      </a:lnTo>
                      <a:lnTo>
                        <a:pt x="2407" y="1984"/>
                      </a:lnTo>
                      <a:lnTo>
                        <a:pt x="2401" y="1987"/>
                      </a:lnTo>
                      <a:lnTo>
                        <a:pt x="2401" y="1990"/>
                      </a:lnTo>
                      <a:lnTo>
                        <a:pt x="2395" y="1990"/>
                      </a:lnTo>
                      <a:lnTo>
                        <a:pt x="2382" y="2007"/>
                      </a:lnTo>
                      <a:lnTo>
                        <a:pt x="2379" y="2015"/>
                      </a:lnTo>
                      <a:lnTo>
                        <a:pt x="2368" y="2051"/>
                      </a:lnTo>
                      <a:lnTo>
                        <a:pt x="2354" y="2070"/>
                      </a:lnTo>
                      <a:lnTo>
                        <a:pt x="2348" y="2076"/>
                      </a:lnTo>
                      <a:lnTo>
                        <a:pt x="2346" y="2078"/>
                      </a:lnTo>
                      <a:lnTo>
                        <a:pt x="2343" y="2086"/>
                      </a:lnTo>
                      <a:lnTo>
                        <a:pt x="2323" y="2100"/>
                      </a:lnTo>
                      <a:lnTo>
                        <a:pt x="2321" y="2104"/>
                      </a:lnTo>
                      <a:lnTo>
                        <a:pt x="2313" y="2112"/>
                      </a:lnTo>
                      <a:lnTo>
                        <a:pt x="2310" y="2117"/>
                      </a:lnTo>
                      <a:lnTo>
                        <a:pt x="2307" y="2117"/>
                      </a:lnTo>
                      <a:lnTo>
                        <a:pt x="2305" y="2120"/>
                      </a:lnTo>
                      <a:lnTo>
                        <a:pt x="2297" y="2122"/>
                      </a:lnTo>
                      <a:lnTo>
                        <a:pt x="2285" y="2128"/>
                      </a:lnTo>
                      <a:lnTo>
                        <a:pt x="2271" y="2130"/>
                      </a:lnTo>
                      <a:lnTo>
                        <a:pt x="2263" y="2139"/>
                      </a:lnTo>
                      <a:lnTo>
                        <a:pt x="2254" y="2145"/>
                      </a:lnTo>
                      <a:lnTo>
                        <a:pt x="2249" y="2147"/>
                      </a:lnTo>
                      <a:lnTo>
                        <a:pt x="2241" y="2153"/>
                      </a:lnTo>
                      <a:lnTo>
                        <a:pt x="2225" y="2158"/>
                      </a:lnTo>
                      <a:lnTo>
                        <a:pt x="2213" y="2166"/>
                      </a:lnTo>
                      <a:lnTo>
                        <a:pt x="2205" y="2169"/>
                      </a:lnTo>
                      <a:lnTo>
                        <a:pt x="2183" y="2183"/>
                      </a:lnTo>
                      <a:lnTo>
                        <a:pt x="2180" y="2189"/>
                      </a:lnTo>
                      <a:lnTo>
                        <a:pt x="2167" y="2199"/>
                      </a:lnTo>
                      <a:lnTo>
                        <a:pt x="2161" y="2211"/>
                      </a:lnTo>
                      <a:lnTo>
                        <a:pt x="2158" y="2211"/>
                      </a:lnTo>
                      <a:lnTo>
                        <a:pt x="2147" y="2216"/>
                      </a:lnTo>
                      <a:lnTo>
                        <a:pt x="2125" y="2222"/>
                      </a:lnTo>
                      <a:lnTo>
                        <a:pt x="2123" y="2224"/>
                      </a:lnTo>
                      <a:lnTo>
                        <a:pt x="2119" y="2224"/>
                      </a:lnTo>
                      <a:lnTo>
                        <a:pt x="2103" y="2232"/>
                      </a:lnTo>
                      <a:lnTo>
                        <a:pt x="2098" y="2241"/>
                      </a:lnTo>
                      <a:lnTo>
                        <a:pt x="2095" y="2244"/>
                      </a:lnTo>
                      <a:lnTo>
                        <a:pt x="2078" y="2250"/>
                      </a:lnTo>
                      <a:lnTo>
                        <a:pt x="2075" y="2252"/>
                      </a:lnTo>
                      <a:lnTo>
                        <a:pt x="2067" y="2260"/>
                      </a:lnTo>
                      <a:lnTo>
                        <a:pt x="2059" y="2271"/>
                      </a:lnTo>
                      <a:lnTo>
                        <a:pt x="2056" y="2277"/>
                      </a:lnTo>
                      <a:lnTo>
                        <a:pt x="2056" y="2280"/>
                      </a:lnTo>
                      <a:lnTo>
                        <a:pt x="2056" y="2283"/>
                      </a:lnTo>
                      <a:lnTo>
                        <a:pt x="2059" y="2285"/>
                      </a:lnTo>
                      <a:lnTo>
                        <a:pt x="2050" y="2299"/>
                      </a:lnTo>
                      <a:lnTo>
                        <a:pt x="2047" y="2299"/>
                      </a:lnTo>
                      <a:lnTo>
                        <a:pt x="2029" y="2324"/>
                      </a:lnTo>
                      <a:lnTo>
                        <a:pt x="2023" y="2329"/>
                      </a:lnTo>
                      <a:lnTo>
                        <a:pt x="2020" y="2332"/>
                      </a:lnTo>
                      <a:lnTo>
                        <a:pt x="2011" y="2332"/>
                      </a:lnTo>
                      <a:lnTo>
                        <a:pt x="2003" y="2332"/>
                      </a:lnTo>
                      <a:lnTo>
                        <a:pt x="2003" y="2335"/>
                      </a:lnTo>
                      <a:lnTo>
                        <a:pt x="2001" y="2335"/>
                      </a:lnTo>
                      <a:lnTo>
                        <a:pt x="1976" y="2343"/>
                      </a:lnTo>
                      <a:lnTo>
                        <a:pt x="1968" y="2346"/>
                      </a:lnTo>
                      <a:lnTo>
                        <a:pt x="1962" y="2349"/>
                      </a:lnTo>
                      <a:lnTo>
                        <a:pt x="1957" y="2352"/>
                      </a:lnTo>
                      <a:lnTo>
                        <a:pt x="1954" y="2354"/>
                      </a:lnTo>
                      <a:lnTo>
                        <a:pt x="1948" y="2362"/>
                      </a:lnTo>
                      <a:lnTo>
                        <a:pt x="1937" y="2365"/>
                      </a:lnTo>
                      <a:lnTo>
                        <a:pt x="1934" y="2365"/>
                      </a:lnTo>
                      <a:lnTo>
                        <a:pt x="1934" y="2368"/>
                      </a:lnTo>
                      <a:lnTo>
                        <a:pt x="1926" y="2376"/>
                      </a:lnTo>
                      <a:lnTo>
                        <a:pt x="1918" y="2378"/>
                      </a:lnTo>
                      <a:lnTo>
                        <a:pt x="1904" y="2387"/>
                      </a:lnTo>
                      <a:lnTo>
                        <a:pt x="1891" y="2393"/>
                      </a:lnTo>
                      <a:lnTo>
                        <a:pt x="1885" y="2396"/>
                      </a:lnTo>
                      <a:lnTo>
                        <a:pt x="1879" y="2398"/>
                      </a:lnTo>
                      <a:lnTo>
                        <a:pt x="1873" y="2406"/>
                      </a:lnTo>
                      <a:lnTo>
                        <a:pt x="1873" y="2409"/>
                      </a:lnTo>
                      <a:lnTo>
                        <a:pt x="1868" y="2414"/>
                      </a:lnTo>
                      <a:lnTo>
                        <a:pt x="1863" y="2418"/>
                      </a:lnTo>
                      <a:lnTo>
                        <a:pt x="1855" y="2423"/>
                      </a:lnTo>
                      <a:lnTo>
                        <a:pt x="1852" y="2434"/>
                      </a:lnTo>
                      <a:lnTo>
                        <a:pt x="1843" y="2445"/>
                      </a:lnTo>
                      <a:lnTo>
                        <a:pt x="1843" y="2451"/>
                      </a:lnTo>
                      <a:lnTo>
                        <a:pt x="1843" y="2498"/>
                      </a:lnTo>
                      <a:lnTo>
                        <a:pt x="1832" y="2508"/>
                      </a:lnTo>
                      <a:lnTo>
                        <a:pt x="1832" y="2514"/>
                      </a:lnTo>
                      <a:lnTo>
                        <a:pt x="1822" y="2531"/>
                      </a:lnTo>
                      <a:lnTo>
                        <a:pt x="1816" y="2550"/>
                      </a:lnTo>
                      <a:lnTo>
                        <a:pt x="1810" y="2564"/>
                      </a:lnTo>
                      <a:lnTo>
                        <a:pt x="1810" y="2567"/>
                      </a:lnTo>
                      <a:lnTo>
                        <a:pt x="1805" y="2577"/>
                      </a:lnTo>
                      <a:lnTo>
                        <a:pt x="1791" y="2597"/>
                      </a:lnTo>
                      <a:lnTo>
                        <a:pt x="1788" y="2600"/>
                      </a:lnTo>
                      <a:lnTo>
                        <a:pt x="1769" y="2605"/>
                      </a:lnTo>
                      <a:lnTo>
                        <a:pt x="1744" y="2621"/>
                      </a:lnTo>
                      <a:lnTo>
                        <a:pt x="1722" y="2633"/>
                      </a:lnTo>
                      <a:lnTo>
                        <a:pt x="1711" y="2630"/>
                      </a:lnTo>
                      <a:lnTo>
                        <a:pt x="1709" y="2633"/>
                      </a:lnTo>
                      <a:lnTo>
                        <a:pt x="1702" y="2636"/>
                      </a:lnTo>
                      <a:lnTo>
                        <a:pt x="1702" y="2638"/>
                      </a:lnTo>
                      <a:lnTo>
                        <a:pt x="1692" y="2657"/>
                      </a:lnTo>
                      <a:lnTo>
                        <a:pt x="1692" y="2674"/>
                      </a:lnTo>
                      <a:lnTo>
                        <a:pt x="1686" y="2690"/>
                      </a:lnTo>
                      <a:lnTo>
                        <a:pt x="1684" y="2707"/>
                      </a:lnTo>
                      <a:lnTo>
                        <a:pt x="1681" y="2718"/>
                      </a:lnTo>
                      <a:lnTo>
                        <a:pt x="1678" y="2723"/>
                      </a:lnTo>
                      <a:lnTo>
                        <a:pt x="1675" y="2733"/>
                      </a:lnTo>
                      <a:lnTo>
                        <a:pt x="1672" y="2749"/>
                      </a:lnTo>
                      <a:lnTo>
                        <a:pt x="1672" y="2751"/>
                      </a:lnTo>
                      <a:lnTo>
                        <a:pt x="1664" y="2766"/>
                      </a:lnTo>
                      <a:lnTo>
                        <a:pt x="1661" y="2782"/>
                      </a:lnTo>
                      <a:lnTo>
                        <a:pt x="1658" y="2790"/>
                      </a:lnTo>
                      <a:lnTo>
                        <a:pt x="1661" y="2792"/>
                      </a:lnTo>
                      <a:lnTo>
                        <a:pt x="1658" y="2798"/>
                      </a:lnTo>
                      <a:lnTo>
                        <a:pt x="1661" y="2807"/>
                      </a:lnTo>
                      <a:lnTo>
                        <a:pt x="1661" y="2818"/>
                      </a:lnTo>
                      <a:lnTo>
                        <a:pt x="1653" y="2843"/>
                      </a:lnTo>
                      <a:lnTo>
                        <a:pt x="1650" y="2848"/>
                      </a:lnTo>
                      <a:lnTo>
                        <a:pt x="1642" y="2856"/>
                      </a:lnTo>
                      <a:lnTo>
                        <a:pt x="1625" y="2864"/>
                      </a:lnTo>
                      <a:lnTo>
                        <a:pt x="1595" y="2887"/>
                      </a:lnTo>
                      <a:lnTo>
                        <a:pt x="1584" y="2889"/>
                      </a:lnTo>
                      <a:lnTo>
                        <a:pt x="1581" y="2889"/>
                      </a:lnTo>
                      <a:lnTo>
                        <a:pt x="1579" y="2892"/>
                      </a:lnTo>
                      <a:lnTo>
                        <a:pt x="1567" y="2884"/>
                      </a:lnTo>
                      <a:lnTo>
                        <a:pt x="1567" y="2879"/>
                      </a:lnTo>
                      <a:lnTo>
                        <a:pt x="1564" y="2873"/>
                      </a:lnTo>
                      <a:lnTo>
                        <a:pt x="1564" y="2867"/>
                      </a:lnTo>
                      <a:lnTo>
                        <a:pt x="1556" y="2864"/>
                      </a:lnTo>
                      <a:lnTo>
                        <a:pt x="1551" y="2867"/>
                      </a:lnTo>
                      <a:lnTo>
                        <a:pt x="1546" y="2861"/>
                      </a:lnTo>
                      <a:lnTo>
                        <a:pt x="1540" y="2859"/>
                      </a:lnTo>
                      <a:lnTo>
                        <a:pt x="1531" y="2851"/>
                      </a:lnTo>
                      <a:lnTo>
                        <a:pt x="1526" y="2848"/>
                      </a:lnTo>
                      <a:lnTo>
                        <a:pt x="1520" y="2835"/>
                      </a:lnTo>
                      <a:lnTo>
                        <a:pt x="1520" y="2828"/>
                      </a:lnTo>
                      <a:lnTo>
                        <a:pt x="1518" y="2826"/>
                      </a:lnTo>
                      <a:lnTo>
                        <a:pt x="1512" y="2823"/>
                      </a:lnTo>
                      <a:lnTo>
                        <a:pt x="1498" y="2820"/>
                      </a:lnTo>
                      <a:lnTo>
                        <a:pt x="1490" y="2812"/>
                      </a:lnTo>
                      <a:lnTo>
                        <a:pt x="1490" y="2815"/>
                      </a:lnTo>
                      <a:lnTo>
                        <a:pt x="1487" y="2815"/>
                      </a:lnTo>
                      <a:lnTo>
                        <a:pt x="1485" y="2815"/>
                      </a:lnTo>
                      <a:lnTo>
                        <a:pt x="1479" y="2812"/>
                      </a:lnTo>
                      <a:lnTo>
                        <a:pt x="1477" y="2812"/>
                      </a:lnTo>
                      <a:lnTo>
                        <a:pt x="1471" y="2810"/>
                      </a:lnTo>
                      <a:lnTo>
                        <a:pt x="1462" y="2812"/>
                      </a:lnTo>
                      <a:lnTo>
                        <a:pt x="1462" y="2810"/>
                      </a:lnTo>
                      <a:lnTo>
                        <a:pt x="1465" y="2804"/>
                      </a:lnTo>
                      <a:lnTo>
                        <a:pt x="1457" y="2801"/>
                      </a:lnTo>
                      <a:lnTo>
                        <a:pt x="1457" y="2795"/>
                      </a:lnTo>
                      <a:lnTo>
                        <a:pt x="1451" y="2798"/>
                      </a:lnTo>
                      <a:lnTo>
                        <a:pt x="1449" y="2801"/>
                      </a:lnTo>
                      <a:lnTo>
                        <a:pt x="1446" y="2801"/>
                      </a:lnTo>
                      <a:lnTo>
                        <a:pt x="1443" y="2795"/>
                      </a:lnTo>
                      <a:lnTo>
                        <a:pt x="1441" y="2795"/>
                      </a:lnTo>
                      <a:lnTo>
                        <a:pt x="1438" y="2792"/>
                      </a:lnTo>
                      <a:lnTo>
                        <a:pt x="1432" y="2792"/>
                      </a:lnTo>
                      <a:lnTo>
                        <a:pt x="1429" y="2787"/>
                      </a:lnTo>
                      <a:lnTo>
                        <a:pt x="1424" y="2787"/>
                      </a:lnTo>
                      <a:lnTo>
                        <a:pt x="1421" y="2784"/>
                      </a:lnTo>
                      <a:lnTo>
                        <a:pt x="1416" y="2792"/>
                      </a:lnTo>
                      <a:lnTo>
                        <a:pt x="1410" y="2798"/>
                      </a:lnTo>
                      <a:lnTo>
                        <a:pt x="1410" y="2804"/>
                      </a:lnTo>
                      <a:lnTo>
                        <a:pt x="1408" y="2807"/>
                      </a:lnTo>
                      <a:lnTo>
                        <a:pt x="1390" y="2810"/>
                      </a:lnTo>
                      <a:lnTo>
                        <a:pt x="1390" y="2804"/>
                      </a:lnTo>
                      <a:lnTo>
                        <a:pt x="1385" y="2804"/>
                      </a:lnTo>
                      <a:lnTo>
                        <a:pt x="1382" y="2807"/>
                      </a:lnTo>
                      <a:lnTo>
                        <a:pt x="1380" y="2807"/>
                      </a:lnTo>
                      <a:lnTo>
                        <a:pt x="1377" y="2810"/>
                      </a:lnTo>
                      <a:lnTo>
                        <a:pt x="1372" y="2810"/>
                      </a:lnTo>
                      <a:lnTo>
                        <a:pt x="1372" y="2812"/>
                      </a:lnTo>
                      <a:lnTo>
                        <a:pt x="1366" y="2815"/>
                      </a:lnTo>
                      <a:lnTo>
                        <a:pt x="1363" y="2818"/>
                      </a:lnTo>
                      <a:lnTo>
                        <a:pt x="1355" y="2815"/>
                      </a:lnTo>
                      <a:lnTo>
                        <a:pt x="1349" y="2820"/>
                      </a:lnTo>
                      <a:lnTo>
                        <a:pt x="1349" y="2826"/>
                      </a:lnTo>
                      <a:lnTo>
                        <a:pt x="1347" y="2823"/>
                      </a:lnTo>
                      <a:lnTo>
                        <a:pt x="1339" y="2826"/>
                      </a:lnTo>
                      <a:lnTo>
                        <a:pt x="1336" y="2820"/>
                      </a:lnTo>
                      <a:lnTo>
                        <a:pt x="1333" y="2820"/>
                      </a:lnTo>
                      <a:lnTo>
                        <a:pt x="1331" y="2826"/>
                      </a:lnTo>
                      <a:lnTo>
                        <a:pt x="1324" y="2826"/>
                      </a:lnTo>
                      <a:lnTo>
                        <a:pt x="1324" y="2831"/>
                      </a:lnTo>
                      <a:lnTo>
                        <a:pt x="1319" y="2831"/>
                      </a:lnTo>
                      <a:lnTo>
                        <a:pt x="1319" y="2835"/>
                      </a:lnTo>
                      <a:lnTo>
                        <a:pt x="1319" y="2837"/>
                      </a:lnTo>
                      <a:lnTo>
                        <a:pt x="1316" y="2840"/>
                      </a:lnTo>
                      <a:lnTo>
                        <a:pt x="1319" y="2848"/>
                      </a:lnTo>
                      <a:lnTo>
                        <a:pt x="1313" y="2848"/>
                      </a:lnTo>
                      <a:lnTo>
                        <a:pt x="1313" y="2851"/>
                      </a:lnTo>
                      <a:lnTo>
                        <a:pt x="1311" y="2848"/>
                      </a:lnTo>
                      <a:lnTo>
                        <a:pt x="1308" y="2848"/>
                      </a:lnTo>
                      <a:lnTo>
                        <a:pt x="1303" y="2848"/>
                      </a:lnTo>
                      <a:lnTo>
                        <a:pt x="1297" y="2845"/>
                      </a:lnTo>
                      <a:lnTo>
                        <a:pt x="1294" y="2848"/>
                      </a:lnTo>
                      <a:lnTo>
                        <a:pt x="1288" y="2845"/>
                      </a:lnTo>
                      <a:lnTo>
                        <a:pt x="1286" y="2848"/>
                      </a:lnTo>
                      <a:lnTo>
                        <a:pt x="1280" y="2851"/>
                      </a:lnTo>
                      <a:lnTo>
                        <a:pt x="1275" y="2853"/>
                      </a:lnTo>
                      <a:lnTo>
                        <a:pt x="1270" y="2856"/>
                      </a:lnTo>
                      <a:lnTo>
                        <a:pt x="1267" y="2856"/>
                      </a:lnTo>
                      <a:lnTo>
                        <a:pt x="1264" y="2861"/>
                      </a:lnTo>
                      <a:lnTo>
                        <a:pt x="1258" y="2859"/>
                      </a:lnTo>
                      <a:lnTo>
                        <a:pt x="1258" y="2856"/>
                      </a:lnTo>
                      <a:lnTo>
                        <a:pt x="1255" y="2859"/>
                      </a:lnTo>
                      <a:lnTo>
                        <a:pt x="1250" y="2856"/>
                      </a:lnTo>
                      <a:lnTo>
                        <a:pt x="1247" y="2851"/>
                      </a:lnTo>
                      <a:lnTo>
                        <a:pt x="1244" y="2848"/>
                      </a:lnTo>
                      <a:lnTo>
                        <a:pt x="1239" y="2853"/>
                      </a:lnTo>
                      <a:lnTo>
                        <a:pt x="1236" y="2853"/>
                      </a:lnTo>
                      <a:lnTo>
                        <a:pt x="1236" y="2856"/>
                      </a:lnTo>
                      <a:lnTo>
                        <a:pt x="1231" y="2859"/>
                      </a:lnTo>
                      <a:lnTo>
                        <a:pt x="1228" y="2859"/>
                      </a:lnTo>
                      <a:lnTo>
                        <a:pt x="1225" y="2856"/>
                      </a:lnTo>
                      <a:lnTo>
                        <a:pt x="1222" y="2859"/>
                      </a:lnTo>
                      <a:lnTo>
                        <a:pt x="1214" y="2861"/>
                      </a:lnTo>
                      <a:lnTo>
                        <a:pt x="1214" y="2859"/>
                      </a:lnTo>
                      <a:lnTo>
                        <a:pt x="1209" y="2859"/>
                      </a:lnTo>
                      <a:lnTo>
                        <a:pt x="1206" y="2861"/>
                      </a:lnTo>
                      <a:lnTo>
                        <a:pt x="1206" y="2864"/>
                      </a:lnTo>
                      <a:lnTo>
                        <a:pt x="1189" y="2864"/>
                      </a:lnTo>
                      <a:lnTo>
                        <a:pt x="1181" y="2861"/>
                      </a:lnTo>
                      <a:lnTo>
                        <a:pt x="1181" y="2859"/>
                      </a:lnTo>
                      <a:lnTo>
                        <a:pt x="1178" y="2859"/>
                      </a:lnTo>
                      <a:lnTo>
                        <a:pt x="1178" y="2856"/>
                      </a:lnTo>
                      <a:lnTo>
                        <a:pt x="1175" y="2856"/>
                      </a:lnTo>
                      <a:lnTo>
                        <a:pt x="1173" y="2853"/>
                      </a:lnTo>
                      <a:lnTo>
                        <a:pt x="1165" y="2848"/>
                      </a:lnTo>
                      <a:lnTo>
                        <a:pt x="1158" y="2848"/>
                      </a:lnTo>
                      <a:lnTo>
                        <a:pt x="1150" y="2861"/>
                      </a:lnTo>
                      <a:lnTo>
                        <a:pt x="1148" y="2861"/>
                      </a:lnTo>
                      <a:lnTo>
                        <a:pt x="1142" y="2859"/>
                      </a:lnTo>
                      <a:lnTo>
                        <a:pt x="1140" y="2856"/>
                      </a:lnTo>
                      <a:lnTo>
                        <a:pt x="1134" y="2856"/>
                      </a:lnTo>
                      <a:lnTo>
                        <a:pt x="1134" y="2851"/>
                      </a:lnTo>
                      <a:lnTo>
                        <a:pt x="1132" y="2851"/>
                      </a:lnTo>
                      <a:lnTo>
                        <a:pt x="1129" y="2853"/>
                      </a:lnTo>
                      <a:lnTo>
                        <a:pt x="1126" y="2853"/>
                      </a:lnTo>
                      <a:lnTo>
                        <a:pt x="1123" y="2851"/>
                      </a:lnTo>
                      <a:lnTo>
                        <a:pt x="1120" y="2851"/>
                      </a:lnTo>
                      <a:lnTo>
                        <a:pt x="1117" y="2848"/>
                      </a:lnTo>
                      <a:lnTo>
                        <a:pt x="1117" y="2843"/>
                      </a:lnTo>
                      <a:lnTo>
                        <a:pt x="1117" y="2840"/>
                      </a:lnTo>
                      <a:lnTo>
                        <a:pt x="1112" y="2840"/>
                      </a:lnTo>
                      <a:lnTo>
                        <a:pt x="1114" y="2835"/>
                      </a:lnTo>
                      <a:lnTo>
                        <a:pt x="1106" y="2828"/>
                      </a:lnTo>
                      <a:lnTo>
                        <a:pt x="1109" y="2823"/>
                      </a:lnTo>
                      <a:lnTo>
                        <a:pt x="1112" y="2812"/>
                      </a:lnTo>
                      <a:lnTo>
                        <a:pt x="1109" y="2807"/>
                      </a:lnTo>
                      <a:lnTo>
                        <a:pt x="1109" y="2792"/>
                      </a:lnTo>
                      <a:lnTo>
                        <a:pt x="1109" y="2790"/>
                      </a:lnTo>
                      <a:lnTo>
                        <a:pt x="1106" y="2787"/>
                      </a:lnTo>
                      <a:lnTo>
                        <a:pt x="1112" y="2776"/>
                      </a:lnTo>
                      <a:lnTo>
                        <a:pt x="1112" y="2768"/>
                      </a:lnTo>
                      <a:lnTo>
                        <a:pt x="1106" y="2762"/>
                      </a:lnTo>
                      <a:lnTo>
                        <a:pt x="1109" y="2762"/>
                      </a:lnTo>
                      <a:lnTo>
                        <a:pt x="1106" y="2757"/>
                      </a:lnTo>
                      <a:lnTo>
                        <a:pt x="1109" y="2749"/>
                      </a:lnTo>
                      <a:lnTo>
                        <a:pt x="1112" y="2746"/>
                      </a:lnTo>
                      <a:lnTo>
                        <a:pt x="1109" y="2743"/>
                      </a:lnTo>
                      <a:lnTo>
                        <a:pt x="1106" y="2743"/>
                      </a:lnTo>
                      <a:lnTo>
                        <a:pt x="1104" y="2746"/>
                      </a:lnTo>
                      <a:lnTo>
                        <a:pt x="1101" y="2743"/>
                      </a:lnTo>
                      <a:lnTo>
                        <a:pt x="1098" y="2741"/>
                      </a:lnTo>
                      <a:lnTo>
                        <a:pt x="1101" y="2733"/>
                      </a:lnTo>
                      <a:lnTo>
                        <a:pt x="1098" y="2730"/>
                      </a:lnTo>
                      <a:lnTo>
                        <a:pt x="1096" y="2730"/>
                      </a:lnTo>
                      <a:lnTo>
                        <a:pt x="1096" y="2718"/>
                      </a:lnTo>
                      <a:lnTo>
                        <a:pt x="1093" y="2713"/>
                      </a:lnTo>
                      <a:lnTo>
                        <a:pt x="1089" y="2715"/>
                      </a:lnTo>
                      <a:lnTo>
                        <a:pt x="1087" y="2713"/>
                      </a:lnTo>
                      <a:lnTo>
                        <a:pt x="1081" y="2710"/>
                      </a:lnTo>
                      <a:lnTo>
                        <a:pt x="1081" y="2707"/>
                      </a:lnTo>
                      <a:lnTo>
                        <a:pt x="1073" y="2710"/>
                      </a:lnTo>
                      <a:lnTo>
                        <a:pt x="1071" y="2707"/>
                      </a:lnTo>
                      <a:lnTo>
                        <a:pt x="1071" y="2705"/>
                      </a:lnTo>
                      <a:lnTo>
                        <a:pt x="1071" y="2693"/>
                      </a:lnTo>
                      <a:lnTo>
                        <a:pt x="1073" y="2688"/>
                      </a:lnTo>
                      <a:lnTo>
                        <a:pt x="1073" y="2685"/>
                      </a:lnTo>
                      <a:lnTo>
                        <a:pt x="1076" y="2682"/>
                      </a:lnTo>
                      <a:lnTo>
                        <a:pt x="1071" y="2677"/>
                      </a:lnTo>
                      <a:lnTo>
                        <a:pt x="1071" y="2672"/>
                      </a:lnTo>
                      <a:lnTo>
                        <a:pt x="1068" y="2666"/>
                      </a:lnTo>
                      <a:lnTo>
                        <a:pt x="1068" y="2664"/>
                      </a:lnTo>
                      <a:lnTo>
                        <a:pt x="1065" y="2654"/>
                      </a:lnTo>
                      <a:lnTo>
                        <a:pt x="1063" y="2649"/>
                      </a:lnTo>
                      <a:lnTo>
                        <a:pt x="1060" y="2649"/>
                      </a:lnTo>
                      <a:lnTo>
                        <a:pt x="1060" y="2646"/>
                      </a:lnTo>
                      <a:lnTo>
                        <a:pt x="1060" y="2644"/>
                      </a:lnTo>
                      <a:lnTo>
                        <a:pt x="1065" y="2644"/>
                      </a:lnTo>
                      <a:lnTo>
                        <a:pt x="1068" y="2636"/>
                      </a:lnTo>
                      <a:lnTo>
                        <a:pt x="1065" y="2633"/>
                      </a:lnTo>
                      <a:lnTo>
                        <a:pt x="1079" y="2616"/>
                      </a:lnTo>
                      <a:lnTo>
                        <a:pt x="1081" y="2603"/>
                      </a:lnTo>
                      <a:lnTo>
                        <a:pt x="1079" y="2597"/>
                      </a:lnTo>
                      <a:lnTo>
                        <a:pt x="1076" y="2597"/>
                      </a:lnTo>
                      <a:lnTo>
                        <a:pt x="1076" y="2592"/>
                      </a:lnTo>
                      <a:lnTo>
                        <a:pt x="1071" y="2583"/>
                      </a:lnTo>
                      <a:lnTo>
                        <a:pt x="1063" y="2577"/>
                      </a:lnTo>
                      <a:lnTo>
                        <a:pt x="1065" y="2572"/>
                      </a:lnTo>
                      <a:lnTo>
                        <a:pt x="1063" y="2564"/>
                      </a:lnTo>
                      <a:lnTo>
                        <a:pt x="1063" y="2561"/>
                      </a:lnTo>
                      <a:lnTo>
                        <a:pt x="1071" y="2559"/>
                      </a:lnTo>
                      <a:lnTo>
                        <a:pt x="1076" y="2552"/>
                      </a:lnTo>
                      <a:lnTo>
                        <a:pt x="1073" y="2550"/>
                      </a:lnTo>
                      <a:lnTo>
                        <a:pt x="1071" y="2550"/>
                      </a:lnTo>
                      <a:lnTo>
                        <a:pt x="1068" y="2547"/>
                      </a:lnTo>
                      <a:lnTo>
                        <a:pt x="1071" y="2544"/>
                      </a:lnTo>
                      <a:lnTo>
                        <a:pt x="1065" y="2536"/>
                      </a:lnTo>
                      <a:lnTo>
                        <a:pt x="1071" y="2536"/>
                      </a:lnTo>
                      <a:lnTo>
                        <a:pt x="1073" y="2531"/>
                      </a:lnTo>
                      <a:lnTo>
                        <a:pt x="1076" y="2528"/>
                      </a:lnTo>
                      <a:lnTo>
                        <a:pt x="1068" y="2520"/>
                      </a:lnTo>
                      <a:lnTo>
                        <a:pt x="1068" y="2511"/>
                      </a:lnTo>
                      <a:lnTo>
                        <a:pt x="1063" y="2508"/>
                      </a:lnTo>
                      <a:lnTo>
                        <a:pt x="1057" y="2506"/>
                      </a:lnTo>
                      <a:lnTo>
                        <a:pt x="1054" y="2506"/>
                      </a:lnTo>
                      <a:lnTo>
                        <a:pt x="1045" y="2508"/>
                      </a:lnTo>
                      <a:lnTo>
                        <a:pt x="1045" y="2500"/>
                      </a:lnTo>
                      <a:lnTo>
                        <a:pt x="1045" y="2495"/>
                      </a:lnTo>
                      <a:lnTo>
                        <a:pt x="1043" y="2490"/>
                      </a:lnTo>
                      <a:lnTo>
                        <a:pt x="1037" y="2478"/>
                      </a:lnTo>
                      <a:lnTo>
                        <a:pt x="1040" y="2478"/>
                      </a:lnTo>
                      <a:lnTo>
                        <a:pt x="1040" y="2470"/>
                      </a:lnTo>
                      <a:lnTo>
                        <a:pt x="1037" y="2467"/>
                      </a:lnTo>
                      <a:lnTo>
                        <a:pt x="1040" y="2465"/>
                      </a:lnTo>
                      <a:lnTo>
                        <a:pt x="1037" y="2462"/>
                      </a:lnTo>
                      <a:lnTo>
                        <a:pt x="1035" y="2459"/>
                      </a:lnTo>
                      <a:lnTo>
                        <a:pt x="1029" y="2456"/>
                      </a:lnTo>
                      <a:lnTo>
                        <a:pt x="1032" y="2445"/>
                      </a:lnTo>
                      <a:lnTo>
                        <a:pt x="1029" y="2442"/>
                      </a:lnTo>
                      <a:lnTo>
                        <a:pt x="1035" y="2439"/>
                      </a:lnTo>
                      <a:lnTo>
                        <a:pt x="1029" y="2429"/>
                      </a:lnTo>
                      <a:lnTo>
                        <a:pt x="1029" y="2426"/>
                      </a:lnTo>
                      <a:lnTo>
                        <a:pt x="1029" y="2423"/>
                      </a:lnTo>
                      <a:lnTo>
                        <a:pt x="1024" y="2423"/>
                      </a:lnTo>
                      <a:lnTo>
                        <a:pt x="1027" y="2421"/>
                      </a:lnTo>
                      <a:lnTo>
                        <a:pt x="1024" y="2418"/>
                      </a:lnTo>
                      <a:lnTo>
                        <a:pt x="1027" y="2412"/>
                      </a:lnTo>
                      <a:lnTo>
                        <a:pt x="1024" y="2404"/>
                      </a:lnTo>
                      <a:lnTo>
                        <a:pt x="1024" y="2398"/>
                      </a:lnTo>
                      <a:lnTo>
                        <a:pt x="1018" y="2396"/>
                      </a:lnTo>
                      <a:lnTo>
                        <a:pt x="1020" y="2390"/>
                      </a:lnTo>
                      <a:lnTo>
                        <a:pt x="1018" y="2382"/>
                      </a:lnTo>
                      <a:lnTo>
                        <a:pt x="1020" y="2378"/>
                      </a:lnTo>
                      <a:lnTo>
                        <a:pt x="1020" y="2370"/>
                      </a:lnTo>
                      <a:lnTo>
                        <a:pt x="1020" y="2368"/>
                      </a:lnTo>
                      <a:lnTo>
                        <a:pt x="1020" y="2365"/>
                      </a:lnTo>
                      <a:lnTo>
                        <a:pt x="1024" y="2362"/>
                      </a:lnTo>
                      <a:lnTo>
                        <a:pt x="1024" y="2357"/>
                      </a:lnTo>
                      <a:lnTo>
                        <a:pt x="1029" y="2354"/>
                      </a:lnTo>
                      <a:lnTo>
                        <a:pt x="1029" y="2349"/>
                      </a:lnTo>
                      <a:lnTo>
                        <a:pt x="1032" y="2346"/>
                      </a:lnTo>
                      <a:lnTo>
                        <a:pt x="1037" y="2349"/>
                      </a:lnTo>
                      <a:lnTo>
                        <a:pt x="1037" y="2346"/>
                      </a:lnTo>
                      <a:lnTo>
                        <a:pt x="1035" y="2343"/>
                      </a:lnTo>
                      <a:lnTo>
                        <a:pt x="1035" y="2340"/>
                      </a:lnTo>
                      <a:lnTo>
                        <a:pt x="1037" y="2337"/>
                      </a:lnTo>
                      <a:lnTo>
                        <a:pt x="1037" y="2335"/>
                      </a:lnTo>
                      <a:lnTo>
                        <a:pt x="1040" y="2327"/>
                      </a:lnTo>
                      <a:lnTo>
                        <a:pt x="1037" y="2319"/>
                      </a:lnTo>
                      <a:lnTo>
                        <a:pt x="1040" y="2316"/>
                      </a:lnTo>
                      <a:lnTo>
                        <a:pt x="1037" y="2309"/>
                      </a:lnTo>
                      <a:lnTo>
                        <a:pt x="1037" y="2301"/>
                      </a:lnTo>
                      <a:lnTo>
                        <a:pt x="1035" y="2299"/>
                      </a:lnTo>
                      <a:lnTo>
                        <a:pt x="1035" y="2291"/>
                      </a:lnTo>
                      <a:lnTo>
                        <a:pt x="1027" y="2283"/>
                      </a:lnTo>
                      <a:lnTo>
                        <a:pt x="1018" y="2277"/>
                      </a:lnTo>
                      <a:lnTo>
                        <a:pt x="1015" y="2274"/>
                      </a:lnTo>
                      <a:lnTo>
                        <a:pt x="1010" y="2274"/>
                      </a:lnTo>
                      <a:lnTo>
                        <a:pt x="1007" y="2268"/>
                      </a:lnTo>
                      <a:lnTo>
                        <a:pt x="1004" y="2263"/>
                      </a:lnTo>
                      <a:lnTo>
                        <a:pt x="994" y="2258"/>
                      </a:lnTo>
                      <a:lnTo>
                        <a:pt x="985" y="2235"/>
                      </a:lnTo>
                      <a:lnTo>
                        <a:pt x="985" y="2230"/>
                      </a:lnTo>
                      <a:lnTo>
                        <a:pt x="982" y="2224"/>
                      </a:lnTo>
                      <a:lnTo>
                        <a:pt x="985" y="2219"/>
                      </a:lnTo>
                      <a:lnTo>
                        <a:pt x="988" y="2219"/>
                      </a:lnTo>
                      <a:lnTo>
                        <a:pt x="988" y="2216"/>
                      </a:lnTo>
                      <a:lnTo>
                        <a:pt x="991" y="2208"/>
                      </a:lnTo>
                      <a:lnTo>
                        <a:pt x="988" y="2197"/>
                      </a:lnTo>
                      <a:lnTo>
                        <a:pt x="985" y="2194"/>
                      </a:lnTo>
                      <a:lnTo>
                        <a:pt x="988" y="2191"/>
                      </a:lnTo>
                      <a:lnTo>
                        <a:pt x="985" y="2189"/>
                      </a:lnTo>
                      <a:lnTo>
                        <a:pt x="976" y="2186"/>
                      </a:lnTo>
                      <a:lnTo>
                        <a:pt x="974" y="2189"/>
                      </a:lnTo>
                      <a:lnTo>
                        <a:pt x="971" y="2186"/>
                      </a:lnTo>
                      <a:lnTo>
                        <a:pt x="968" y="2189"/>
                      </a:lnTo>
                      <a:lnTo>
                        <a:pt x="966" y="2186"/>
                      </a:lnTo>
                      <a:lnTo>
                        <a:pt x="960" y="2183"/>
                      </a:lnTo>
                      <a:lnTo>
                        <a:pt x="963" y="2178"/>
                      </a:lnTo>
                      <a:lnTo>
                        <a:pt x="963" y="2175"/>
                      </a:lnTo>
                      <a:lnTo>
                        <a:pt x="951" y="2169"/>
                      </a:lnTo>
                      <a:lnTo>
                        <a:pt x="949" y="2161"/>
                      </a:lnTo>
                      <a:lnTo>
                        <a:pt x="946" y="2150"/>
                      </a:lnTo>
                      <a:lnTo>
                        <a:pt x="941" y="2145"/>
                      </a:lnTo>
                      <a:lnTo>
                        <a:pt x="925" y="2145"/>
                      </a:lnTo>
                      <a:lnTo>
                        <a:pt x="916" y="2142"/>
                      </a:lnTo>
                      <a:lnTo>
                        <a:pt x="913" y="2145"/>
                      </a:lnTo>
                      <a:lnTo>
                        <a:pt x="910" y="2142"/>
                      </a:lnTo>
                      <a:lnTo>
                        <a:pt x="905" y="2145"/>
                      </a:lnTo>
                      <a:lnTo>
                        <a:pt x="902" y="2147"/>
                      </a:lnTo>
                      <a:lnTo>
                        <a:pt x="899" y="2147"/>
                      </a:lnTo>
                      <a:lnTo>
                        <a:pt x="894" y="2147"/>
                      </a:lnTo>
                      <a:lnTo>
                        <a:pt x="889" y="2142"/>
                      </a:lnTo>
                      <a:lnTo>
                        <a:pt x="880" y="2145"/>
                      </a:lnTo>
                      <a:lnTo>
                        <a:pt x="880" y="2150"/>
                      </a:lnTo>
                      <a:lnTo>
                        <a:pt x="877" y="2150"/>
                      </a:lnTo>
                      <a:lnTo>
                        <a:pt x="874" y="2147"/>
                      </a:lnTo>
                      <a:lnTo>
                        <a:pt x="864" y="2145"/>
                      </a:lnTo>
                      <a:lnTo>
                        <a:pt x="858" y="2142"/>
                      </a:lnTo>
                      <a:lnTo>
                        <a:pt x="856" y="2142"/>
                      </a:lnTo>
                      <a:lnTo>
                        <a:pt x="853" y="2145"/>
                      </a:lnTo>
                      <a:lnTo>
                        <a:pt x="847" y="2145"/>
                      </a:lnTo>
                      <a:lnTo>
                        <a:pt x="844" y="2147"/>
                      </a:lnTo>
                      <a:lnTo>
                        <a:pt x="847" y="2145"/>
                      </a:lnTo>
                      <a:lnTo>
                        <a:pt x="844" y="2145"/>
                      </a:lnTo>
                      <a:lnTo>
                        <a:pt x="841" y="2145"/>
                      </a:lnTo>
                      <a:lnTo>
                        <a:pt x="833" y="2139"/>
                      </a:lnTo>
                      <a:lnTo>
                        <a:pt x="830" y="2139"/>
                      </a:lnTo>
                      <a:lnTo>
                        <a:pt x="830" y="2142"/>
                      </a:lnTo>
                      <a:lnTo>
                        <a:pt x="828" y="2145"/>
                      </a:lnTo>
                      <a:lnTo>
                        <a:pt x="825" y="2145"/>
                      </a:lnTo>
                      <a:lnTo>
                        <a:pt x="820" y="2145"/>
                      </a:lnTo>
                      <a:lnTo>
                        <a:pt x="817" y="2145"/>
                      </a:lnTo>
                      <a:lnTo>
                        <a:pt x="813" y="2147"/>
                      </a:lnTo>
                      <a:lnTo>
                        <a:pt x="811" y="2145"/>
                      </a:lnTo>
                      <a:lnTo>
                        <a:pt x="811" y="2142"/>
                      </a:lnTo>
                      <a:lnTo>
                        <a:pt x="805" y="2142"/>
                      </a:lnTo>
                      <a:lnTo>
                        <a:pt x="805" y="2145"/>
                      </a:lnTo>
                      <a:lnTo>
                        <a:pt x="803" y="2139"/>
                      </a:lnTo>
                      <a:lnTo>
                        <a:pt x="800" y="2142"/>
                      </a:lnTo>
                      <a:lnTo>
                        <a:pt x="797" y="2142"/>
                      </a:lnTo>
                      <a:lnTo>
                        <a:pt x="795" y="2142"/>
                      </a:lnTo>
                      <a:lnTo>
                        <a:pt x="795" y="2139"/>
                      </a:lnTo>
                      <a:lnTo>
                        <a:pt x="787" y="2133"/>
                      </a:lnTo>
                      <a:lnTo>
                        <a:pt x="787" y="2128"/>
                      </a:lnTo>
                      <a:lnTo>
                        <a:pt x="784" y="2125"/>
                      </a:lnTo>
                      <a:lnTo>
                        <a:pt x="775" y="2125"/>
                      </a:lnTo>
                      <a:lnTo>
                        <a:pt x="772" y="2122"/>
                      </a:lnTo>
                      <a:lnTo>
                        <a:pt x="769" y="2125"/>
                      </a:lnTo>
                      <a:lnTo>
                        <a:pt x="764" y="2120"/>
                      </a:lnTo>
                      <a:lnTo>
                        <a:pt x="759" y="2117"/>
                      </a:lnTo>
                      <a:lnTo>
                        <a:pt x="756" y="2114"/>
                      </a:lnTo>
                      <a:lnTo>
                        <a:pt x="753" y="2117"/>
                      </a:lnTo>
                      <a:lnTo>
                        <a:pt x="748" y="2112"/>
                      </a:lnTo>
                      <a:lnTo>
                        <a:pt x="748" y="2109"/>
                      </a:lnTo>
                      <a:lnTo>
                        <a:pt x="744" y="2109"/>
                      </a:lnTo>
                      <a:lnTo>
                        <a:pt x="742" y="2104"/>
                      </a:lnTo>
                      <a:lnTo>
                        <a:pt x="742" y="2100"/>
                      </a:lnTo>
                      <a:lnTo>
                        <a:pt x="739" y="2100"/>
                      </a:lnTo>
                      <a:lnTo>
                        <a:pt x="739" y="2097"/>
                      </a:lnTo>
                      <a:lnTo>
                        <a:pt x="736" y="2100"/>
                      </a:lnTo>
                      <a:lnTo>
                        <a:pt x="734" y="2097"/>
                      </a:lnTo>
                      <a:lnTo>
                        <a:pt x="731" y="2089"/>
                      </a:lnTo>
                      <a:lnTo>
                        <a:pt x="731" y="2086"/>
                      </a:lnTo>
                      <a:lnTo>
                        <a:pt x="731" y="2084"/>
                      </a:lnTo>
                      <a:lnTo>
                        <a:pt x="731" y="2078"/>
                      </a:lnTo>
                      <a:lnTo>
                        <a:pt x="726" y="2076"/>
                      </a:lnTo>
                      <a:lnTo>
                        <a:pt x="728" y="2076"/>
                      </a:lnTo>
                      <a:lnTo>
                        <a:pt x="726" y="2073"/>
                      </a:lnTo>
                      <a:lnTo>
                        <a:pt x="726" y="2070"/>
                      </a:lnTo>
                      <a:lnTo>
                        <a:pt x="720" y="2068"/>
                      </a:lnTo>
                      <a:lnTo>
                        <a:pt x="723" y="2064"/>
                      </a:lnTo>
                      <a:lnTo>
                        <a:pt x="723" y="2056"/>
                      </a:lnTo>
                      <a:lnTo>
                        <a:pt x="720" y="2059"/>
                      </a:lnTo>
                      <a:lnTo>
                        <a:pt x="718" y="2059"/>
                      </a:lnTo>
                      <a:lnTo>
                        <a:pt x="711" y="2059"/>
                      </a:lnTo>
                      <a:lnTo>
                        <a:pt x="711" y="2061"/>
                      </a:lnTo>
                      <a:lnTo>
                        <a:pt x="709" y="2059"/>
                      </a:lnTo>
                      <a:lnTo>
                        <a:pt x="706" y="2061"/>
                      </a:lnTo>
                      <a:lnTo>
                        <a:pt x="703" y="2059"/>
                      </a:lnTo>
                      <a:lnTo>
                        <a:pt x="700" y="2061"/>
                      </a:lnTo>
                      <a:lnTo>
                        <a:pt x="698" y="2059"/>
                      </a:lnTo>
                      <a:lnTo>
                        <a:pt x="698" y="2061"/>
                      </a:lnTo>
                      <a:lnTo>
                        <a:pt x="695" y="2061"/>
                      </a:lnTo>
                      <a:lnTo>
                        <a:pt x="695" y="2059"/>
                      </a:lnTo>
                      <a:lnTo>
                        <a:pt x="692" y="2059"/>
                      </a:lnTo>
                      <a:lnTo>
                        <a:pt x="692" y="2061"/>
                      </a:lnTo>
                      <a:lnTo>
                        <a:pt x="690" y="2059"/>
                      </a:lnTo>
                      <a:lnTo>
                        <a:pt x="687" y="2064"/>
                      </a:lnTo>
                      <a:lnTo>
                        <a:pt x="679" y="2064"/>
                      </a:lnTo>
                      <a:lnTo>
                        <a:pt x="675" y="2068"/>
                      </a:lnTo>
                      <a:lnTo>
                        <a:pt x="675" y="2070"/>
                      </a:lnTo>
                      <a:lnTo>
                        <a:pt x="670" y="2070"/>
                      </a:lnTo>
                      <a:lnTo>
                        <a:pt x="670" y="2076"/>
                      </a:lnTo>
                      <a:lnTo>
                        <a:pt x="667" y="2078"/>
                      </a:lnTo>
                      <a:lnTo>
                        <a:pt x="667" y="2081"/>
                      </a:lnTo>
                      <a:lnTo>
                        <a:pt x="670" y="2084"/>
                      </a:lnTo>
                      <a:lnTo>
                        <a:pt x="667" y="2084"/>
                      </a:lnTo>
                      <a:lnTo>
                        <a:pt x="667" y="2089"/>
                      </a:lnTo>
                      <a:lnTo>
                        <a:pt x="662" y="2086"/>
                      </a:lnTo>
                      <a:lnTo>
                        <a:pt x="662" y="2092"/>
                      </a:lnTo>
                      <a:lnTo>
                        <a:pt x="665" y="2092"/>
                      </a:lnTo>
                      <a:lnTo>
                        <a:pt x="657" y="2097"/>
                      </a:lnTo>
                      <a:lnTo>
                        <a:pt x="657" y="2104"/>
                      </a:lnTo>
                      <a:lnTo>
                        <a:pt x="654" y="2106"/>
                      </a:lnTo>
                      <a:lnTo>
                        <a:pt x="657" y="2109"/>
                      </a:lnTo>
                      <a:lnTo>
                        <a:pt x="654" y="2109"/>
                      </a:lnTo>
                      <a:lnTo>
                        <a:pt x="651" y="2114"/>
                      </a:lnTo>
                      <a:lnTo>
                        <a:pt x="649" y="2112"/>
                      </a:lnTo>
                      <a:lnTo>
                        <a:pt x="646" y="2112"/>
                      </a:lnTo>
                      <a:lnTo>
                        <a:pt x="646" y="2114"/>
                      </a:lnTo>
                      <a:lnTo>
                        <a:pt x="642" y="2114"/>
                      </a:lnTo>
                      <a:lnTo>
                        <a:pt x="640" y="2117"/>
                      </a:lnTo>
                      <a:lnTo>
                        <a:pt x="637" y="2114"/>
                      </a:lnTo>
                      <a:lnTo>
                        <a:pt x="637" y="2117"/>
                      </a:lnTo>
                      <a:lnTo>
                        <a:pt x="634" y="2120"/>
                      </a:lnTo>
                      <a:lnTo>
                        <a:pt x="634" y="2122"/>
                      </a:lnTo>
                      <a:lnTo>
                        <a:pt x="626" y="2128"/>
                      </a:lnTo>
                      <a:lnTo>
                        <a:pt x="623" y="2128"/>
                      </a:lnTo>
                      <a:lnTo>
                        <a:pt x="621" y="2128"/>
                      </a:lnTo>
                      <a:lnTo>
                        <a:pt x="623" y="2137"/>
                      </a:lnTo>
                      <a:lnTo>
                        <a:pt x="621" y="2137"/>
                      </a:lnTo>
                      <a:lnTo>
                        <a:pt x="618" y="2133"/>
                      </a:lnTo>
                      <a:lnTo>
                        <a:pt x="613" y="2130"/>
                      </a:lnTo>
                      <a:lnTo>
                        <a:pt x="606" y="2128"/>
                      </a:lnTo>
                      <a:lnTo>
                        <a:pt x="604" y="2122"/>
                      </a:lnTo>
                      <a:lnTo>
                        <a:pt x="604" y="2120"/>
                      </a:lnTo>
                      <a:lnTo>
                        <a:pt x="604" y="2117"/>
                      </a:lnTo>
                      <a:lnTo>
                        <a:pt x="601" y="2120"/>
                      </a:lnTo>
                      <a:lnTo>
                        <a:pt x="601" y="2117"/>
                      </a:lnTo>
                      <a:lnTo>
                        <a:pt x="598" y="2117"/>
                      </a:lnTo>
                      <a:lnTo>
                        <a:pt x="596" y="2117"/>
                      </a:lnTo>
                      <a:lnTo>
                        <a:pt x="596" y="2120"/>
                      </a:lnTo>
                      <a:lnTo>
                        <a:pt x="598" y="2122"/>
                      </a:lnTo>
                      <a:lnTo>
                        <a:pt x="598" y="2125"/>
                      </a:lnTo>
                      <a:lnTo>
                        <a:pt x="596" y="2125"/>
                      </a:lnTo>
                      <a:lnTo>
                        <a:pt x="596" y="2128"/>
                      </a:lnTo>
                      <a:lnTo>
                        <a:pt x="593" y="2130"/>
                      </a:lnTo>
                      <a:lnTo>
                        <a:pt x="588" y="2137"/>
                      </a:lnTo>
                      <a:lnTo>
                        <a:pt x="582" y="2133"/>
                      </a:lnTo>
                      <a:lnTo>
                        <a:pt x="585" y="2130"/>
                      </a:lnTo>
                      <a:lnTo>
                        <a:pt x="582" y="2128"/>
                      </a:lnTo>
                      <a:lnTo>
                        <a:pt x="580" y="2125"/>
                      </a:lnTo>
                      <a:lnTo>
                        <a:pt x="577" y="2128"/>
                      </a:lnTo>
                      <a:lnTo>
                        <a:pt x="573" y="2128"/>
                      </a:lnTo>
                      <a:lnTo>
                        <a:pt x="571" y="2128"/>
                      </a:lnTo>
                      <a:lnTo>
                        <a:pt x="571" y="2130"/>
                      </a:lnTo>
                      <a:lnTo>
                        <a:pt x="565" y="2133"/>
                      </a:lnTo>
                      <a:lnTo>
                        <a:pt x="563" y="2133"/>
                      </a:lnTo>
                      <a:lnTo>
                        <a:pt x="563" y="2130"/>
                      </a:lnTo>
                      <a:lnTo>
                        <a:pt x="560" y="2130"/>
                      </a:lnTo>
                      <a:lnTo>
                        <a:pt x="563" y="2128"/>
                      </a:lnTo>
                      <a:lnTo>
                        <a:pt x="560" y="2128"/>
                      </a:lnTo>
                      <a:lnTo>
                        <a:pt x="554" y="2130"/>
                      </a:lnTo>
                      <a:lnTo>
                        <a:pt x="554" y="2137"/>
                      </a:lnTo>
                      <a:lnTo>
                        <a:pt x="554" y="2139"/>
                      </a:lnTo>
                      <a:lnTo>
                        <a:pt x="554" y="2145"/>
                      </a:lnTo>
                      <a:lnTo>
                        <a:pt x="549" y="2147"/>
                      </a:lnTo>
                      <a:lnTo>
                        <a:pt x="546" y="2150"/>
                      </a:lnTo>
                      <a:lnTo>
                        <a:pt x="541" y="2153"/>
                      </a:lnTo>
                      <a:lnTo>
                        <a:pt x="537" y="2153"/>
                      </a:lnTo>
                      <a:lnTo>
                        <a:pt x="535" y="2147"/>
                      </a:lnTo>
                      <a:lnTo>
                        <a:pt x="532" y="2147"/>
                      </a:lnTo>
                      <a:lnTo>
                        <a:pt x="527" y="2145"/>
                      </a:lnTo>
                      <a:lnTo>
                        <a:pt x="524" y="2142"/>
                      </a:lnTo>
                      <a:lnTo>
                        <a:pt x="527" y="2137"/>
                      </a:lnTo>
                      <a:lnTo>
                        <a:pt x="524" y="2130"/>
                      </a:lnTo>
                      <a:lnTo>
                        <a:pt x="521" y="2130"/>
                      </a:lnTo>
                      <a:lnTo>
                        <a:pt x="516" y="2133"/>
                      </a:lnTo>
                      <a:lnTo>
                        <a:pt x="516" y="2137"/>
                      </a:lnTo>
                      <a:lnTo>
                        <a:pt x="513" y="2139"/>
                      </a:lnTo>
                      <a:lnTo>
                        <a:pt x="511" y="2137"/>
                      </a:lnTo>
                      <a:lnTo>
                        <a:pt x="508" y="2133"/>
                      </a:lnTo>
                      <a:lnTo>
                        <a:pt x="511" y="2133"/>
                      </a:lnTo>
                      <a:lnTo>
                        <a:pt x="508" y="2133"/>
                      </a:lnTo>
                      <a:lnTo>
                        <a:pt x="504" y="2130"/>
                      </a:lnTo>
                      <a:lnTo>
                        <a:pt x="502" y="2133"/>
                      </a:lnTo>
                      <a:lnTo>
                        <a:pt x="496" y="2133"/>
                      </a:lnTo>
                      <a:lnTo>
                        <a:pt x="494" y="2130"/>
                      </a:lnTo>
                      <a:lnTo>
                        <a:pt x="491" y="2125"/>
                      </a:lnTo>
                      <a:lnTo>
                        <a:pt x="485" y="2128"/>
                      </a:lnTo>
                      <a:lnTo>
                        <a:pt x="480" y="2128"/>
                      </a:lnTo>
                      <a:lnTo>
                        <a:pt x="477" y="2125"/>
                      </a:lnTo>
                      <a:lnTo>
                        <a:pt x="480" y="2122"/>
                      </a:lnTo>
                      <a:lnTo>
                        <a:pt x="477" y="2120"/>
                      </a:lnTo>
                      <a:lnTo>
                        <a:pt x="472" y="2125"/>
                      </a:lnTo>
                      <a:lnTo>
                        <a:pt x="468" y="2122"/>
                      </a:lnTo>
                      <a:lnTo>
                        <a:pt x="466" y="2125"/>
                      </a:lnTo>
                      <a:lnTo>
                        <a:pt x="460" y="2125"/>
                      </a:lnTo>
                      <a:lnTo>
                        <a:pt x="458" y="2128"/>
                      </a:lnTo>
                      <a:lnTo>
                        <a:pt x="455" y="2125"/>
                      </a:lnTo>
                      <a:lnTo>
                        <a:pt x="455" y="2122"/>
                      </a:lnTo>
                      <a:lnTo>
                        <a:pt x="450" y="2122"/>
                      </a:lnTo>
                      <a:lnTo>
                        <a:pt x="452" y="2128"/>
                      </a:lnTo>
                      <a:lnTo>
                        <a:pt x="450" y="2128"/>
                      </a:lnTo>
                      <a:lnTo>
                        <a:pt x="444" y="2128"/>
                      </a:lnTo>
                      <a:lnTo>
                        <a:pt x="442" y="2130"/>
                      </a:lnTo>
                      <a:lnTo>
                        <a:pt x="439" y="2128"/>
                      </a:lnTo>
                      <a:lnTo>
                        <a:pt x="435" y="2130"/>
                      </a:lnTo>
                      <a:lnTo>
                        <a:pt x="433" y="2130"/>
                      </a:lnTo>
                      <a:lnTo>
                        <a:pt x="430" y="2128"/>
                      </a:lnTo>
                      <a:lnTo>
                        <a:pt x="433" y="2120"/>
                      </a:lnTo>
                      <a:lnTo>
                        <a:pt x="427" y="2122"/>
                      </a:lnTo>
                      <a:lnTo>
                        <a:pt x="419" y="2120"/>
                      </a:lnTo>
                      <a:lnTo>
                        <a:pt x="414" y="2122"/>
                      </a:lnTo>
                      <a:lnTo>
                        <a:pt x="411" y="2120"/>
                      </a:lnTo>
                      <a:lnTo>
                        <a:pt x="408" y="2122"/>
                      </a:lnTo>
                      <a:lnTo>
                        <a:pt x="406" y="2122"/>
                      </a:lnTo>
                      <a:lnTo>
                        <a:pt x="402" y="2122"/>
                      </a:lnTo>
                      <a:lnTo>
                        <a:pt x="399" y="2125"/>
                      </a:lnTo>
                      <a:lnTo>
                        <a:pt x="399" y="2122"/>
                      </a:lnTo>
                      <a:lnTo>
                        <a:pt x="397" y="2120"/>
                      </a:lnTo>
                      <a:lnTo>
                        <a:pt x="397" y="2117"/>
                      </a:lnTo>
                      <a:lnTo>
                        <a:pt x="394" y="2114"/>
                      </a:lnTo>
                      <a:lnTo>
                        <a:pt x="391" y="2117"/>
                      </a:lnTo>
                      <a:lnTo>
                        <a:pt x="389" y="2117"/>
                      </a:lnTo>
                      <a:lnTo>
                        <a:pt x="389" y="2114"/>
                      </a:lnTo>
                      <a:lnTo>
                        <a:pt x="389" y="2117"/>
                      </a:lnTo>
                      <a:lnTo>
                        <a:pt x="389" y="2120"/>
                      </a:lnTo>
                      <a:lnTo>
                        <a:pt x="391" y="2122"/>
                      </a:lnTo>
                      <a:lnTo>
                        <a:pt x="386" y="2122"/>
                      </a:lnTo>
                      <a:lnTo>
                        <a:pt x="386" y="2125"/>
                      </a:lnTo>
                      <a:lnTo>
                        <a:pt x="378" y="2130"/>
                      </a:lnTo>
                      <a:lnTo>
                        <a:pt x="373" y="2125"/>
                      </a:lnTo>
                      <a:lnTo>
                        <a:pt x="364" y="2125"/>
                      </a:lnTo>
                      <a:lnTo>
                        <a:pt x="364" y="2122"/>
                      </a:lnTo>
                      <a:lnTo>
                        <a:pt x="361" y="2125"/>
                      </a:lnTo>
                      <a:lnTo>
                        <a:pt x="361" y="2122"/>
                      </a:lnTo>
                      <a:lnTo>
                        <a:pt x="358" y="2120"/>
                      </a:lnTo>
                      <a:lnTo>
                        <a:pt x="356" y="2120"/>
                      </a:lnTo>
                      <a:lnTo>
                        <a:pt x="356" y="2117"/>
                      </a:lnTo>
                      <a:lnTo>
                        <a:pt x="350" y="2120"/>
                      </a:lnTo>
                      <a:lnTo>
                        <a:pt x="350" y="2122"/>
                      </a:lnTo>
                      <a:lnTo>
                        <a:pt x="345" y="2125"/>
                      </a:lnTo>
                      <a:lnTo>
                        <a:pt x="348" y="2128"/>
                      </a:lnTo>
                      <a:lnTo>
                        <a:pt x="345" y="2128"/>
                      </a:lnTo>
                      <a:lnTo>
                        <a:pt x="339" y="2125"/>
                      </a:lnTo>
                      <a:lnTo>
                        <a:pt x="339" y="2122"/>
                      </a:lnTo>
                      <a:lnTo>
                        <a:pt x="337" y="2125"/>
                      </a:lnTo>
                      <a:lnTo>
                        <a:pt x="337" y="2122"/>
                      </a:lnTo>
                      <a:lnTo>
                        <a:pt x="333" y="2122"/>
                      </a:lnTo>
                      <a:lnTo>
                        <a:pt x="330" y="2120"/>
                      </a:lnTo>
                      <a:lnTo>
                        <a:pt x="328" y="2122"/>
                      </a:lnTo>
                      <a:lnTo>
                        <a:pt x="322" y="2122"/>
                      </a:lnTo>
                      <a:lnTo>
                        <a:pt x="322" y="2120"/>
                      </a:lnTo>
                      <a:lnTo>
                        <a:pt x="320" y="2120"/>
                      </a:lnTo>
                      <a:lnTo>
                        <a:pt x="322" y="2114"/>
                      </a:lnTo>
                      <a:lnTo>
                        <a:pt x="317" y="2114"/>
                      </a:lnTo>
                      <a:lnTo>
                        <a:pt x="317" y="2112"/>
                      </a:lnTo>
                      <a:lnTo>
                        <a:pt x="314" y="2114"/>
                      </a:lnTo>
                      <a:lnTo>
                        <a:pt x="314" y="2112"/>
                      </a:lnTo>
                      <a:lnTo>
                        <a:pt x="306" y="2109"/>
                      </a:lnTo>
                      <a:lnTo>
                        <a:pt x="301" y="2112"/>
                      </a:lnTo>
                      <a:lnTo>
                        <a:pt x="304" y="2109"/>
                      </a:lnTo>
                      <a:lnTo>
                        <a:pt x="297" y="2109"/>
                      </a:lnTo>
                      <a:lnTo>
                        <a:pt x="292" y="2104"/>
                      </a:lnTo>
                      <a:lnTo>
                        <a:pt x="289" y="2106"/>
                      </a:lnTo>
                      <a:lnTo>
                        <a:pt x="289" y="2109"/>
                      </a:lnTo>
                      <a:lnTo>
                        <a:pt x="289" y="2104"/>
                      </a:lnTo>
                      <a:lnTo>
                        <a:pt x="286" y="2106"/>
                      </a:lnTo>
                      <a:lnTo>
                        <a:pt x="284" y="2104"/>
                      </a:lnTo>
                      <a:lnTo>
                        <a:pt x="278" y="2106"/>
                      </a:lnTo>
                      <a:lnTo>
                        <a:pt x="276" y="2106"/>
                      </a:lnTo>
                      <a:lnTo>
                        <a:pt x="276" y="2104"/>
                      </a:lnTo>
                      <a:lnTo>
                        <a:pt x="270" y="2104"/>
                      </a:lnTo>
                      <a:lnTo>
                        <a:pt x="264" y="2097"/>
                      </a:lnTo>
                      <a:lnTo>
                        <a:pt x="261" y="2097"/>
                      </a:lnTo>
                      <a:lnTo>
                        <a:pt x="259" y="2100"/>
                      </a:lnTo>
                      <a:lnTo>
                        <a:pt x="253" y="2104"/>
                      </a:lnTo>
                      <a:lnTo>
                        <a:pt x="243" y="2100"/>
                      </a:lnTo>
                      <a:lnTo>
                        <a:pt x="240" y="2100"/>
                      </a:lnTo>
                      <a:lnTo>
                        <a:pt x="237" y="2094"/>
                      </a:lnTo>
                      <a:lnTo>
                        <a:pt x="237" y="2086"/>
                      </a:lnTo>
                      <a:lnTo>
                        <a:pt x="237" y="2084"/>
                      </a:lnTo>
                      <a:lnTo>
                        <a:pt x="235" y="2086"/>
                      </a:lnTo>
                      <a:lnTo>
                        <a:pt x="235" y="2084"/>
                      </a:lnTo>
                      <a:lnTo>
                        <a:pt x="232" y="2084"/>
                      </a:lnTo>
                      <a:lnTo>
                        <a:pt x="232" y="2081"/>
                      </a:lnTo>
                      <a:lnTo>
                        <a:pt x="228" y="2081"/>
                      </a:lnTo>
                      <a:lnTo>
                        <a:pt x="228" y="2078"/>
                      </a:lnTo>
                      <a:lnTo>
                        <a:pt x="226" y="2078"/>
                      </a:lnTo>
                      <a:lnTo>
                        <a:pt x="228" y="2076"/>
                      </a:lnTo>
                      <a:lnTo>
                        <a:pt x="226" y="2070"/>
                      </a:lnTo>
                      <a:lnTo>
                        <a:pt x="226" y="2068"/>
                      </a:lnTo>
                      <a:lnTo>
                        <a:pt x="226" y="2064"/>
                      </a:lnTo>
                      <a:lnTo>
                        <a:pt x="215" y="2070"/>
                      </a:lnTo>
                      <a:lnTo>
                        <a:pt x="204" y="2070"/>
                      </a:lnTo>
                      <a:lnTo>
                        <a:pt x="201" y="2068"/>
                      </a:lnTo>
                      <a:lnTo>
                        <a:pt x="195" y="2061"/>
                      </a:lnTo>
                      <a:lnTo>
                        <a:pt x="192" y="2064"/>
                      </a:lnTo>
                      <a:lnTo>
                        <a:pt x="187" y="2064"/>
                      </a:lnTo>
                      <a:lnTo>
                        <a:pt x="187" y="2068"/>
                      </a:lnTo>
                      <a:lnTo>
                        <a:pt x="184" y="2070"/>
                      </a:lnTo>
                      <a:lnTo>
                        <a:pt x="184" y="2073"/>
                      </a:lnTo>
                      <a:lnTo>
                        <a:pt x="179" y="2068"/>
                      </a:lnTo>
                      <a:lnTo>
                        <a:pt x="176" y="2070"/>
                      </a:lnTo>
                      <a:lnTo>
                        <a:pt x="174" y="2070"/>
                      </a:lnTo>
                      <a:lnTo>
                        <a:pt x="174" y="2076"/>
                      </a:lnTo>
                      <a:lnTo>
                        <a:pt x="176" y="2076"/>
                      </a:lnTo>
                      <a:lnTo>
                        <a:pt x="176" y="2081"/>
                      </a:lnTo>
                      <a:lnTo>
                        <a:pt x="171" y="2084"/>
                      </a:lnTo>
                      <a:lnTo>
                        <a:pt x="168" y="2084"/>
                      </a:lnTo>
                      <a:lnTo>
                        <a:pt x="166" y="2084"/>
                      </a:lnTo>
                      <a:lnTo>
                        <a:pt x="157" y="2078"/>
                      </a:lnTo>
                      <a:lnTo>
                        <a:pt x="154" y="2081"/>
                      </a:lnTo>
                      <a:lnTo>
                        <a:pt x="151" y="2089"/>
                      </a:lnTo>
                      <a:lnTo>
                        <a:pt x="149" y="2089"/>
                      </a:lnTo>
                      <a:lnTo>
                        <a:pt x="146" y="2084"/>
                      </a:lnTo>
                      <a:lnTo>
                        <a:pt x="143" y="2084"/>
                      </a:lnTo>
                      <a:lnTo>
                        <a:pt x="140" y="2078"/>
                      </a:lnTo>
                      <a:lnTo>
                        <a:pt x="138" y="2076"/>
                      </a:lnTo>
                      <a:lnTo>
                        <a:pt x="123" y="2081"/>
                      </a:lnTo>
                      <a:lnTo>
                        <a:pt x="126" y="2084"/>
                      </a:lnTo>
                      <a:lnTo>
                        <a:pt x="121" y="2081"/>
                      </a:lnTo>
                      <a:lnTo>
                        <a:pt x="115" y="2081"/>
                      </a:lnTo>
                      <a:lnTo>
                        <a:pt x="113" y="2078"/>
                      </a:lnTo>
                      <a:lnTo>
                        <a:pt x="107" y="2078"/>
                      </a:lnTo>
                      <a:lnTo>
                        <a:pt x="97" y="2078"/>
                      </a:lnTo>
                      <a:lnTo>
                        <a:pt x="99" y="2073"/>
                      </a:lnTo>
                      <a:lnTo>
                        <a:pt x="97" y="2070"/>
                      </a:lnTo>
                      <a:lnTo>
                        <a:pt x="94" y="2061"/>
                      </a:lnTo>
                      <a:lnTo>
                        <a:pt x="88" y="2061"/>
                      </a:lnTo>
                      <a:lnTo>
                        <a:pt x="85" y="2059"/>
                      </a:lnTo>
                      <a:lnTo>
                        <a:pt x="82" y="2064"/>
                      </a:lnTo>
                      <a:lnTo>
                        <a:pt x="77" y="2064"/>
                      </a:lnTo>
                      <a:lnTo>
                        <a:pt x="74" y="2061"/>
                      </a:lnTo>
                      <a:lnTo>
                        <a:pt x="71" y="2064"/>
                      </a:lnTo>
                      <a:lnTo>
                        <a:pt x="74" y="2051"/>
                      </a:lnTo>
                      <a:lnTo>
                        <a:pt x="71" y="2048"/>
                      </a:lnTo>
                      <a:lnTo>
                        <a:pt x="66" y="2048"/>
                      </a:lnTo>
                      <a:lnTo>
                        <a:pt x="66" y="2042"/>
                      </a:lnTo>
                      <a:lnTo>
                        <a:pt x="69" y="2037"/>
                      </a:lnTo>
                      <a:lnTo>
                        <a:pt x="82" y="2028"/>
                      </a:lnTo>
                      <a:lnTo>
                        <a:pt x="82" y="2025"/>
                      </a:lnTo>
                      <a:lnTo>
                        <a:pt x="82" y="2017"/>
                      </a:lnTo>
                      <a:lnTo>
                        <a:pt x="88" y="2012"/>
                      </a:lnTo>
                      <a:lnTo>
                        <a:pt x="94" y="1992"/>
                      </a:lnTo>
                      <a:lnTo>
                        <a:pt x="94" y="1987"/>
                      </a:lnTo>
                      <a:lnTo>
                        <a:pt x="90" y="1987"/>
                      </a:lnTo>
                      <a:lnTo>
                        <a:pt x="88" y="1984"/>
                      </a:lnTo>
                      <a:lnTo>
                        <a:pt x="97" y="1979"/>
                      </a:lnTo>
                      <a:lnTo>
                        <a:pt x="102" y="1979"/>
                      </a:lnTo>
                      <a:lnTo>
                        <a:pt x="105" y="1976"/>
                      </a:lnTo>
                      <a:lnTo>
                        <a:pt x="102" y="1973"/>
                      </a:lnTo>
                      <a:lnTo>
                        <a:pt x="80" y="1963"/>
                      </a:lnTo>
                      <a:lnTo>
                        <a:pt x="80" y="1959"/>
                      </a:lnTo>
                      <a:lnTo>
                        <a:pt x="88" y="1956"/>
                      </a:lnTo>
                      <a:lnTo>
                        <a:pt x="97" y="1954"/>
                      </a:lnTo>
                      <a:lnTo>
                        <a:pt x="105" y="1938"/>
                      </a:lnTo>
                      <a:lnTo>
                        <a:pt x="105" y="1930"/>
                      </a:lnTo>
                      <a:lnTo>
                        <a:pt x="99" y="1930"/>
                      </a:lnTo>
                      <a:lnTo>
                        <a:pt x="94" y="1923"/>
                      </a:lnTo>
                      <a:lnTo>
                        <a:pt x="90" y="1921"/>
                      </a:lnTo>
                      <a:lnTo>
                        <a:pt x="90" y="1918"/>
                      </a:lnTo>
                      <a:lnTo>
                        <a:pt x="94" y="1913"/>
                      </a:lnTo>
                      <a:lnTo>
                        <a:pt x="110" y="1902"/>
                      </a:lnTo>
                      <a:lnTo>
                        <a:pt x="115" y="1896"/>
                      </a:lnTo>
                      <a:lnTo>
                        <a:pt x="115" y="1894"/>
                      </a:lnTo>
                      <a:lnTo>
                        <a:pt x="99" y="1885"/>
                      </a:lnTo>
                      <a:lnTo>
                        <a:pt x="97" y="1879"/>
                      </a:lnTo>
                      <a:lnTo>
                        <a:pt x="90" y="1869"/>
                      </a:lnTo>
                      <a:lnTo>
                        <a:pt x="97" y="1861"/>
                      </a:lnTo>
                      <a:lnTo>
                        <a:pt x="105" y="1858"/>
                      </a:lnTo>
                      <a:lnTo>
                        <a:pt x="105" y="1854"/>
                      </a:lnTo>
                      <a:lnTo>
                        <a:pt x="99" y="1849"/>
                      </a:lnTo>
                      <a:lnTo>
                        <a:pt x="85" y="1844"/>
                      </a:lnTo>
                      <a:lnTo>
                        <a:pt x="82" y="1836"/>
                      </a:lnTo>
                      <a:lnTo>
                        <a:pt x="82" y="1827"/>
                      </a:lnTo>
                      <a:lnTo>
                        <a:pt x="85" y="1818"/>
                      </a:lnTo>
                      <a:lnTo>
                        <a:pt x="90" y="1816"/>
                      </a:lnTo>
                      <a:lnTo>
                        <a:pt x="97" y="1808"/>
                      </a:lnTo>
                      <a:lnTo>
                        <a:pt x="99" y="1802"/>
                      </a:lnTo>
                      <a:lnTo>
                        <a:pt x="99" y="1797"/>
                      </a:lnTo>
                      <a:lnTo>
                        <a:pt x="105" y="1783"/>
                      </a:lnTo>
                      <a:lnTo>
                        <a:pt x="107" y="1775"/>
                      </a:lnTo>
                      <a:lnTo>
                        <a:pt x="123" y="1756"/>
                      </a:lnTo>
                      <a:lnTo>
                        <a:pt x="126" y="1749"/>
                      </a:lnTo>
                      <a:lnTo>
                        <a:pt x="130" y="1741"/>
                      </a:lnTo>
                      <a:lnTo>
                        <a:pt x="126" y="1739"/>
                      </a:lnTo>
                      <a:lnTo>
                        <a:pt x="110" y="1736"/>
                      </a:lnTo>
                      <a:lnTo>
                        <a:pt x="105" y="1731"/>
                      </a:lnTo>
                      <a:lnTo>
                        <a:pt x="99" y="1725"/>
                      </a:lnTo>
                      <a:lnTo>
                        <a:pt x="102" y="1723"/>
                      </a:lnTo>
                      <a:lnTo>
                        <a:pt x="126" y="1706"/>
                      </a:lnTo>
                      <a:lnTo>
                        <a:pt x="130" y="1700"/>
                      </a:lnTo>
                      <a:lnTo>
                        <a:pt x="130" y="1687"/>
                      </a:lnTo>
                      <a:lnTo>
                        <a:pt x="123" y="1664"/>
                      </a:lnTo>
                      <a:lnTo>
                        <a:pt x="123" y="1662"/>
                      </a:lnTo>
                      <a:lnTo>
                        <a:pt x="132" y="1648"/>
                      </a:lnTo>
                      <a:lnTo>
                        <a:pt x="123" y="1634"/>
                      </a:lnTo>
                      <a:lnTo>
                        <a:pt x="121" y="1623"/>
                      </a:lnTo>
                      <a:lnTo>
                        <a:pt x="130" y="1618"/>
                      </a:lnTo>
                      <a:lnTo>
                        <a:pt x="138" y="1603"/>
                      </a:lnTo>
                      <a:lnTo>
                        <a:pt x="143" y="1598"/>
                      </a:lnTo>
                      <a:lnTo>
                        <a:pt x="140" y="1593"/>
                      </a:lnTo>
                      <a:lnTo>
                        <a:pt x="140" y="1582"/>
                      </a:lnTo>
                      <a:lnTo>
                        <a:pt x="140" y="1579"/>
                      </a:lnTo>
                      <a:lnTo>
                        <a:pt x="135" y="1579"/>
                      </a:lnTo>
                      <a:lnTo>
                        <a:pt x="130" y="1585"/>
                      </a:lnTo>
                      <a:lnTo>
                        <a:pt x="123" y="1585"/>
                      </a:lnTo>
                      <a:lnTo>
                        <a:pt x="121" y="1582"/>
                      </a:lnTo>
                      <a:lnTo>
                        <a:pt x="115" y="1570"/>
                      </a:lnTo>
                      <a:lnTo>
                        <a:pt x="113" y="1568"/>
                      </a:lnTo>
                      <a:lnTo>
                        <a:pt x="107" y="1565"/>
                      </a:lnTo>
                      <a:lnTo>
                        <a:pt x="102" y="1568"/>
                      </a:lnTo>
                      <a:lnTo>
                        <a:pt x="97" y="1565"/>
                      </a:lnTo>
                      <a:lnTo>
                        <a:pt x="99" y="1559"/>
                      </a:lnTo>
                      <a:lnTo>
                        <a:pt x="107" y="1554"/>
                      </a:lnTo>
                      <a:lnTo>
                        <a:pt x="123" y="1543"/>
                      </a:lnTo>
                      <a:lnTo>
                        <a:pt x="126" y="1534"/>
                      </a:lnTo>
                      <a:lnTo>
                        <a:pt x="123" y="1529"/>
                      </a:lnTo>
                      <a:lnTo>
                        <a:pt x="110" y="1518"/>
                      </a:lnTo>
                      <a:lnTo>
                        <a:pt x="105" y="1518"/>
                      </a:lnTo>
                      <a:lnTo>
                        <a:pt x="97" y="1524"/>
                      </a:lnTo>
                      <a:lnTo>
                        <a:pt x="90" y="1524"/>
                      </a:lnTo>
                      <a:lnTo>
                        <a:pt x="85" y="1521"/>
                      </a:lnTo>
                      <a:lnTo>
                        <a:pt x="85" y="1518"/>
                      </a:lnTo>
                      <a:lnTo>
                        <a:pt x="90" y="1504"/>
                      </a:lnTo>
                      <a:lnTo>
                        <a:pt x="97" y="1501"/>
                      </a:lnTo>
                      <a:lnTo>
                        <a:pt x="102" y="1499"/>
                      </a:lnTo>
                      <a:lnTo>
                        <a:pt x="118" y="1501"/>
                      </a:lnTo>
                      <a:lnTo>
                        <a:pt x="123" y="1501"/>
                      </a:lnTo>
                      <a:lnTo>
                        <a:pt x="123" y="1499"/>
                      </a:lnTo>
                      <a:lnTo>
                        <a:pt x="121" y="1493"/>
                      </a:lnTo>
                      <a:lnTo>
                        <a:pt x="118" y="1488"/>
                      </a:lnTo>
                      <a:lnTo>
                        <a:pt x="107" y="1474"/>
                      </a:lnTo>
                      <a:lnTo>
                        <a:pt x="105" y="1468"/>
                      </a:lnTo>
                      <a:lnTo>
                        <a:pt x="102" y="1465"/>
                      </a:lnTo>
                      <a:lnTo>
                        <a:pt x="99" y="1465"/>
                      </a:lnTo>
                      <a:lnTo>
                        <a:pt x="97" y="1465"/>
                      </a:lnTo>
                      <a:lnTo>
                        <a:pt x="88" y="1482"/>
                      </a:lnTo>
                      <a:lnTo>
                        <a:pt x="74" y="1482"/>
                      </a:lnTo>
                      <a:lnTo>
                        <a:pt x="74" y="1477"/>
                      </a:lnTo>
                      <a:lnTo>
                        <a:pt x="74" y="1474"/>
                      </a:lnTo>
                      <a:lnTo>
                        <a:pt x="77" y="1465"/>
                      </a:lnTo>
                      <a:lnTo>
                        <a:pt x="80" y="1457"/>
                      </a:lnTo>
                      <a:lnTo>
                        <a:pt x="80" y="1455"/>
                      </a:lnTo>
                      <a:lnTo>
                        <a:pt x="71" y="1455"/>
                      </a:lnTo>
                      <a:lnTo>
                        <a:pt x="63" y="1444"/>
                      </a:lnTo>
                      <a:lnTo>
                        <a:pt x="63" y="1435"/>
                      </a:lnTo>
                      <a:lnTo>
                        <a:pt x="69" y="1427"/>
                      </a:lnTo>
                      <a:lnTo>
                        <a:pt x="61" y="1402"/>
                      </a:lnTo>
                      <a:lnTo>
                        <a:pt x="63" y="1391"/>
                      </a:lnTo>
                      <a:lnTo>
                        <a:pt x="71" y="1378"/>
                      </a:lnTo>
                      <a:lnTo>
                        <a:pt x="71" y="1372"/>
                      </a:lnTo>
                      <a:lnTo>
                        <a:pt x="61" y="1355"/>
                      </a:lnTo>
                      <a:lnTo>
                        <a:pt x="44" y="1353"/>
                      </a:lnTo>
                      <a:lnTo>
                        <a:pt x="33" y="1344"/>
                      </a:lnTo>
                      <a:lnTo>
                        <a:pt x="28" y="1325"/>
                      </a:lnTo>
                      <a:lnTo>
                        <a:pt x="30" y="1317"/>
                      </a:lnTo>
                      <a:lnTo>
                        <a:pt x="33" y="1303"/>
                      </a:lnTo>
                      <a:lnTo>
                        <a:pt x="33" y="1297"/>
                      </a:lnTo>
                      <a:lnTo>
                        <a:pt x="30" y="1294"/>
                      </a:lnTo>
                      <a:lnTo>
                        <a:pt x="28" y="1292"/>
                      </a:lnTo>
                      <a:lnTo>
                        <a:pt x="19" y="1292"/>
                      </a:lnTo>
                      <a:lnTo>
                        <a:pt x="16" y="1294"/>
                      </a:lnTo>
                      <a:lnTo>
                        <a:pt x="11" y="1301"/>
                      </a:lnTo>
                      <a:lnTo>
                        <a:pt x="11" y="1303"/>
                      </a:lnTo>
                      <a:lnTo>
                        <a:pt x="2" y="1297"/>
                      </a:lnTo>
                      <a:lnTo>
                        <a:pt x="0" y="1286"/>
                      </a:lnTo>
                      <a:lnTo>
                        <a:pt x="2" y="1284"/>
                      </a:lnTo>
                      <a:lnTo>
                        <a:pt x="5" y="1278"/>
                      </a:lnTo>
                      <a:lnTo>
                        <a:pt x="16" y="1276"/>
                      </a:lnTo>
                      <a:lnTo>
                        <a:pt x="19" y="1270"/>
                      </a:lnTo>
                      <a:lnTo>
                        <a:pt x="16" y="1267"/>
                      </a:lnTo>
                      <a:lnTo>
                        <a:pt x="13" y="1265"/>
                      </a:lnTo>
                      <a:lnTo>
                        <a:pt x="2" y="1265"/>
                      </a:lnTo>
                      <a:lnTo>
                        <a:pt x="0" y="1261"/>
                      </a:lnTo>
                      <a:lnTo>
                        <a:pt x="0" y="1258"/>
                      </a:lnTo>
                      <a:lnTo>
                        <a:pt x="2" y="1256"/>
                      </a:lnTo>
                      <a:lnTo>
                        <a:pt x="5" y="1250"/>
                      </a:lnTo>
                      <a:lnTo>
                        <a:pt x="13" y="1250"/>
                      </a:lnTo>
                      <a:lnTo>
                        <a:pt x="21" y="1248"/>
                      </a:lnTo>
                      <a:lnTo>
                        <a:pt x="24" y="1240"/>
                      </a:lnTo>
                      <a:lnTo>
                        <a:pt x="33" y="1234"/>
                      </a:lnTo>
                      <a:lnTo>
                        <a:pt x="49" y="1232"/>
                      </a:lnTo>
                      <a:lnTo>
                        <a:pt x="49" y="1229"/>
                      </a:lnTo>
                      <a:lnTo>
                        <a:pt x="54" y="1215"/>
                      </a:lnTo>
                      <a:lnTo>
                        <a:pt x="61" y="1212"/>
                      </a:lnTo>
                      <a:lnTo>
                        <a:pt x="69" y="1212"/>
                      </a:lnTo>
                      <a:lnTo>
                        <a:pt x="74" y="1212"/>
                      </a:lnTo>
                      <a:lnTo>
                        <a:pt x="80" y="1209"/>
                      </a:lnTo>
                      <a:lnTo>
                        <a:pt x="85" y="1198"/>
                      </a:lnTo>
                      <a:lnTo>
                        <a:pt x="90" y="1196"/>
                      </a:lnTo>
                      <a:lnTo>
                        <a:pt x="94" y="1196"/>
                      </a:lnTo>
                      <a:lnTo>
                        <a:pt x="99" y="1198"/>
                      </a:lnTo>
                      <a:lnTo>
                        <a:pt x="107" y="1207"/>
                      </a:lnTo>
                      <a:lnTo>
                        <a:pt x="113" y="1196"/>
                      </a:lnTo>
                      <a:lnTo>
                        <a:pt x="123" y="1181"/>
                      </a:lnTo>
                      <a:lnTo>
                        <a:pt x="126" y="1176"/>
                      </a:lnTo>
                      <a:lnTo>
                        <a:pt x="13" y="1087"/>
                      </a:lnTo>
                      <a:lnTo>
                        <a:pt x="54" y="999"/>
                      </a:lnTo>
                      <a:lnTo>
                        <a:pt x="54" y="999"/>
                      </a:lnTo>
                      <a:close/>
                    </a:path>
                  </a:pathLst>
                </a:custGeom>
                <a:grpFill/>
                <a:ln w="12700" cap="flat" cmpd="sng" algn="ctr">
                  <a:solidFill>
                    <a:schemeClr val="bg1">
                      <a:lumMod val="85000"/>
                    </a:schemeClr>
                  </a:solidFill>
                  <a:prstDash val="solid"/>
                  <a:round/>
                  <a:headEnd type="none" w="med" len="med"/>
                  <a:tailEnd type="none" w="med" len="med"/>
                </a:ln>
              </p:spPr>
            </p:sp>
            <p:sp>
              <p:nvSpPr>
                <p:cNvPr id="51" name="ee4p_BR_12"/>
                <p:cNvSpPr>
                  <a:spLocks/>
                </p:cNvSpPr>
                <p:nvPr>
                  <p:custDataLst>
                    <p:tags r:id="rId13"/>
                  </p:custDataLst>
                </p:nvPr>
              </p:nvSpPr>
              <p:spPr bwMode="auto">
                <a:xfrm>
                  <a:off x="4928048" y="3838777"/>
                  <a:ext cx="1176481" cy="1022863"/>
                </a:xfrm>
                <a:custGeom>
                  <a:avLst/>
                  <a:gdLst/>
                  <a:ahLst/>
                  <a:cxnLst>
                    <a:cxn ang="0">
                      <a:pos x="220" y="2000"/>
                    </a:cxn>
                    <a:cxn ang="0">
                      <a:pos x="605" y="1810"/>
                    </a:cxn>
                    <a:cxn ang="0">
                      <a:pos x="839" y="1730"/>
                    </a:cxn>
                    <a:cxn ang="0">
                      <a:pos x="1129" y="1719"/>
                    </a:cxn>
                    <a:cxn ang="0">
                      <a:pos x="1323" y="1755"/>
                    </a:cxn>
                    <a:cxn ang="0">
                      <a:pos x="1446" y="1659"/>
                    </a:cxn>
                    <a:cxn ang="0">
                      <a:pos x="1505" y="1537"/>
                    </a:cxn>
                    <a:cxn ang="0">
                      <a:pos x="1441" y="1377"/>
                    </a:cxn>
                    <a:cxn ang="0">
                      <a:pos x="1490" y="1264"/>
                    </a:cxn>
                    <a:cxn ang="0">
                      <a:pos x="1571" y="1186"/>
                    </a:cxn>
                    <a:cxn ang="0">
                      <a:pos x="1563" y="1084"/>
                    </a:cxn>
                    <a:cxn ang="0">
                      <a:pos x="1487" y="987"/>
                    </a:cxn>
                    <a:cxn ang="0">
                      <a:pos x="1507" y="792"/>
                    </a:cxn>
                    <a:cxn ang="0">
                      <a:pos x="1582" y="718"/>
                    </a:cxn>
                    <a:cxn ang="0">
                      <a:pos x="1673" y="417"/>
                    </a:cxn>
                    <a:cxn ang="0">
                      <a:pos x="1847" y="210"/>
                    </a:cxn>
                    <a:cxn ang="0">
                      <a:pos x="2065" y="309"/>
                    </a:cxn>
                    <a:cxn ang="0">
                      <a:pos x="2139" y="370"/>
                    </a:cxn>
                    <a:cxn ang="0">
                      <a:pos x="2305" y="279"/>
                    </a:cxn>
                    <a:cxn ang="0">
                      <a:pos x="2493" y="163"/>
                    </a:cxn>
                    <a:cxn ang="0">
                      <a:pos x="2598" y="77"/>
                    </a:cxn>
                    <a:cxn ang="0">
                      <a:pos x="2766" y="13"/>
                    </a:cxn>
                    <a:cxn ang="0">
                      <a:pos x="2898" y="28"/>
                    </a:cxn>
                    <a:cxn ang="0">
                      <a:pos x="2959" y="194"/>
                    </a:cxn>
                    <a:cxn ang="0">
                      <a:pos x="3176" y="179"/>
                    </a:cxn>
                    <a:cxn ang="0">
                      <a:pos x="3393" y="279"/>
                    </a:cxn>
                    <a:cxn ang="0">
                      <a:pos x="3679" y="389"/>
                    </a:cxn>
                    <a:cxn ang="0">
                      <a:pos x="4152" y="604"/>
                    </a:cxn>
                    <a:cxn ang="0">
                      <a:pos x="4353" y="665"/>
                    </a:cxn>
                    <a:cxn ang="0">
                      <a:pos x="4474" y="729"/>
                    </a:cxn>
                    <a:cxn ang="0">
                      <a:pos x="4497" y="872"/>
                    </a:cxn>
                    <a:cxn ang="0">
                      <a:pos x="4372" y="1076"/>
                    </a:cxn>
                    <a:cxn ang="0">
                      <a:pos x="4259" y="1283"/>
                    </a:cxn>
                    <a:cxn ang="0">
                      <a:pos x="4405" y="1476"/>
                    </a:cxn>
                    <a:cxn ang="0">
                      <a:pos x="4195" y="1581"/>
                    </a:cxn>
                    <a:cxn ang="0">
                      <a:pos x="4068" y="1652"/>
                    </a:cxn>
                    <a:cxn ang="0">
                      <a:pos x="4110" y="1904"/>
                    </a:cxn>
                    <a:cxn ang="0">
                      <a:pos x="4077" y="1989"/>
                    </a:cxn>
                    <a:cxn ang="0">
                      <a:pos x="4110" y="2150"/>
                    </a:cxn>
                    <a:cxn ang="0">
                      <a:pos x="4008" y="2373"/>
                    </a:cxn>
                    <a:cxn ang="0">
                      <a:pos x="3746" y="2590"/>
                    </a:cxn>
                    <a:cxn ang="0">
                      <a:pos x="3699" y="2784"/>
                    </a:cxn>
                    <a:cxn ang="0">
                      <a:pos x="3602" y="2933"/>
                    </a:cxn>
                    <a:cxn ang="0">
                      <a:pos x="3561" y="3115"/>
                    </a:cxn>
                    <a:cxn ang="0">
                      <a:pos x="3210" y="3270"/>
                    </a:cxn>
                    <a:cxn ang="0">
                      <a:pos x="2989" y="3286"/>
                    </a:cxn>
                    <a:cxn ang="0">
                      <a:pos x="2788" y="3358"/>
                    </a:cxn>
                    <a:cxn ang="0">
                      <a:pos x="2570" y="3408"/>
                    </a:cxn>
                    <a:cxn ang="0">
                      <a:pos x="2291" y="3529"/>
                    </a:cxn>
                    <a:cxn ang="0">
                      <a:pos x="2151" y="3537"/>
                    </a:cxn>
                    <a:cxn ang="0">
                      <a:pos x="2084" y="3600"/>
                    </a:cxn>
                    <a:cxn ang="0">
                      <a:pos x="1893" y="3567"/>
                    </a:cxn>
                    <a:cxn ang="0">
                      <a:pos x="1802" y="3438"/>
                    </a:cxn>
                    <a:cxn ang="0">
                      <a:pos x="1775" y="3286"/>
                    </a:cxn>
                    <a:cxn ang="0">
                      <a:pos x="1835" y="3096"/>
                    </a:cxn>
                    <a:cxn ang="0">
                      <a:pos x="1714" y="2991"/>
                    </a:cxn>
                    <a:cxn ang="0">
                      <a:pos x="1599" y="2900"/>
                    </a:cxn>
                    <a:cxn ang="0">
                      <a:pos x="1571" y="2632"/>
                    </a:cxn>
                    <a:cxn ang="0">
                      <a:pos x="1454" y="2401"/>
                    </a:cxn>
                    <a:cxn ang="0">
                      <a:pos x="1168" y="2459"/>
                    </a:cxn>
                    <a:cxn ang="0">
                      <a:pos x="881" y="2600"/>
                    </a:cxn>
                    <a:cxn ang="0">
                      <a:pos x="486" y="2395"/>
                    </a:cxn>
                    <a:cxn ang="0">
                      <a:pos x="33" y="2434"/>
                    </a:cxn>
                  </a:cxnLst>
                  <a:rect l="0" t="0" r="r" b="b"/>
                  <a:pathLst>
                    <a:path w="4548" h="3642">
                      <a:moveTo>
                        <a:pt x="5" y="2329"/>
                      </a:moveTo>
                      <a:lnTo>
                        <a:pt x="3" y="2324"/>
                      </a:lnTo>
                      <a:lnTo>
                        <a:pt x="8" y="2315"/>
                      </a:lnTo>
                      <a:lnTo>
                        <a:pt x="0" y="2307"/>
                      </a:lnTo>
                      <a:lnTo>
                        <a:pt x="0" y="2304"/>
                      </a:lnTo>
                      <a:lnTo>
                        <a:pt x="3" y="2301"/>
                      </a:lnTo>
                      <a:lnTo>
                        <a:pt x="5" y="2288"/>
                      </a:lnTo>
                      <a:lnTo>
                        <a:pt x="11" y="2276"/>
                      </a:lnTo>
                      <a:lnTo>
                        <a:pt x="13" y="2273"/>
                      </a:lnTo>
                      <a:lnTo>
                        <a:pt x="22" y="2252"/>
                      </a:lnTo>
                      <a:lnTo>
                        <a:pt x="25" y="2246"/>
                      </a:lnTo>
                      <a:lnTo>
                        <a:pt x="30" y="2243"/>
                      </a:lnTo>
                      <a:lnTo>
                        <a:pt x="33" y="2243"/>
                      </a:lnTo>
                      <a:lnTo>
                        <a:pt x="41" y="2246"/>
                      </a:lnTo>
                      <a:lnTo>
                        <a:pt x="44" y="2246"/>
                      </a:lnTo>
                      <a:lnTo>
                        <a:pt x="49" y="2246"/>
                      </a:lnTo>
                      <a:lnTo>
                        <a:pt x="49" y="2240"/>
                      </a:lnTo>
                      <a:lnTo>
                        <a:pt x="49" y="2232"/>
                      </a:lnTo>
                      <a:lnTo>
                        <a:pt x="46" y="2227"/>
                      </a:lnTo>
                      <a:lnTo>
                        <a:pt x="33" y="2207"/>
                      </a:lnTo>
                      <a:lnTo>
                        <a:pt x="33" y="2202"/>
                      </a:lnTo>
                      <a:lnTo>
                        <a:pt x="38" y="2196"/>
                      </a:lnTo>
                      <a:lnTo>
                        <a:pt x="44" y="2194"/>
                      </a:lnTo>
                      <a:lnTo>
                        <a:pt x="58" y="2199"/>
                      </a:lnTo>
                      <a:lnTo>
                        <a:pt x="82" y="2207"/>
                      </a:lnTo>
                      <a:lnTo>
                        <a:pt x="86" y="2207"/>
                      </a:lnTo>
                      <a:lnTo>
                        <a:pt x="91" y="2202"/>
                      </a:lnTo>
                      <a:lnTo>
                        <a:pt x="91" y="2199"/>
                      </a:lnTo>
                      <a:lnTo>
                        <a:pt x="86" y="2191"/>
                      </a:lnTo>
                      <a:lnTo>
                        <a:pt x="72" y="2180"/>
                      </a:lnTo>
                      <a:lnTo>
                        <a:pt x="69" y="2177"/>
                      </a:lnTo>
                      <a:lnTo>
                        <a:pt x="72" y="2171"/>
                      </a:lnTo>
                      <a:lnTo>
                        <a:pt x="72" y="2169"/>
                      </a:lnTo>
                      <a:lnTo>
                        <a:pt x="77" y="2163"/>
                      </a:lnTo>
                      <a:lnTo>
                        <a:pt x="80" y="2152"/>
                      </a:lnTo>
                      <a:lnTo>
                        <a:pt x="86" y="2143"/>
                      </a:lnTo>
                      <a:lnTo>
                        <a:pt x="86" y="2135"/>
                      </a:lnTo>
                      <a:lnTo>
                        <a:pt x="89" y="2130"/>
                      </a:lnTo>
                      <a:lnTo>
                        <a:pt x="89" y="2127"/>
                      </a:lnTo>
                      <a:lnTo>
                        <a:pt x="94" y="2119"/>
                      </a:lnTo>
                      <a:lnTo>
                        <a:pt x="105" y="2107"/>
                      </a:lnTo>
                      <a:lnTo>
                        <a:pt x="113" y="2107"/>
                      </a:lnTo>
                      <a:lnTo>
                        <a:pt x="122" y="2097"/>
                      </a:lnTo>
                      <a:lnTo>
                        <a:pt x="125" y="2091"/>
                      </a:lnTo>
                      <a:lnTo>
                        <a:pt x="125" y="2089"/>
                      </a:lnTo>
                      <a:lnTo>
                        <a:pt x="125" y="2083"/>
                      </a:lnTo>
                      <a:lnTo>
                        <a:pt x="127" y="2078"/>
                      </a:lnTo>
                      <a:lnTo>
                        <a:pt x="149" y="2072"/>
                      </a:lnTo>
                      <a:lnTo>
                        <a:pt x="151" y="2066"/>
                      </a:lnTo>
                      <a:lnTo>
                        <a:pt x="149" y="2058"/>
                      </a:lnTo>
                      <a:lnTo>
                        <a:pt x="151" y="2056"/>
                      </a:lnTo>
                      <a:lnTo>
                        <a:pt x="158" y="2056"/>
                      </a:lnTo>
                      <a:lnTo>
                        <a:pt x="163" y="2056"/>
                      </a:lnTo>
                      <a:lnTo>
                        <a:pt x="187" y="2056"/>
                      </a:lnTo>
                      <a:lnTo>
                        <a:pt x="194" y="2050"/>
                      </a:lnTo>
                      <a:lnTo>
                        <a:pt x="204" y="2045"/>
                      </a:lnTo>
                      <a:lnTo>
                        <a:pt x="204" y="2042"/>
                      </a:lnTo>
                      <a:lnTo>
                        <a:pt x="207" y="2042"/>
                      </a:lnTo>
                      <a:lnTo>
                        <a:pt x="212" y="2030"/>
                      </a:lnTo>
                      <a:lnTo>
                        <a:pt x="224" y="2014"/>
                      </a:lnTo>
                      <a:lnTo>
                        <a:pt x="224" y="2003"/>
                      </a:lnTo>
                      <a:lnTo>
                        <a:pt x="220" y="2000"/>
                      </a:lnTo>
                      <a:lnTo>
                        <a:pt x="224" y="1992"/>
                      </a:lnTo>
                      <a:lnTo>
                        <a:pt x="218" y="1979"/>
                      </a:lnTo>
                      <a:lnTo>
                        <a:pt x="218" y="1973"/>
                      </a:lnTo>
                      <a:lnTo>
                        <a:pt x="224" y="1971"/>
                      </a:lnTo>
                      <a:lnTo>
                        <a:pt x="235" y="1964"/>
                      </a:lnTo>
                      <a:lnTo>
                        <a:pt x="237" y="1964"/>
                      </a:lnTo>
                      <a:lnTo>
                        <a:pt x="245" y="1953"/>
                      </a:lnTo>
                      <a:lnTo>
                        <a:pt x="253" y="1931"/>
                      </a:lnTo>
                      <a:lnTo>
                        <a:pt x="253" y="1928"/>
                      </a:lnTo>
                      <a:lnTo>
                        <a:pt x="256" y="1926"/>
                      </a:lnTo>
                      <a:lnTo>
                        <a:pt x="265" y="1923"/>
                      </a:lnTo>
                      <a:lnTo>
                        <a:pt x="271" y="1923"/>
                      </a:lnTo>
                      <a:lnTo>
                        <a:pt x="273" y="1920"/>
                      </a:lnTo>
                      <a:lnTo>
                        <a:pt x="281" y="1898"/>
                      </a:lnTo>
                      <a:lnTo>
                        <a:pt x="296" y="1879"/>
                      </a:lnTo>
                      <a:lnTo>
                        <a:pt x="301" y="1874"/>
                      </a:lnTo>
                      <a:lnTo>
                        <a:pt x="306" y="1871"/>
                      </a:lnTo>
                      <a:lnTo>
                        <a:pt x="309" y="1868"/>
                      </a:lnTo>
                      <a:lnTo>
                        <a:pt x="314" y="1866"/>
                      </a:lnTo>
                      <a:lnTo>
                        <a:pt x="322" y="1862"/>
                      </a:lnTo>
                      <a:lnTo>
                        <a:pt x="337" y="1866"/>
                      </a:lnTo>
                      <a:lnTo>
                        <a:pt x="345" y="1866"/>
                      </a:lnTo>
                      <a:lnTo>
                        <a:pt x="358" y="1857"/>
                      </a:lnTo>
                      <a:lnTo>
                        <a:pt x="391" y="1862"/>
                      </a:lnTo>
                      <a:lnTo>
                        <a:pt x="400" y="1854"/>
                      </a:lnTo>
                      <a:lnTo>
                        <a:pt x="406" y="1849"/>
                      </a:lnTo>
                      <a:lnTo>
                        <a:pt x="411" y="1835"/>
                      </a:lnTo>
                      <a:lnTo>
                        <a:pt x="414" y="1833"/>
                      </a:lnTo>
                      <a:lnTo>
                        <a:pt x="419" y="1833"/>
                      </a:lnTo>
                      <a:lnTo>
                        <a:pt x="434" y="1833"/>
                      </a:lnTo>
                      <a:lnTo>
                        <a:pt x="436" y="1838"/>
                      </a:lnTo>
                      <a:lnTo>
                        <a:pt x="452" y="1841"/>
                      </a:lnTo>
                      <a:lnTo>
                        <a:pt x="464" y="1841"/>
                      </a:lnTo>
                      <a:lnTo>
                        <a:pt x="472" y="1835"/>
                      </a:lnTo>
                      <a:lnTo>
                        <a:pt x="475" y="1835"/>
                      </a:lnTo>
                      <a:lnTo>
                        <a:pt x="478" y="1838"/>
                      </a:lnTo>
                      <a:lnTo>
                        <a:pt x="480" y="1841"/>
                      </a:lnTo>
                      <a:lnTo>
                        <a:pt x="486" y="1841"/>
                      </a:lnTo>
                      <a:lnTo>
                        <a:pt x="491" y="1846"/>
                      </a:lnTo>
                      <a:lnTo>
                        <a:pt x="500" y="1846"/>
                      </a:lnTo>
                      <a:lnTo>
                        <a:pt x="508" y="1849"/>
                      </a:lnTo>
                      <a:lnTo>
                        <a:pt x="511" y="1849"/>
                      </a:lnTo>
                      <a:lnTo>
                        <a:pt x="513" y="1849"/>
                      </a:lnTo>
                      <a:lnTo>
                        <a:pt x="516" y="1843"/>
                      </a:lnTo>
                      <a:lnTo>
                        <a:pt x="519" y="1838"/>
                      </a:lnTo>
                      <a:lnTo>
                        <a:pt x="524" y="1835"/>
                      </a:lnTo>
                      <a:lnTo>
                        <a:pt x="529" y="1838"/>
                      </a:lnTo>
                      <a:lnTo>
                        <a:pt x="533" y="1838"/>
                      </a:lnTo>
                      <a:lnTo>
                        <a:pt x="538" y="1835"/>
                      </a:lnTo>
                      <a:lnTo>
                        <a:pt x="547" y="1829"/>
                      </a:lnTo>
                      <a:lnTo>
                        <a:pt x="552" y="1826"/>
                      </a:lnTo>
                      <a:lnTo>
                        <a:pt x="557" y="1826"/>
                      </a:lnTo>
                      <a:lnTo>
                        <a:pt x="560" y="1826"/>
                      </a:lnTo>
                      <a:lnTo>
                        <a:pt x="569" y="1833"/>
                      </a:lnTo>
                      <a:lnTo>
                        <a:pt x="572" y="1833"/>
                      </a:lnTo>
                      <a:lnTo>
                        <a:pt x="574" y="1826"/>
                      </a:lnTo>
                      <a:lnTo>
                        <a:pt x="565" y="1818"/>
                      </a:lnTo>
                      <a:lnTo>
                        <a:pt x="569" y="1815"/>
                      </a:lnTo>
                      <a:lnTo>
                        <a:pt x="569" y="1813"/>
                      </a:lnTo>
                      <a:lnTo>
                        <a:pt x="577" y="1810"/>
                      </a:lnTo>
                      <a:lnTo>
                        <a:pt x="598" y="1807"/>
                      </a:lnTo>
                      <a:lnTo>
                        <a:pt x="605" y="1810"/>
                      </a:lnTo>
                      <a:lnTo>
                        <a:pt x="608" y="1807"/>
                      </a:lnTo>
                      <a:lnTo>
                        <a:pt x="610" y="1807"/>
                      </a:lnTo>
                      <a:lnTo>
                        <a:pt x="610" y="1805"/>
                      </a:lnTo>
                      <a:lnTo>
                        <a:pt x="613" y="1802"/>
                      </a:lnTo>
                      <a:lnTo>
                        <a:pt x="610" y="1790"/>
                      </a:lnTo>
                      <a:lnTo>
                        <a:pt x="613" y="1788"/>
                      </a:lnTo>
                      <a:lnTo>
                        <a:pt x="616" y="1788"/>
                      </a:lnTo>
                      <a:lnTo>
                        <a:pt x="621" y="1785"/>
                      </a:lnTo>
                      <a:lnTo>
                        <a:pt x="629" y="1788"/>
                      </a:lnTo>
                      <a:lnTo>
                        <a:pt x="632" y="1788"/>
                      </a:lnTo>
                      <a:lnTo>
                        <a:pt x="634" y="1790"/>
                      </a:lnTo>
                      <a:lnTo>
                        <a:pt x="634" y="1793"/>
                      </a:lnTo>
                      <a:lnTo>
                        <a:pt x="634" y="1802"/>
                      </a:lnTo>
                      <a:lnTo>
                        <a:pt x="634" y="1807"/>
                      </a:lnTo>
                      <a:lnTo>
                        <a:pt x="638" y="1815"/>
                      </a:lnTo>
                      <a:lnTo>
                        <a:pt x="657" y="1835"/>
                      </a:lnTo>
                      <a:lnTo>
                        <a:pt x="662" y="1849"/>
                      </a:lnTo>
                      <a:lnTo>
                        <a:pt x="665" y="1849"/>
                      </a:lnTo>
                      <a:lnTo>
                        <a:pt x="671" y="1851"/>
                      </a:lnTo>
                      <a:lnTo>
                        <a:pt x="679" y="1849"/>
                      </a:lnTo>
                      <a:lnTo>
                        <a:pt x="682" y="1846"/>
                      </a:lnTo>
                      <a:lnTo>
                        <a:pt x="685" y="1838"/>
                      </a:lnTo>
                      <a:lnTo>
                        <a:pt x="693" y="1829"/>
                      </a:lnTo>
                      <a:lnTo>
                        <a:pt x="698" y="1815"/>
                      </a:lnTo>
                      <a:lnTo>
                        <a:pt x="701" y="1815"/>
                      </a:lnTo>
                      <a:lnTo>
                        <a:pt x="710" y="1818"/>
                      </a:lnTo>
                      <a:lnTo>
                        <a:pt x="712" y="1815"/>
                      </a:lnTo>
                      <a:lnTo>
                        <a:pt x="715" y="1807"/>
                      </a:lnTo>
                      <a:lnTo>
                        <a:pt x="718" y="1805"/>
                      </a:lnTo>
                      <a:lnTo>
                        <a:pt x="720" y="1802"/>
                      </a:lnTo>
                      <a:lnTo>
                        <a:pt x="723" y="1802"/>
                      </a:lnTo>
                      <a:lnTo>
                        <a:pt x="731" y="1799"/>
                      </a:lnTo>
                      <a:lnTo>
                        <a:pt x="734" y="1790"/>
                      </a:lnTo>
                      <a:lnTo>
                        <a:pt x="740" y="1780"/>
                      </a:lnTo>
                      <a:lnTo>
                        <a:pt x="745" y="1774"/>
                      </a:lnTo>
                      <a:lnTo>
                        <a:pt x="751" y="1772"/>
                      </a:lnTo>
                      <a:lnTo>
                        <a:pt x="754" y="1769"/>
                      </a:lnTo>
                      <a:lnTo>
                        <a:pt x="754" y="1766"/>
                      </a:lnTo>
                      <a:lnTo>
                        <a:pt x="754" y="1764"/>
                      </a:lnTo>
                      <a:lnTo>
                        <a:pt x="745" y="1757"/>
                      </a:lnTo>
                      <a:lnTo>
                        <a:pt x="745" y="1755"/>
                      </a:lnTo>
                      <a:lnTo>
                        <a:pt x="748" y="1752"/>
                      </a:lnTo>
                      <a:lnTo>
                        <a:pt x="756" y="1755"/>
                      </a:lnTo>
                      <a:lnTo>
                        <a:pt x="767" y="1752"/>
                      </a:lnTo>
                      <a:lnTo>
                        <a:pt x="770" y="1749"/>
                      </a:lnTo>
                      <a:lnTo>
                        <a:pt x="781" y="1741"/>
                      </a:lnTo>
                      <a:lnTo>
                        <a:pt x="789" y="1741"/>
                      </a:lnTo>
                      <a:lnTo>
                        <a:pt x="789" y="1744"/>
                      </a:lnTo>
                      <a:lnTo>
                        <a:pt x="787" y="1746"/>
                      </a:lnTo>
                      <a:lnTo>
                        <a:pt x="787" y="1749"/>
                      </a:lnTo>
                      <a:lnTo>
                        <a:pt x="792" y="1749"/>
                      </a:lnTo>
                      <a:lnTo>
                        <a:pt x="795" y="1752"/>
                      </a:lnTo>
                      <a:lnTo>
                        <a:pt x="800" y="1752"/>
                      </a:lnTo>
                      <a:lnTo>
                        <a:pt x="800" y="1755"/>
                      </a:lnTo>
                      <a:lnTo>
                        <a:pt x="812" y="1749"/>
                      </a:lnTo>
                      <a:lnTo>
                        <a:pt x="814" y="1744"/>
                      </a:lnTo>
                      <a:lnTo>
                        <a:pt x="814" y="1738"/>
                      </a:lnTo>
                      <a:lnTo>
                        <a:pt x="823" y="1733"/>
                      </a:lnTo>
                      <a:lnTo>
                        <a:pt x="831" y="1736"/>
                      </a:lnTo>
                      <a:lnTo>
                        <a:pt x="833" y="1736"/>
                      </a:lnTo>
                      <a:lnTo>
                        <a:pt x="836" y="1730"/>
                      </a:lnTo>
                      <a:lnTo>
                        <a:pt x="839" y="1730"/>
                      </a:lnTo>
                      <a:lnTo>
                        <a:pt x="839" y="1721"/>
                      </a:lnTo>
                      <a:lnTo>
                        <a:pt x="842" y="1721"/>
                      </a:lnTo>
                      <a:lnTo>
                        <a:pt x="845" y="1719"/>
                      </a:lnTo>
                      <a:lnTo>
                        <a:pt x="850" y="1716"/>
                      </a:lnTo>
                      <a:lnTo>
                        <a:pt x="858" y="1708"/>
                      </a:lnTo>
                      <a:lnTo>
                        <a:pt x="866" y="1708"/>
                      </a:lnTo>
                      <a:lnTo>
                        <a:pt x="869" y="1713"/>
                      </a:lnTo>
                      <a:lnTo>
                        <a:pt x="881" y="1713"/>
                      </a:lnTo>
                      <a:lnTo>
                        <a:pt x="883" y="1719"/>
                      </a:lnTo>
                      <a:lnTo>
                        <a:pt x="897" y="1721"/>
                      </a:lnTo>
                      <a:lnTo>
                        <a:pt x="900" y="1724"/>
                      </a:lnTo>
                      <a:lnTo>
                        <a:pt x="902" y="1738"/>
                      </a:lnTo>
                      <a:lnTo>
                        <a:pt x="908" y="1738"/>
                      </a:lnTo>
                      <a:lnTo>
                        <a:pt x="914" y="1730"/>
                      </a:lnTo>
                      <a:lnTo>
                        <a:pt x="919" y="1728"/>
                      </a:lnTo>
                      <a:lnTo>
                        <a:pt x="925" y="1730"/>
                      </a:lnTo>
                      <a:lnTo>
                        <a:pt x="933" y="1724"/>
                      </a:lnTo>
                      <a:lnTo>
                        <a:pt x="941" y="1728"/>
                      </a:lnTo>
                      <a:lnTo>
                        <a:pt x="950" y="1724"/>
                      </a:lnTo>
                      <a:lnTo>
                        <a:pt x="955" y="1728"/>
                      </a:lnTo>
                      <a:lnTo>
                        <a:pt x="960" y="1724"/>
                      </a:lnTo>
                      <a:lnTo>
                        <a:pt x="966" y="1724"/>
                      </a:lnTo>
                      <a:lnTo>
                        <a:pt x="971" y="1724"/>
                      </a:lnTo>
                      <a:lnTo>
                        <a:pt x="977" y="1724"/>
                      </a:lnTo>
                      <a:lnTo>
                        <a:pt x="977" y="1721"/>
                      </a:lnTo>
                      <a:lnTo>
                        <a:pt x="977" y="1719"/>
                      </a:lnTo>
                      <a:lnTo>
                        <a:pt x="980" y="1716"/>
                      </a:lnTo>
                      <a:lnTo>
                        <a:pt x="996" y="1719"/>
                      </a:lnTo>
                      <a:lnTo>
                        <a:pt x="999" y="1719"/>
                      </a:lnTo>
                      <a:lnTo>
                        <a:pt x="1002" y="1716"/>
                      </a:lnTo>
                      <a:lnTo>
                        <a:pt x="1010" y="1716"/>
                      </a:lnTo>
                      <a:lnTo>
                        <a:pt x="1012" y="1719"/>
                      </a:lnTo>
                      <a:lnTo>
                        <a:pt x="1012" y="1724"/>
                      </a:lnTo>
                      <a:lnTo>
                        <a:pt x="1016" y="1728"/>
                      </a:lnTo>
                      <a:lnTo>
                        <a:pt x="1024" y="1728"/>
                      </a:lnTo>
                      <a:lnTo>
                        <a:pt x="1030" y="1733"/>
                      </a:lnTo>
                      <a:lnTo>
                        <a:pt x="1038" y="1728"/>
                      </a:lnTo>
                      <a:lnTo>
                        <a:pt x="1040" y="1728"/>
                      </a:lnTo>
                      <a:lnTo>
                        <a:pt x="1043" y="1730"/>
                      </a:lnTo>
                      <a:lnTo>
                        <a:pt x="1040" y="1736"/>
                      </a:lnTo>
                      <a:lnTo>
                        <a:pt x="1043" y="1738"/>
                      </a:lnTo>
                      <a:lnTo>
                        <a:pt x="1057" y="1730"/>
                      </a:lnTo>
                      <a:lnTo>
                        <a:pt x="1063" y="1733"/>
                      </a:lnTo>
                      <a:lnTo>
                        <a:pt x="1068" y="1730"/>
                      </a:lnTo>
                      <a:lnTo>
                        <a:pt x="1071" y="1730"/>
                      </a:lnTo>
                      <a:lnTo>
                        <a:pt x="1073" y="1730"/>
                      </a:lnTo>
                      <a:lnTo>
                        <a:pt x="1073" y="1736"/>
                      </a:lnTo>
                      <a:lnTo>
                        <a:pt x="1076" y="1736"/>
                      </a:lnTo>
                      <a:lnTo>
                        <a:pt x="1091" y="1736"/>
                      </a:lnTo>
                      <a:lnTo>
                        <a:pt x="1096" y="1733"/>
                      </a:lnTo>
                      <a:lnTo>
                        <a:pt x="1099" y="1736"/>
                      </a:lnTo>
                      <a:lnTo>
                        <a:pt x="1101" y="1736"/>
                      </a:lnTo>
                      <a:lnTo>
                        <a:pt x="1104" y="1736"/>
                      </a:lnTo>
                      <a:lnTo>
                        <a:pt x="1107" y="1741"/>
                      </a:lnTo>
                      <a:lnTo>
                        <a:pt x="1112" y="1741"/>
                      </a:lnTo>
                      <a:lnTo>
                        <a:pt x="1115" y="1741"/>
                      </a:lnTo>
                      <a:lnTo>
                        <a:pt x="1115" y="1738"/>
                      </a:lnTo>
                      <a:lnTo>
                        <a:pt x="1109" y="1736"/>
                      </a:lnTo>
                      <a:lnTo>
                        <a:pt x="1109" y="1733"/>
                      </a:lnTo>
                      <a:lnTo>
                        <a:pt x="1121" y="1724"/>
                      </a:lnTo>
                      <a:lnTo>
                        <a:pt x="1126" y="1719"/>
                      </a:lnTo>
                      <a:lnTo>
                        <a:pt x="1129" y="1719"/>
                      </a:lnTo>
                      <a:lnTo>
                        <a:pt x="1132" y="1719"/>
                      </a:lnTo>
                      <a:lnTo>
                        <a:pt x="1134" y="1724"/>
                      </a:lnTo>
                      <a:lnTo>
                        <a:pt x="1145" y="1724"/>
                      </a:lnTo>
                      <a:lnTo>
                        <a:pt x="1145" y="1730"/>
                      </a:lnTo>
                      <a:lnTo>
                        <a:pt x="1148" y="1733"/>
                      </a:lnTo>
                      <a:lnTo>
                        <a:pt x="1159" y="1733"/>
                      </a:lnTo>
                      <a:lnTo>
                        <a:pt x="1168" y="1736"/>
                      </a:lnTo>
                      <a:lnTo>
                        <a:pt x="1173" y="1736"/>
                      </a:lnTo>
                      <a:lnTo>
                        <a:pt x="1173" y="1741"/>
                      </a:lnTo>
                      <a:lnTo>
                        <a:pt x="1178" y="1746"/>
                      </a:lnTo>
                      <a:lnTo>
                        <a:pt x="1178" y="1752"/>
                      </a:lnTo>
                      <a:lnTo>
                        <a:pt x="1187" y="1755"/>
                      </a:lnTo>
                      <a:lnTo>
                        <a:pt x="1193" y="1757"/>
                      </a:lnTo>
                      <a:lnTo>
                        <a:pt x="1201" y="1761"/>
                      </a:lnTo>
                      <a:lnTo>
                        <a:pt x="1203" y="1761"/>
                      </a:lnTo>
                      <a:lnTo>
                        <a:pt x="1209" y="1761"/>
                      </a:lnTo>
                      <a:lnTo>
                        <a:pt x="1211" y="1757"/>
                      </a:lnTo>
                      <a:lnTo>
                        <a:pt x="1214" y="1752"/>
                      </a:lnTo>
                      <a:lnTo>
                        <a:pt x="1217" y="1752"/>
                      </a:lnTo>
                      <a:lnTo>
                        <a:pt x="1220" y="1755"/>
                      </a:lnTo>
                      <a:lnTo>
                        <a:pt x="1223" y="1761"/>
                      </a:lnTo>
                      <a:lnTo>
                        <a:pt x="1228" y="1764"/>
                      </a:lnTo>
                      <a:lnTo>
                        <a:pt x="1234" y="1766"/>
                      </a:lnTo>
                      <a:lnTo>
                        <a:pt x="1234" y="1769"/>
                      </a:lnTo>
                      <a:lnTo>
                        <a:pt x="1237" y="1772"/>
                      </a:lnTo>
                      <a:lnTo>
                        <a:pt x="1239" y="1772"/>
                      </a:lnTo>
                      <a:lnTo>
                        <a:pt x="1247" y="1766"/>
                      </a:lnTo>
                      <a:lnTo>
                        <a:pt x="1247" y="1769"/>
                      </a:lnTo>
                      <a:lnTo>
                        <a:pt x="1247" y="1774"/>
                      </a:lnTo>
                      <a:lnTo>
                        <a:pt x="1247" y="1780"/>
                      </a:lnTo>
                      <a:lnTo>
                        <a:pt x="1250" y="1780"/>
                      </a:lnTo>
                      <a:lnTo>
                        <a:pt x="1254" y="1780"/>
                      </a:lnTo>
                      <a:lnTo>
                        <a:pt x="1254" y="1788"/>
                      </a:lnTo>
                      <a:lnTo>
                        <a:pt x="1256" y="1790"/>
                      </a:lnTo>
                      <a:lnTo>
                        <a:pt x="1259" y="1788"/>
                      </a:lnTo>
                      <a:lnTo>
                        <a:pt x="1264" y="1785"/>
                      </a:lnTo>
                      <a:lnTo>
                        <a:pt x="1267" y="1785"/>
                      </a:lnTo>
                      <a:lnTo>
                        <a:pt x="1270" y="1777"/>
                      </a:lnTo>
                      <a:lnTo>
                        <a:pt x="1272" y="1774"/>
                      </a:lnTo>
                      <a:lnTo>
                        <a:pt x="1283" y="1780"/>
                      </a:lnTo>
                      <a:lnTo>
                        <a:pt x="1286" y="1777"/>
                      </a:lnTo>
                      <a:lnTo>
                        <a:pt x="1289" y="1780"/>
                      </a:lnTo>
                      <a:lnTo>
                        <a:pt x="1292" y="1780"/>
                      </a:lnTo>
                      <a:lnTo>
                        <a:pt x="1295" y="1777"/>
                      </a:lnTo>
                      <a:lnTo>
                        <a:pt x="1295" y="1774"/>
                      </a:lnTo>
                      <a:lnTo>
                        <a:pt x="1292" y="1772"/>
                      </a:lnTo>
                      <a:lnTo>
                        <a:pt x="1295" y="1769"/>
                      </a:lnTo>
                      <a:lnTo>
                        <a:pt x="1295" y="1766"/>
                      </a:lnTo>
                      <a:lnTo>
                        <a:pt x="1297" y="1764"/>
                      </a:lnTo>
                      <a:lnTo>
                        <a:pt x="1300" y="1766"/>
                      </a:lnTo>
                      <a:lnTo>
                        <a:pt x="1306" y="1769"/>
                      </a:lnTo>
                      <a:lnTo>
                        <a:pt x="1308" y="1769"/>
                      </a:lnTo>
                      <a:lnTo>
                        <a:pt x="1308" y="1766"/>
                      </a:lnTo>
                      <a:lnTo>
                        <a:pt x="1306" y="1764"/>
                      </a:lnTo>
                      <a:lnTo>
                        <a:pt x="1308" y="1757"/>
                      </a:lnTo>
                      <a:lnTo>
                        <a:pt x="1308" y="1752"/>
                      </a:lnTo>
                      <a:lnTo>
                        <a:pt x="1314" y="1749"/>
                      </a:lnTo>
                      <a:lnTo>
                        <a:pt x="1316" y="1746"/>
                      </a:lnTo>
                      <a:lnTo>
                        <a:pt x="1319" y="1749"/>
                      </a:lnTo>
                      <a:lnTo>
                        <a:pt x="1323" y="1749"/>
                      </a:lnTo>
                      <a:lnTo>
                        <a:pt x="1319" y="1752"/>
                      </a:lnTo>
                      <a:lnTo>
                        <a:pt x="1323" y="1755"/>
                      </a:lnTo>
                      <a:lnTo>
                        <a:pt x="1325" y="1755"/>
                      </a:lnTo>
                      <a:lnTo>
                        <a:pt x="1328" y="1757"/>
                      </a:lnTo>
                      <a:lnTo>
                        <a:pt x="1333" y="1755"/>
                      </a:lnTo>
                      <a:lnTo>
                        <a:pt x="1336" y="1752"/>
                      </a:lnTo>
                      <a:lnTo>
                        <a:pt x="1341" y="1752"/>
                      </a:lnTo>
                      <a:lnTo>
                        <a:pt x="1341" y="1749"/>
                      </a:lnTo>
                      <a:lnTo>
                        <a:pt x="1339" y="1746"/>
                      </a:lnTo>
                      <a:lnTo>
                        <a:pt x="1341" y="1741"/>
                      </a:lnTo>
                      <a:lnTo>
                        <a:pt x="1344" y="1738"/>
                      </a:lnTo>
                      <a:lnTo>
                        <a:pt x="1347" y="1738"/>
                      </a:lnTo>
                      <a:lnTo>
                        <a:pt x="1344" y="1733"/>
                      </a:lnTo>
                      <a:lnTo>
                        <a:pt x="1355" y="1733"/>
                      </a:lnTo>
                      <a:lnTo>
                        <a:pt x="1355" y="1738"/>
                      </a:lnTo>
                      <a:lnTo>
                        <a:pt x="1358" y="1738"/>
                      </a:lnTo>
                      <a:lnTo>
                        <a:pt x="1361" y="1738"/>
                      </a:lnTo>
                      <a:lnTo>
                        <a:pt x="1366" y="1733"/>
                      </a:lnTo>
                      <a:lnTo>
                        <a:pt x="1366" y="1730"/>
                      </a:lnTo>
                      <a:lnTo>
                        <a:pt x="1369" y="1730"/>
                      </a:lnTo>
                      <a:lnTo>
                        <a:pt x="1372" y="1730"/>
                      </a:lnTo>
                      <a:lnTo>
                        <a:pt x="1377" y="1716"/>
                      </a:lnTo>
                      <a:lnTo>
                        <a:pt x="1380" y="1716"/>
                      </a:lnTo>
                      <a:lnTo>
                        <a:pt x="1383" y="1719"/>
                      </a:lnTo>
                      <a:lnTo>
                        <a:pt x="1383" y="1721"/>
                      </a:lnTo>
                      <a:lnTo>
                        <a:pt x="1388" y="1719"/>
                      </a:lnTo>
                      <a:lnTo>
                        <a:pt x="1392" y="1719"/>
                      </a:lnTo>
                      <a:lnTo>
                        <a:pt x="1392" y="1716"/>
                      </a:lnTo>
                      <a:lnTo>
                        <a:pt x="1397" y="1711"/>
                      </a:lnTo>
                      <a:lnTo>
                        <a:pt x="1392" y="1708"/>
                      </a:lnTo>
                      <a:lnTo>
                        <a:pt x="1388" y="1703"/>
                      </a:lnTo>
                      <a:lnTo>
                        <a:pt x="1385" y="1700"/>
                      </a:lnTo>
                      <a:lnTo>
                        <a:pt x="1388" y="1697"/>
                      </a:lnTo>
                      <a:lnTo>
                        <a:pt x="1394" y="1695"/>
                      </a:lnTo>
                      <a:lnTo>
                        <a:pt x="1392" y="1688"/>
                      </a:lnTo>
                      <a:lnTo>
                        <a:pt x="1397" y="1686"/>
                      </a:lnTo>
                      <a:lnTo>
                        <a:pt x="1397" y="1688"/>
                      </a:lnTo>
                      <a:lnTo>
                        <a:pt x="1400" y="1692"/>
                      </a:lnTo>
                      <a:lnTo>
                        <a:pt x="1400" y="1688"/>
                      </a:lnTo>
                      <a:lnTo>
                        <a:pt x="1400" y="1686"/>
                      </a:lnTo>
                      <a:lnTo>
                        <a:pt x="1400" y="1683"/>
                      </a:lnTo>
                      <a:lnTo>
                        <a:pt x="1405" y="1678"/>
                      </a:lnTo>
                      <a:lnTo>
                        <a:pt x="1408" y="1678"/>
                      </a:lnTo>
                      <a:lnTo>
                        <a:pt x="1410" y="1678"/>
                      </a:lnTo>
                      <a:lnTo>
                        <a:pt x="1405" y="1675"/>
                      </a:lnTo>
                      <a:lnTo>
                        <a:pt x="1410" y="1675"/>
                      </a:lnTo>
                      <a:lnTo>
                        <a:pt x="1413" y="1672"/>
                      </a:lnTo>
                      <a:lnTo>
                        <a:pt x="1416" y="1667"/>
                      </a:lnTo>
                      <a:lnTo>
                        <a:pt x="1418" y="1667"/>
                      </a:lnTo>
                      <a:lnTo>
                        <a:pt x="1424" y="1661"/>
                      </a:lnTo>
                      <a:lnTo>
                        <a:pt x="1427" y="1661"/>
                      </a:lnTo>
                      <a:lnTo>
                        <a:pt x="1427" y="1664"/>
                      </a:lnTo>
                      <a:lnTo>
                        <a:pt x="1427" y="1672"/>
                      </a:lnTo>
                      <a:lnTo>
                        <a:pt x="1427" y="1675"/>
                      </a:lnTo>
                      <a:lnTo>
                        <a:pt x="1430" y="1678"/>
                      </a:lnTo>
                      <a:lnTo>
                        <a:pt x="1430" y="1675"/>
                      </a:lnTo>
                      <a:lnTo>
                        <a:pt x="1430" y="1672"/>
                      </a:lnTo>
                      <a:lnTo>
                        <a:pt x="1435" y="1669"/>
                      </a:lnTo>
                      <a:lnTo>
                        <a:pt x="1435" y="1664"/>
                      </a:lnTo>
                      <a:lnTo>
                        <a:pt x="1441" y="1661"/>
                      </a:lnTo>
                      <a:lnTo>
                        <a:pt x="1443" y="1664"/>
                      </a:lnTo>
                      <a:lnTo>
                        <a:pt x="1446" y="1661"/>
                      </a:lnTo>
                      <a:lnTo>
                        <a:pt x="1449" y="1661"/>
                      </a:lnTo>
                      <a:lnTo>
                        <a:pt x="1446" y="1659"/>
                      </a:lnTo>
                      <a:lnTo>
                        <a:pt x="1449" y="1655"/>
                      </a:lnTo>
                      <a:lnTo>
                        <a:pt x="1449" y="1652"/>
                      </a:lnTo>
                      <a:lnTo>
                        <a:pt x="1454" y="1655"/>
                      </a:lnTo>
                      <a:lnTo>
                        <a:pt x="1454" y="1652"/>
                      </a:lnTo>
                      <a:lnTo>
                        <a:pt x="1457" y="1652"/>
                      </a:lnTo>
                      <a:lnTo>
                        <a:pt x="1463" y="1647"/>
                      </a:lnTo>
                      <a:lnTo>
                        <a:pt x="1466" y="1647"/>
                      </a:lnTo>
                      <a:lnTo>
                        <a:pt x="1469" y="1650"/>
                      </a:lnTo>
                      <a:lnTo>
                        <a:pt x="1471" y="1650"/>
                      </a:lnTo>
                      <a:lnTo>
                        <a:pt x="1471" y="1647"/>
                      </a:lnTo>
                      <a:lnTo>
                        <a:pt x="1469" y="1644"/>
                      </a:lnTo>
                      <a:lnTo>
                        <a:pt x="1471" y="1639"/>
                      </a:lnTo>
                      <a:lnTo>
                        <a:pt x="1477" y="1639"/>
                      </a:lnTo>
                      <a:lnTo>
                        <a:pt x="1477" y="1642"/>
                      </a:lnTo>
                      <a:lnTo>
                        <a:pt x="1479" y="1639"/>
                      </a:lnTo>
                      <a:lnTo>
                        <a:pt x="1485" y="1639"/>
                      </a:lnTo>
                      <a:lnTo>
                        <a:pt x="1485" y="1636"/>
                      </a:lnTo>
                      <a:lnTo>
                        <a:pt x="1479" y="1636"/>
                      </a:lnTo>
                      <a:lnTo>
                        <a:pt x="1485" y="1634"/>
                      </a:lnTo>
                      <a:lnTo>
                        <a:pt x="1485" y="1628"/>
                      </a:lnTo>
                      <a:lnTo>
                        <a:pt x="1487" y="1631"/>
                      </a:lnTo>
                      <a:lnTo>
                        <a:pt x="1490" y="1628"/>
                      </a:lnTo>
                      <a:lnTo>
                        <a:pt x="1496" y="1628"/>
                      </a:lnTo>
                      <a:lnTo>
                        <a:pt x="1496" y="1626"/>
                      </a:lnTo>
                      <a:lnTo>
                        <a:pt x="1502" y="1623"/>
                      </a:lnTo>
                      <a:lnTo>
                        <a:pt x="1502" y="1619"/>
                      </a:lnTo>
                      <a:lnTo>
                        <a:pt x="1499" y="1619"/>
                      </a:lnTo>
                      <a:lnTo>
                        <a:pt x="1499" y="1614"/>
                      </a:lnTo>
                      <a:lnTo>
                        <a:pt x="1505" y="1616"/>
                      </a:lnTo>
                      <a:lnTo>
                        <a:pt x="1507" y="1614"/>
                      </a:lnTo>
                      <a:lnTo>
                        <a:pt x="1515" y="1608"/>
                      </a:lnTo>
                      <a:lnTo>
                        <a:pt x="1518" y="1608"/>
                      </a:lnTo>
                      <a:lnTo>
                        <a:pt x="1523" y="1611"/>
                      </a:lnTo>
                      <a:lnTo>
                        <a:pt x="1521" y="1606"/>
                      </a:lnTo>
                      <a:lnTo>
                        <a:pt x="1523" y="1606"/>
                      </a:lnTo>
                      <a:lnTo>
                        <a:pt x="1526" y="1606"/>
                      </a:lnTo>
                      <a:lnTo>
                        <a:pt x="1530" y="1603"/>
                      </a:lnTo>
                      <a:lnTo>
                        <a:pt x="1530" y="1598"/>
                      </a:lnTo>
                      <a:lnTo>
                        <a:pt x="1526" y="1592"/>
                      </a:lnTo>
                      <a:lnTo>
                        <a:pt x="1523" y="1592"/>
                      </a:lnTo>
                      <a:lnTo>
                        <a:pt x="1526" y="1592"/>
                      </a:lnTo>
                      <a:lnTo>
                        <a:pt x="1523" y="1590"/>
                      </a:lnTo>
                      <a:lnTo>
                        <a:pt x="1526" y="1587"/>
                      </a:lnTo>
                      <a:lnTo>
                        <a:pt x="1523" y="1583"/>
                      </a:lnTo>
                      <a:lnTo>
                        <a:pt x="1518" y="1581"/>
                      </a:lnTo>
                      <a:lnTo>
                        <a:pt x="1518" y="1578"/>
                      </a:lnTo>
                      <a:lnTo>
                        <a:pt x="1515" y="1578"/>
                      </a:lnTo>
                      <a:lnTo>
                        <a:pt x="1515" y="1573"/>
                      </a:lnTo>
                      <a:lnTo>
                        <a:pt x="1515" y="1570"/>
                      </a:lnTo>
                      <a:lnTo>
                        <a:pt x="1518" y="1570"/>
                      </a:lnTo>
                      <a:lnTo>
                        <a:pt x="1518" y="1565"/>
                      </a:lnTo>
                      <a:lnTo>
                        <a:pt x="1510" y="1559"/>
                      </a:lnTo>
                      <a:lnTo>
                        <a:pt x="1510" y="1554"/>
                      </a:lnTo>
                      <a:lnTo>
                        <a:pt x="1507" y="1554"/>
                      </a:lnTo>
                      <a:lnTo>
                        <a:pt x="1507" y="1550"/>
                      </a:lnTo>
                      <a:lnTo>
                        <a:pt x="1505" y="1547"/>
                      </a:lnTo>
                      <a:lnTo>
                        <a:pt x="1507" y="1547"/>
                      </a:lnTo>
                      <a:lnTo>
                        <a:pt x="1505" y="1545"/>
                      </a:lnTo>
                      <a:lnTo>
                        <a:pt x="1507" y="1542"/>
                      </a:lnTo>
                      <a:lnTo>
                        <a:pt x="1505" y="1542"/>
                      </a:lnTo>
                      <a:lnTo>
                        <a:pt x="1507" y="1539"/>
                      </a:lnTo>
                      <a:lnTo>
                        <a:pt x="1505" y="1537"/>
                      </a:lnTo>
                      <a:lnTo>
                        <a:pt x="1502" y="1537"/>
                      </a:lnTo>
                      <a:lnTo>
                        <a:pt x="1499" y="1534"/>
                      </a:lnTo>
                      <a:lnTo>
                        <a:pt x="1502" y="1534"/>
                      </a:lnTo>
                      <a:lnTo>
                        <a:pt x="1499" y="1531"/>
                      </a:lnTo>
                      <a:lnTo>
                        <a:pt x="1502" y="1526"/>
                      </a:lnTo>
                      <a:lnTo>
                        <a:pt x="1499" y="1523"/>
                      </a:lnTo>
                      <a:lnTo>
                        <a:pt x="1499" y="1521"/>
                      </a:lnTo>
                      <a:lnTo>
                        <a:pt x="1499" y="1518"/>
                      </a:lnTo>
                      <a:lnTo>
                        <a:pt x="1496" y="1512"/>
                      </a:lnTo>
                      <a:lnTo>
                        <a:pt x="1493" y="1509"/>
                      </a:lnTo>
                      <a:lnTo>
                        <a:pt x="1496" y="1506"/>
                      </a:lnTo>
                      <a:lnTo>
                        <a:pt x="1499" y="1504"/>
                      </a:lnTo>
                      <a:lnTo>
                        <a:pt x="1502" y="1501"/>
                      </a:lnTo>
                      <a:lnTo>
                        <a:pt x="1505" y="1501"/>
                      </a:lnTo>
                      <a:lnTo>
                        <a:pt x="1499" y="1498"/>
                      </a:lnTo>
                      <a:lnTo>
                        <a:pt x="1502" y="1498"/>
                      </a:lnTo>
                      <a:lnTo>
                        <a:pt x="1505" y="1496"/>
                      </a:lnTo>
                      <a:lnTo>
                        <a:pt x="1502" y="1493"/>
                      </a:lnTo>
                      <a:lnTo>
                        <a:pt x="1502" y="1490"/>
                      </a:lnTo>
                      <a:lnTo>
                        <a:pt x="1507" y="1488"/>
                      </a:lnTo>
                      <a:lnTo>
                        <a:pt x="1507" y="1485"/>
                      </a:lnTo>
                      <a:lnTo>
                        <a:pt x="1510" y="1482"/>
                      </a:lnTo>
                      <a:lnTo>
                        <a:pt x="1510" y="1479"/>
                      </a:lnTo>
                      <a:lnTo>
                        <a:pt x="1507" y="1476"/>
                      </a:lnTo>
                      <a:lnTo>
                        <a:pt x="1507" y="1473"/>
                      </a:lnTo>
                      <a:lnTo>
                        <a:pt x="1510" y="1470"/>
                      </a:lnTo>
                      <a:lnTo>
                        <a:pt x="1515" y="1465"/>
                      </a:lnTo>
                      <a:lnTo>
                        <a:pt x="1518" y="1460"/>
                      </a:lnTo>
                      <a:lnTo>
                        <a:pt x="1518" y="1454"/>
                      </a:lnTo>
                      <a:lnTo>
                        <a:pt x="1521" y="1452"/>
                      </a:lnTo>
                      <a:lnTo>
                        <a:pt x="1523" y="1452"/>
                      </a:lnTo>
                      <a:lnTo>
                        <a:pt x="1523" y="1449"/>
                      </a:lnTo>
                      <a:lnTo>
                        <a:pt x="1530" y="1449"/>
                      </a:lnTo>
                      <a:lnTo>
                        <a:pt x="1535" y="1443"/>
                      </a:lnTo>
                      <a:lnTo>
                        <a:pt x="1535" y="1440"/>
                      </a:lnTo>
                      <a:lnTo>
                        <a:pt x="1535" y="1437"/>
                      </a:lnTo>
                      <a:lnTo>
                        <a:pt x="1532" y="1437"/>
                      </a:lnTo>
                      <a:lnTo>
                        <a:pt x="1532" y="1435"/>
                      </a:lnTo>
                      <a:lnTo>
                        <a:pt x="1532" y="1429"/>
                      </a:lnTo>
                      <a:lnTo>
                        <a:pt x="1538" y="1429"/>
                      </a:lnTo>
                      <a:lnTo>
                        <a:pt x="1538" y="1421"/>
                      </a:lnTo>
                      <a:lnTo>
                        <a:pt x="1538" y="1416"/>
                      </a:lnTo>
                      <a:lnTo>
                        <a:pt x="1535" y="1410"/>
                      </a:lnTo>
                      <a:lnTo>
                        <a:pt x="1530" y="1401"/>
                      </a:lnTo>
                      <a:lnTo>
                        <a:pt x="1521" y="1393"/>
                      </a:lnTo>
                      <a:lnTo>
                        <a:pt x="1518" y="1388"/>
                      </a:lnTo>
                      <a:lnTo>
                        <a:pt x="1515" y="1383"/>
                      </a:lnTo>
                      <a:lnTo>
                        <a:pt x="1510" y="1380"/>
                      </a:lnTo>
                      <a:lnTo>
                        <a:pt x="1502" y="1383"/>
                      </a:lnTo>
                      <a:lnTo>
                        <a:pt x="1493" y="1380"/>
                      </a:lnTo>
                      <a:lnTo>
                        <a:pt x="1487" y="1377"/>
                      </a:lnTo>
                      <a:lnTo>
                        <a:pt x="1482" y="1377"/>
                      </a:lnTo>
                      <a:lnTo>
                        <a:pt x="1477" y="1380"/>
                      </a:lnTo>
                      <a:lnTo>
                        <a:pt x="1463" y="1383"/>
                      </a:lnTo>
                      <a:lnTo>
                        <a:pt x="1461" y="1385"/>
                      </a:lnTo>
                      <a:lnTo>
                        <a:pt x="1457" y="1385"/>
                      </a:lnTo>
                      <a:lnTo>
                        <a:pt x="1454" y="1385"/>
                      </a:lnTo>
                      <a:lnTo>
                        <a:pt x="1452" y="1374"/>
                      </a:lnTo>
                      <a:lnTo>
                        <a:pt x="1446" y="1383"/>
                      </a:lnTo>
                      <a:lnTo>
                        <a:pt x="1443" y="1380"/>
                      </a:lnTo>
                      <a:lnTo>
                        <a:pt x="1441" y="1380"/>
                      </a:lnTo>
                      <a:lnTo>
                        <a:pt x="1441" y="1377"/>
                      </a:lnTo>
                      <a:lnTo>
                        <a:pt x="1441" y="1368"/>
                      </a:lnTo>
                      <a:lnTo>
                        <a:pt x="1441" y="1363"/>
                      </a:lnTo>
                      <a:lnTo>
                        <a:pt x="1438" y="1360"/>
                      </a:lnTo>
                      <a:lnTo>
                        <a:pt x="1435" y="1355"/>
                      </a:lnTo>
                      <a:lnTo>
                        <a:pt x="1427" y="1352"/>
                      </a:lnTo>
                      <a:lnTo>
                        <a:pt x="1424" y="1352"/>
                      </a:lnTo>
                      <a:lnTo>
                        <a:pt x="1427" y="1347"/>
                      </a:lnTo>
                      <a:lnTo>
                        <a:pt x="1433" y="1347"/>
                      </a:lnTo>
                      <a:lnTo>
                        <a:pt x="1433" y="1342"/>
                      </a:lnTo>
                      <a:lnTo>
                        <a:pt x="1433" y="1338"/>
                      </a:lnTo>
                      <a:lnTo>
                        <a:pt x="1430" y="1338"/>
                      </a:lnTo>
                      <a:lnTo>
                        <a:pt x="1430" y="1335"/>
                      </a:lnTo>
                      <a:lnTo>
                        <a:pt x="1427" y="1332"/>
                      </a:lnTo>
                      <a:lnTo>
                        <a:pt x="1433" y="1332"/>
                      </a:lnTo>
                      <a:lnTo>
                        <a:pt x="1433" y="1330"/>
                      </a:lnTo>
                      <a:lnTo>
                        <a:pt x="1430" y="1330"/>
                      </a:lnTo>
                      <a:lnTo>
                        <a:pt x="1430" y="1327"/>
                      </a:lnTo>
                      <a:lnTo>
                        <a:pt x="1427" y="1324"/>
                      </a:lnTo>
                      <a:lnTo>
                        <a:pt x="1430" y="1324"/>
                      </a:lnTo>
                      <a:lnTo>
                        <a:pt x="1430" y="1322"/>
                      </a:lnTo>
                      <a:lnTo>
                        <a:pt x="1430" y="1319"/>
                      </a:lnTo>
                      <a:lnTo>
                        <a:pt x="1433" y="1322"/>
                      </a:lnTo>
                      <a:lnTo>
                        <a:pt x="1435" y="1319"/>
                      </a:lnTo>
                      <a:lnTo>
                        <a:pt x="1435" y="1311"/>
                      </a:lnTo>
                      <a:lnTo>
                        <a:pt x="1433" y="1308"/>
                      </a:lnTo>
                      <a:lnTo>
                        <a:pt x="1441" y="1302"/>
                      </a:lnTo>
                      <a:lnTo>
                        <a:pt x="1438" y="1302"/>
                      </a:lnTo>
                      <a:lnTo>
                        <a:pt x="1438" y="1297"/>
                      </a:lnTo>
                      <a:lnTo>
                        <a:pt x="1438" y="1299"/>
                      </a:lnTo>
                      <a:lnTo>
                        <a:pt x="1443" y="1302"/>
                      </a:lnTo>
                      <a:lnTo>
                        <a:pt x="1443" y="1305"/>
                      </a:lnTo>
                      <a:lnTo>
                        <a:pt x="1446" y="1305"/>
                      </a:lnTo>
                      <a:lnTo>
                        <a:pt x="1446" y="1308"/>
                      </a:lnTo>
                      <a:lnTo>
                        <a:pt x="1454" y="1305"/>
                      </a:lnTo>
                      <a:lnTo>
                        <a:pt x="1457" y="1311"/>
                      </a:lnTo>
                      <a:lnTo>
                        <a:pt x="1461" y="1308"/>
                      </a:lnTo>
                      <a:lnTo>
                        <a:pt x="1457" y="1305"/>
                      </a:lnTo>
                      <a:lnTo>
                        <a:pt x="1463" y="1305"/>
                      </a:lnTo>
                      <a:lnTo>
                        <a:pt x="1463" y="1308"/>
                      </a:lnTo>
                      <a:lnTo>
                        <a:pt x="1466" y="1305"/>
                      </a:lnTo>
                      <a:lnTo>
                        <a:pt x="1461" y="1299"/>
                      </a:lnTo>
                      <a:lnTo>
                        <a:pt x="1463" y="1299"/>
                      </a:lnTo>
                      <a:lnTo>
                        <a:pt x="1463" y="1297"/>
                      </a:lnTo>
                      <a:lnTo>
                        <a:pt x="1466" y="1297"/>
                      </a:lnTo>
                      <a:lnTo>
                        <a:pt x="1469" y="1294"/>
                      </a:lnTo>
                      <a:lnTo>
                        <a:pt x="1474" y="1297"/>
                      </a:lnTo>
                      <a:lnTo>
                        <a:pt x="1474" y="1294"/>
                      </a:lnTo>
                      <a:lnTo>
                        <a:pt x="1471" y="1289"/>
                      </a:lnTo>
                      <a:lnTo>
                        <a:pt x="1474" y="1286"/>
                      </a:lnTo>
                      <a:lnTo>
                        <a:pt x="1474" y="1283"/>
                      </a:lnTo>
                      <a:lnTo>
                        <a:pt x="1471" y="1281"/>
                      </a:lnTo>
                      <a:lnTo>
                        <a:pt x="1469" y="1281"/>
                      </a:lnTo>
                      <a:lnTo>
                        <a:pt x="1469" y="1278"/>
                      </a:lnTo>
                      <a:lnTo>
                        <a:pt x="1477" y="1275"/>
                      </a:lnTo>
                      <a:lnTo>
                        <a:pt x="1477" y="1273"/>
                      </a:lnTo>
                      <a:lnTo>
                        <a:pt x="1474" y="1269"/>
                      </a:lnTo>
                      <a:lnTo>
                        <a:pt x="1479" y="1269"/>
                      </a:lnTo>
                      <a:lnTo>
                        <a:pt x="1479" y="1266"/>
                      </a:lnTo>
                      <a:lnTo>
                        <a:pt x="1479" y="1264"/>
                      </a:lnTo>
                      <a:lnTo>
                        <a:pt x="1485" y="1264"/>
                      </a:lnTo>
                      <a:lnTo>
                        <a:pt x="1487" y="1266"/>
                      </a:lnTo>
                      <a:lnTo>
                        <a:pt x="1490" y="1264"/>
                      </a:lnTo>
                      <a:lnTo>
                        <a:pt x="1487" y="1261"/>
                      </a:lnTo>
                      <a:lnTo>
                        <a:pt x="1490" y="1261"/>
                      </a:lnTo>
                      <a:lnTo>
                        <a:pt x="1487" y="1255"/>
                      </a:lnTo>
                      <a:lnTo>
                        <a:pt x="1490" y="1253"/>
                      </a:lnTo>
                      <a:lnTo>
                        <a:pt x="1493" y="1253"/>
                      </a:lnTo>
                      <a:lnTo>
                        <a:pt x="1499" y="1253"/>
                      </a:lnTo>
                      <a:lnTo>
                        <a:pt x="1499" y="1250"/>
                      </a:lnTo>
                      <a:lnTo>
                        <a:pt x="1499" y="1247"/>
                      </a:lnTo>
                      <a:lnTo>
                        <a:pt x="1502" y="1245"/>
                      </a:lnTo>
                      <a:lnTo>
                        <a:pt x="1502" y="1247"/>
                      </a:lnTo>
                      <a:lnTo>
                        <a:pt x="1505" y="1247"/>
                      </a:lnTo>
                      <a:lnTo>
                        <a:pt x="1505" y="1245"/>
                      </a:lnTo>
                      <a:lnTo>
                        <a:pt x="1502" y="1242"/>
                      </a:lnTo>
                      <a:lnTo>
                        <a:pt x="1499" y="1239"/>
                      </a:lnTo>
                      <a:lnTo>
                        <a:pt x="1502" y="1239"/>
                      </a:lnTo>
                      <a:lnTo>
                        <a:pt x="1505" y="1239"/>
                      </a:lnTo>
                      <a:lnTo>
                        <a:pt x="1507" y="1239"/>
                      </a:lnTo>
                      <a:lnTo>
                        <a:pt x="1502" y="1236"/>
                      </a:lnTo>
                      <a:lnTo>
                        <a:pt x="1505" y="1233"/>
                      </a:lnTo>
                      <a:lnTo>
                        <a:pt x="1502" y="1230"/>
                      </a:lnTo>
                      <a:lnTo>
                        <a:pt x="1510" y="1230"/>
                      </a:lnTo>
                      <a:lnTo>
                        <a:pt x="1513" y="1228"/>
                      </a:lnTo>
                      <a:lnTo>
                        <a:pt x="1510" y="1225"/>
                      </a:lnTo>
                      <a:lnTo>
                        <a:pt x="1513" y="1222"/>
                      </a:lnTo>
                      <a:lnTo>
                        <a:pt x="1513" y="1225"/>
                      </a:lnTo>
                      <a:lnTo>
                        <a:pt x="1518" y="1222"/>
                      </a:lnTo>
                      <a:lnTo>
                        <a:pt x="1521" y="1228"/>
                      </a:lnTo>
                      <a:lnTo>
                        <a:pt x="1523" y="1225"/>
                      </a:lnTo>
                      <a:lnTo>
                        <a:pt x="1521" y="1222"/>
                      </a:lnTo>
                      <a:lnTo>
                        <a:pt x="1526" y="1220"/>
                      </a:lnTo>
                      <a:lnTo>
                        <a:pt x="1532" y="1222"/>
                      </a:lnTo>
                      <a:lnTo>
                        <a:pt x="1530" y="1217"/>
                      </a:lnTo>
                      <a:lnTo>
                        <a:pt x="1532" y="1214"/>
                      </a:lnTo>
                      <a:lnTo>
                        <a:pt x="1532" y="1212"/>
                      </a:lnTo>
                      <a:lnTo>
                        <a:pt x="1535" y="1212"/>
                      </a:lnTo>
                      <a:lnTo>
                        <a:pt x="1532" y="1209"/>
                      </a:lnTo>
                      <a:lnTo>
                        <a:pt x="1535" y="1204"/>
                      </a:lnTo>
                      <a:lnTo>
                        <a:pt x="1538" y="1209"/>
                      </a:lnTo>
                      <a:lnTo>
                        <a:pt x="1538" y="1200"/>
                      </a:lnTo>
                      <a:lnTo>
                        <a:pt x="1540" y="1204"/>
                      </a:lnTo>
                      <a:lnTo>
                        <a:pt x="1540" y="1200"/>
                      </a:lnTo>
                      <a:lnTo>
                        <a:pt x="1543" y="1204"/>
                      </a:lnTo>
                      <a:lnTo>
                        <a:pt x="1546" y="1204"/>
                      </a:lnTo>
                      <a:lnTo>
                        <a:pt x="1546" y="1194"/>
                      </a:lnTo>
                      <a:lnTo>
                        <a:pt x="1546" y="1197"/>
                      </a:lnTo>
                      <a:lnTo>
                        <a:pt x="1548" y="1194"/>
                      </a:lnTo>
                      <a:lnTo>
                        <a:pt x="1551" y="1197"/>
                      </a:lnTo>
                      <a:lnTo>
                        <a:pt x="1554" y="1197"/>
                      </a:lnTo>
                      <a:lnTo>
                        <a:pt x="1551" y="1197"/>
                      </a:lnTo>
                      <a:lnTo>
                        <a:pt x="1551" y="1194"/>
                      </a:lnTo>
                      <a:lnTo>
                        <a:pt x="1554" y="1194"/>
                      </a:lnTo>
                      <a:lnTo>
                        <a:pt x="1554" y="1192"/>
                      </a:lnTo>
                      <a:lnTo>
                        <a:pt x="1563" y="1194"/>
                      </a:lnTo>
                      <a:lnTo>
                        <a:pt x="1559" y="1192"/>
                      </a:lnTo>
                      <a:lnTo>
                        <a:pt x="1563" y="1189"/>
                      </a:lnTo>
                      <a:lnTo>
                        <a:pt x="1565" y="1192"/>
                      </a:lnTo>
                      <a:lnTo>
                        <a:pt x="1568" y="1189"/>
                      </a:lnTo>
                      <a:lnTo>
                        <a:pt x="1565" y="1189"/>
                      </a:lnTo>
                      <a:lnTo>
                        <a:pt x="1565" y="1186"/>
                      </a:lnTo>
                      <a:lnTo>
                        <a:pt x="1568" y="1186"/>
                      </a:lnTo>
                      <a:lnTo>
                        <a:pt x="1571" y="1184"/>
                      </a:lnTo>
                      <a:lnTo>
                        <a:pt x="1571" y="1186"/>
                      </a:lnTo>
                      <a:lnTo>
                        <a:pt x="1573" y="1184"/>
                      </a:lnTo>
                      <a:lnTo>
                        <a:pt x="1571" y="1184"/>
                      </a:lnTo>
                      <a:lnTo>
                        <a:pt x="1571" y="1176"/>
                      </a:lnTo>
                      <a:lnTo>
                        <a:pt x="1573" y="1176"/>
                      </a:lnTo>
                      <a:lnTo>
                        <a:pt x="1573" y="1178"/>
                      </a:lnTo>
                      <a:lnTo>
                        <a:pt x="1579" y="1181"/>
                      </a:lnTo>
                      <a:lnTo>
                        <a:pt x="1576" y="1178"/>
                      </a:lnTo>
                      <a:lnTo>
                        <a:pt x="1579" y="1178"/>
                      </a:lnTo>
                      <a:lnTo>
                        <a:pt x="1579" y="1176"/>
                      </a:lnTo>
                      <a:lnTo>
                        <a:pt x="1582" y="1173"/>
                      </a:lnTo>
                      <a:lnTo>
                        <a:pt x="1582" y="1176"/>
                      </a:lnTo>
                      <a:lnTo>
                        <a:pt x="1582" y="1173"/>
                      </a:lnTo>
                      <a:lnTo>
                        <a:pt x="1584" y="1176"/>
                      </a:lnTo>
                      <a:lnTo>
                        <a:pt x="1584" y="1173"/>
                      </a:lnTo>
                      <a:lnTo>
                        <a:pt x="1587" y="1173"/>
                      </a:lnTo>
                      <a:lnTo>
                        <a:pt x="1584" y="1170"/>
                      </a:lnTo>
                      <a:lnTo>
                        <a:pt x="1587" y="1170"/>
                      </a:lnTo>
                      <a:lnTo>
                        <a:pt x="1590" y="1170"/>
                      </a:lnTo>
                      <a:lnTo>
                        <a:pt x="1587" y="1168"/>
                      </a:lnTo>
                      <a:lnTo>
                        <a:pt x="1592" y="1164"/>
                      </a:lnTo>
                      <a:lnTo>
                        <a:pt x="1592" y="1161"/>
                      </a:lnTo>
                      <a:lnTo>
                        <a:pt x="1587" y="1164"/>
                      </a:lnTo>
                      <a:lnTo>
                        <a:pt x="1587" y="1161"/>
                      </a:lnTo>
                      <a:lnTo>
                        <a:pt x="1590" y="1161"/>
                      </a:lnTo>
                      <a:lnTo>
                        <a:pt x="1590" y="1159"/>
                      </a:lnTo>
                      <a:lnTo>
                        <a:pt x="1584" y="1159"/>
                      </a:lnTo>
                      <a:lnTo>
                        <a:pt x="1592" y="1156"/>
                      </a:lnTo>
                      <a:lnTo>
                        <a:pt x="1595" y="1153"/>
                      </a:lnTo>
                      <a:lnTo>
                        <a:pt x="1592" y="1151"/>
                      </a:lnTo>
                      <a:lnTo>
                        <a:pt x="1587" y="1148"/>
                      </a:lnTo>
                      <a:lnTo>
                        <a:pt x="1587" y="1145"/>
                      </a:lnTo>
                      <a:lnTo>
                        <a:pt x="1584" y="1148"/>
                      </a:lnTo>
                      <a:lnTo>
                        <a:pt x="1582" y="1145"/>
                      </a:lnTo>
                      <a:lnTo>
                        <a:pt x="1584" y="1143"/>
                      </a:lnTo>
                      <a:lnTo>
                        <a:pt x="1579" y="1140"/>
                      </a:lnTo>
                      <a:lnTo>
                        <a:pt x="1582" y="1137"/>
                      </a:lnTo>
                      <a:lnTo>
                        <a:pt x="1579" y="1134"/>
                      </a:lnTo>
                      <a:lnTo>
                        <a:pt x="1576" y="1137"/>
                      </a:lnTo>
                      <a:lnTo>
                        <a:pt x="1576" y="1134"/>
                      </a:lnTo>
                      <a:lnTo>
                        <a:pt x="1573" y="1131"/>
                      </a:lnTo>
                      <a:lnTo>
                        <a:pt x="1582" y="1128"/>
                      </a:lnTo>
                      <a:lnTo>
                        <a:pt x="1579" y="1125"/>
                      </a:lnTo>
                      <a:lnTo>
                        <a:pt x="1576" y="1125"/>
                      </a:lnTo>
                      <a:lnTo>
                        <a:pt x="1573" y="1120"/>
                      </a:lnTo>
                      <a:lnTo>
                        <a:pt x="1571" y="1120"/>
                      </a:lnTo>
                      <a:lnTo>
                        <a:pt x="1565" y="1123"/>
                      </a:lnTo>
                      <a:lnTo>
                        <a:pt x="1568" y="1117"/>
                      </a:lnTo>
                      <a:lnTo>
                        <a:pt x="1565" y="1117"/>
                      </a:lnTo>
                      <a:lnTo>
                        <a:pt x="1563" y="1115"/>
                      </a:lnTo>
                      <a:lnTo>
                        <a:pt x="1565" y="1115"/>
                      </a:lnTo>
                      <a:lnTo>
                        <a:pt x="1568" y="1112"/>
                      </a:lnTo>
                      <a:lnTo>
                        <a:pt x="1565" y="1112"/>
                      </a:lnTo>
                      <a:lnTo>
                        <a:pt x="1565" y="1109"/>
                      </a:lnTo>
                      <a:lnTo>
                        <a:pt x="1563" y="1109"/>
                      </a:lnTo>
                      <a:lnTo>
                        <a:pt x="1559" y="1104"/>
                      </a:lnTo>
                      <a:lnTo>
                        <a:pt x="1565" y="1104"/>
                      </a:lnTo>
                      <a:lnTo>
                        <a:pt x="1565" y="1101"/>
                      </a:lnTo>
                      <a:lnTo>
                        <a:pt x="1563" y="1092"/>
                      </a:lnTo>
                      <a:lnTo>
                        <a:pt x="1568" y="1087"/>
                      </a:lnTo>
                      <a:lnTo>
                        <a:pt x="1559" y="1090"/>
                      </a:lnTo>
                      <a:lnTo>
                        <a:pt x="1559" y="1087"/>
                      </a:lnTo>
                      <a:lnTo>
                        <a:pt x="1563" y="1084"/>
                      </a:lnTo>
                      <a:lnTo>
                        <a:pt x="1556" y="1082"/>
                      </a:lnTo>
                      <a:lnTo>
                        <a:pt x="1556" y="1079"/>
                      </a:lnTo>
                      <a:lnTo>
                        <a:pt x="1556" y="1076"/>
                      </a:lnTo>
                      <a:lnTo>
                        <a:pt x="1556" y="1074"/>
                      </a:lnTo>
                      <a:lnTo>
                        <a:pt x="1556" y="1071"/>
                      </a:lnTo>
                      <a:lnTo>
                        <a:pt x="1556" y="1068"/>
                      </a:lnTo>
                      <a:lnTo>
                        <a:pt x="1551" y="1068"/>
                      </a:lnTo>
                      <a:lnTo>
                        <a:pt x="1551" y="1063"/>
                      </a:lnTo>
                      <a:lnTo>
                        <a:pt x="1554" y="1063"/>
                      </a:lnTo>
                      <a:lnTo>
                        <a:pt x="1551" y="1063"/>
                      </a:lnTo>
                      <a:lnTo>
                        <a:pt x="1548" y="1059"/>
                      </a:lnTo>
                      <a:lnTo>
                        <a:pt x="1551" y="1054"/>
                      </a:lnTo>
                      <a:lnTo>
                        <a:pt x="1554" y="1051"/>
                      </a:lnTo>
                      <a:lnTo>
                        <a:pt x="1551" y="1048"/>
                      </a:lnTo>
                      <a:lnTo>
                        <a:pt x="1554" y="1048"/>
                      </a:lnTo>
                      <a:lnTo>
                        <a:pt x="1554" y="1046"/>
                      </a:lnTo>
                      <a:lnTo>
                        <a:pt x="1554" y="1040"/>
                      </a:lnTo>
                      <a:lnTo>
                        <a:pt x="1548" y="1038"/>
                      </a:lnTo>
                      <a:lnTo>
                        <a:pt x="1546" y="1038"/>
                      </a:lnTo>
                      <a:lnTo>
                        <a:pt x="1543" y="1038"/>
                      </a:lnTo>
                      <a:lnTo>
                        <a:pt x="1546" y="1035"/>
                      </a:lnTo>
                      <a:lnTo>
                        <a:pt x="1546" y="1026"/>
                      </a:lnTo>
                      <a:lnTo>
                        <a:pt x="1543" y="1030"/>
                      </a:lnTo>
                      <a:lnTo>
                        <a:pt x="1540" y="1026"/>
                      </a:lnTo>
                      <a:lnTo>
                        <a:pt x="1546" y="1023"/>
                      </a:lnTo>
                      <a:lnTo>
                        <a:pt x="1543" y="1021"/>
                      </a:lnTo>
                      <a:lnTo>
                        <a:pt x="1540" y="1021"/>
                      </a:lnTo>
                      <a:lnTo>
                        <a:pt x="1543" y="1021"/>
                      </a:lnTo>
                      <a:lnTo>
                        <a:pt x="1540" y="1015"/>
                      </a:lnTo>
                      <a:lnTo>
                        <a:pt x="1538" y="1018"/>
                      </a:lnTo>
                      <a:lnTo>
                        <a:pt x="1535" y="1021"/>
                      </a:lnTo>
                      <a:lnTo>
                        <a:pt x="1532" y="1018"/>
                      </a:lnTo>
                      <a:lnTo>
                        <a:pt x="1532" y="1013"/>
                      </a:lnTo>
                      <a:lnTo>
                        <a:pt x="1530" y="1013"/>
                      </a:lnTo>
                      <a:lnTo>
                        <a:pt x="1530" y="1010"/>
                      </a:lnTo>
                      <a:lnTo>
                        <a:pt x="1530" y="1007"/>
                      </a:lnTo>
                      <a:lnTo>
                        <a:pt x="1526" y="1010"/>
                      </a:lnTo>
                      <a:lnTo>
                        <a:pt x="1526" y="1005"/>
                      </a:lnTo>
                      <a:lnTo>
                        <a:pt x="1523" y="1005"/>
                      </a:lnTo>
                      <a:lnTo>
                        <a:pt x="1521" y="1007"/>
                      </a:lnTo>
                      <a:lnTo>
                        <a:pt x="1521" y="1005"/>
                      </a:lnTo>
                      <a:lnTo>
                        <a:pt x="1518" y="999"/>
                      </a:lnTo>
                      <a:lnTo>
                        <a:pt x="1515" y="1002"/>
                      </a:lnTo>
                      <a:lnTo>
                        <a:pt x="1518" y="997"/>
                      </a:lnTo>
                      <a:lnTo>
                        <a:pt x="1515" y="994"/>
                      </a:lnTo>
                      <a:lnTo>
                        <a:pt x="1515" y="997"/>
                      </a:lnTo>
                      <a:lnTo>
                        <a:pt x="1510" y="1002"/>
                      </a:lnTo>
                      <a:lnTo>
                        <a:pt x="1507" y="999"/>
                      </a:lnTo>
                      <a:lnTo>
                        <a:pt x="1510" y="997"/>
                      </a:lnTo>
                      <a:lnTo>
                        <a:pt x="1507" y="994"/>
                      </a:lnTo>
                      <a:lnTo>
                        <a:pt x="1510" y="994"/>
                      </a:lnTo>
                      <a:lnTo>
                        <a:pt x="1507" y="994"/>
                      </a:lnTo>
                      <a:lnTo>
                        <a:pt x="1507" y="990"/>
                      </a:lnTo>
                      <a:lnTo>
                        <a:pt x="1502" y="990"/>
                      </a:lnTo>
                      <a:lnTo>
                        <a:pt x="1502" y="987"/>
                      </a:lnTo>
                      <a:lnTo>
                        <a:pt x="1496" y="990"/>
                      </a:lnTo>
                      <a:lnTo>
                        <a:pt x="1496" y="994"/>
                      </a:lnTo>
                      <a:lnTo>
                        <a:pt x="1493" y="994"/>
                      </a:lnTo>
                      <a:lnTo>
                        <a:pt x="1493" y="990"/>
                      </a:lnTo>
                      <a:lnTo>
                        <a:pt x="1493" y="985"/>
                      </a:lnTo>
                      <a:lnTo>
                        <a:pt x="1487" y="985"/>
                      </a:lnTo>
                      <a:lnTo>
                        <a:pt x="1487" y="987"/>
                      </a:lnTo>
                      <a:lnTo>
                        <a:pt x="1485" y="985"/>
                      </a:lnTo>
                      <a:lnTo>
                        <a:pt x="1485" y="982"/>
                      </a:lnTo>
                      <a:lnTo>
                        <a:pt x="1482" y="982"/>
                      </a:lnTo>
                      <a:lnTo>
                        <a:pt x="1477" y="982"/>
                      </a:lnTo>
                      <a:lnTo>
                        <a:pt x="1479" y="979"/>
                      </a:lnTo>
                      <a:lnTo>
                        <a:pt x="1477" y="979"/>
                      </a:lnTo>
                      <a:lnTo>
                        <a:pt x="1479" y="977"/>
                      </a:lnTo>
                      <a:lnTo>
                        <a:pt x="1477" y="977"/>
                      </a:lnTo>
                      <a:lnTo>
                        <a:pt x="1479" y="974"/>
                      </a:lnTo>
                      <a:lnTo>
                        <a:pt x="1477" y="971"/>
                      </a:lnTo>
                      <a:lnTo>
                        <a:pt x="1474" y="974"/>
                      </a:lnTo>
                      <a:lnTo>
                        <a:pt x="1471" y="971"/>
                      </a:lnTo>
                      <a:lnTo>
                        <a:pt x="1471" y="974"/>
                      </a:lnTo>
                      <a:lnTo>
                        <a:pt x="1469" y="971"/>
                      </a:lnTo>
                      <a:lnTo>
                        <a:pt x="1471" y="969"/>
                      </a:lnTo>
                      <a:lnTo>
                        <a:pt x="1466" y="969"/>
                      </a:lnTo>
                      <a:lnTo>
                        <a:pt x="1466" y="963"/>
                      </a:lnTo>
                      <a:lnTo>
                        <a:pt x="1463" y="957"/>
                      </a:lnTo>
                      <a:lnTo>
                        <a:pt x="1461" y="954"/>
                      </a:lnTo>
                      <a:lnTo>
                        <a:pt x="1461" y="952"/>
                      </a:lnTo>
                      <a:lnTo>
                        <a:pt x="1461" y="946"/>
                      </a:lnTo>
                      <a:lnTo>
                        <a:pt x="1461" y="938"/>
                      </a:lnTo>
                      <a:lnTo>
                        <a:pt x="1463" y="936"/>
                      </a:lnTo>
                      <a:lnTo>
                        <a:pt x="1466" y="930"/>
                      </a:lnTo>
                      <a:lnTo>
                        <a:pt x="1471" y="928"/>
                      </a:lnTo>
                      <a:lnTo>
                        <a:pt x="1474" y="918"/>
                      </a:lnTo>
                      <a:lnTo>
                        <a:pt x="1471" y="908"/>
                      </a:lnTo>
                      <a:lnTo>
                        <a:pt x="1474" y="905"/>
                      </a:lnTo>
                      <a:lnTo>
                        <a:pt x="1477" y="902"/>
                      </a:lnTo>
                      <a:lnTo>
                        <a:pt x="1482" y="900"/>
                      </a:lnTo>
                      <a:lnTo>
                        <a:pt x="1490" y="885"/>
                      </a:lnTo>
                      <a:lnTo>
                        <a:pt x="1493" y="880"/>
                      </a:lnTo>
                      <a:lnTo>
                        <a:pt x="1496" y="880"/>
                      </a:lnTo>
                      <a:lnTo>
                        <a:pt x="1499" y="872"/>
                      </a:lnTo>
                      <a:lnTo>
                        <a:pt x="1502" y="869"/>
                      </a:lnTo>
                      <a:lnTo>
                        <a:pt x="1502" y="864"/>
                      </a:lnTo>
                      <a:lnTo>
                        <a:pt x="1505" y="861"/>
                      </a:lnTo>
                      <a:lnTo>
                        <a:pt x="1502" y="859"/>
                      </a:lnTo>
                      <a:lnTo>
                        <a:pt x="1505" y="852"/>
                      </a:lnTo>
                      <a:lnTo>
                        <a:pt x="1510" y="850"/>
                      </a:lnTo>
                      <a:lnTo>
                        <a:pt x="1510" y="847"/>
                      </a:lnTo>
                      <a:lnTo>
                        <a:pt x="1513" y="847"/>
                      </a:lnTo>
                      <a:lnTo>
                        <a:pt x="1515" y="839"/>
                      </a:lnTo>
                      <a:lnTo>
                        <a:pt x="1513" y="831"/>
                      </a:lnTo>
                      <a:lnTo>
                        <a:pt x="1515" y="831"/>
                      </a:lnTo>
                      <a:lnTo>
                        <a:pt x="1513" y="828"/>
                      </a:lnTo>
                      <a:lnTo>
                        <a:pt x="1510" y="825"/>
                      </a:lnTo>
                      <a:lnTo>
                        <a:pt x="1513" y="825"/>
                      </a:lnTo>
                      <a:lnTo>
                        <a:pt x="1510" y="820"/>
                      </a:lnTo>
                      <a:lnTo>
                        <a:pt x="1507" y="820"/>
                      </a:lnTo>
                      <a:lnTo>
                        <a:pt x="1510" y="816"/>
                      </a:lnTo>
                      <a:lnTo>
                        <a:pt x="1510" y="814"/>
                      </a:lnTo>
                      <a:lnTo>
                        <a:pt x="1507" y="811"/>
                      </a:lnTo>
                      <a:lnTo>
                        <a:pt x="1505" y="811"/>
                      </a:lnTo>
                      <a:lnTo>
                        <a:pt x="1507" y="808"/>
                      </a:lnTo>
                      <a:lnTo>
                        <a:pt x="1505" y="806"/>
                      </a:lnTo>
                      <a:lnTo>
                        <a:pt x="1507" y="803"/>
                      </a:lnTo>
                      <a:lnTo>
                        <a:pt x="1505" y="803"/>
                      </a:lnTo>
                      <a:lnTo>
                        <a:pt x="1505" y="800"/>
                      </a:lnTo>
                      <a:lnTo>
                        <a:pt x="1502" y="798"/>
                      </a:lnTo>
                      <a:lnTo>
                        <a:pt x="1507" y="795"/>
                      </a:lnTo>
                      <a:lnTo>
                        <a:pt x="1507" y="792"/>
                      </a:lnTo>
                      <a:lnTo>
                        <a:pt x="1510" y="792"/>
                      </a:lnTo>
                      <a:lnTo>
                        <a:pt x="1507" y="790"/>
                      </a:lnTo>
                      <a:lnTo>
                        <a:pt x="1510" y="787"/>
                      </a:lnTo>
                      <a:lnTo>
                        <a:pt x="1510" y="784"/>
                      </a:lnTo>
                      <a:lnTo>
                        <a:pt x="1510" y="781"/>
                      </a:lnTo>
                      <a:lnTo>
                        <a:pt x="1510" y="778"/>
                      </a:lnTo>
                      <a:lnTo>
                        <a:pt x="1513" y="781"/>
                      </a:lnTo>
                      <a:lnTo>
                        <a:pt x="1513" y="778"/>
                      </a:lnTo>
                      <a:lnTo>
                        <a:pt x="1515" y="778"/>
                      </a:lnTo>
                      <a:lnTo>
                        <a:pt x="1515" y="781"/>
                      </a:lnTo>
                      <a:lnTo>
                        <a:pt x="1518" y="778"/>
                      </a:lnTo>
                      <a:lnTo>
                        <a:pt x="1518" y="775"/>
                      </a:lnTo>
                      <a:lnTo>
                        <a:pt x="1521" y="775"/>
                      </a:lnTo>
                      <a:lnTo>
                        <a:pt x="1521" y="772"/>
                      </a:lnTo>
                      <a:lnTo>
                        <a:pt x="1518" y="770"/>
                      </a:lnTo>
                      <a:lnTo>
                        <a:pt x="1521" y="767"/>
                      </a:lnTo>
                      <a:lnTo>
                        <a:pt x="1521" y="764"/>
                      </a:lnTo>
                      <a:lnTo>
                        <a:pt x="1521" y="762"/>
                      </a:lnTo>
                      <a:lnTo>
                        <a:pt x="1521" y="759"/>
                      </a:lnTo>
                      <a:lnTo>
                        <a:pt x="1518" y="759"/>
                      </a:lnTo>
                      <a:lnTo>
                        <a:pt x="1521" y="756"/>
                      </a:lnTo>
                      <a:lnTo>
                        <a:pt x="1518" y="756"/>
                      </a:lnTo>
                      <a:lnTo>
                        <a:pt x="1523" y="754"/>
                      </a:lnTo>
                      <a:lnTo>
                        <a:pt x="1523" y="747"/>
                      </a:lnTo>
                      <a:lnTo>
                        <a:pt x="1523" y="751"/>
                      </a:lnTo>
                      <a:lnTo>
                        <a:pt x="1523" y="747"/>
                      </a:lnTo>
                      <a:lnTo>
                        <a:pt x="1526" y="747"/>
                      </a:lnTo>
                      <a:lnTo>
                        <a:pt x="1530" y="747"/>
                      </a:lnTo>
                      <a:lnTo>
                        <a:pt x="1530" y="745"/>
                      </a:lnTo>
                      <a:lnTo>
                        <a:pt x="1532" y="747"/>
                      </a:lnTo>
                      <a:lnTo>
                        <a:pt x="1532" y="745"/>
                      </a:lnTo>
                      <a:lnTo>
                        <a:pt x="1532" y="747"/>
                      </a:lnTo>
                      <a:lnTo>
                        <a:pt x="1540" y="747"/>
                      </a:lnTo>
                      <a:lnTo>
                        <a:pt x="1543" y="751"/>
                      </a:lnTo>
                      <a:lnTo>
                        <a:pt x="1548" y="747"/>
                      </a:lnTo>
                      <a:lnTo>
                        <a:pt x="1551" y="747"/>
                      </a:lnTo>
                      <a:lnTo>
                        <a:pt x="1554" y="747"/>
                      </a:lnTo>
                      <a:lnTo>
                        <a:pt x="1556" y="747"/>
                      </a:lnTo>
                      <a:lnTo>
                        <a:pt x="1556" y="745"/>
                      </a:lnTo>
                      <a:lnTo>
                        <a:pt x="1559" y="742"/>
                      </a:lnTo>
                      <a:lnTo>
                        <a:pt x="1563" y="739"/>
                      </a:lnTo>
                      <a:lnTo>
                        <a:pt x="1563" y="737"/>
                      </a:lnTo>
                      <a:lnTo>
                        <a:pt x="1565" y="737"/>
                      </a:lnTo>
                      <a:lnTo>
                        <a:pt x="1565" y="734"/>
                      </a:lnTo>
                      <a:lnTo>
                        <a:pt x="1568" y="734"/>
                      </a:lnTo>
                      <a:lnTo>
                        <a:pt x="1571" y="734"/>
                      </a:lnTo>
                      <a:lnTo>
                        <a:pt x="1571" y="731"/>
                      </a:lnTo>
                      <a:lnTo>
                        <a:pt x="1571" y="729"/>
                      </a:lnTo>
                      <a:lnTo>
                        <a:pt x="1573" y="731"/>
                      </a:lnTo>
                      <a:lnTo>
                        <a:pt x="1576" y="731"/>
                      </a:lnTo>
                      <a:lnTo>
                        <a:pt x="1579" y="729"/>
                      </a:lnTo>
                      <a:lnTo>
                        <a:pt x="1576" y="729"/>
                      </a:lnTo>
                      <a:lnTo>
                        <a:pt x="1579" y="729"/>
                      </a:lnTo>
                      <a:lnTo>
                        <a:pt x="1576" y="726"/>
                      </a:lnTo>
                      <a:lnTo>
                        <a:pt x="1579" y="726"/>
                      </a:lnTo>
                      <a:lnTo>
                        <a:pt x="1576" y="726"/>
                      </a:lnTo>
                      <a:lnTo>
                        <a:pt x="1576" y="723"/>
                      </a:lnTo>
                      <a:lnTo>
                        <a:pt x="1579" y="723"/>
                      </a:lnTo>
                      <a:lnTo>
                        <a:pt x="1576" y="723"/>
                      </a:lnTo>
                      <a:lnTo>
                        <a:pt x="1579" y="718"/>
                      </a:lnTo>
                      <a:lnTo>
                        <a:pt x="1582" y="720"/>
                      </a:lnTo>
                      <a:lnTo>
                        <a:pt x="1582" y="718"/>
                      </a:lnTo>
                      <a:lnTo>
                        <a:pt x="1584" y="718"/>
                      </a:lnTo>
                      <a:lnTo>
                        <a:pt x="1584" y="715"/>
                      </a:lnTo>
                      <a:lnTo>
                        <a:pt x="1587" y="715"/>
                      </a:lnTo>
                      <a:lnTo>
                        <a:pt x="1590" y="711"/>
                      </a:lnTo>
                      <a:lnTo>
                        <a:pt x="1587" y="711"/>
                      </a:lnTo>
                      <a:lnTo>
                        <a:pt x="1590" y="711"/>
                      </a:lnTo>
                      <a:lnTo>
                        <a:pt x="1592" y="715"/>
                      </a:lnTo>
                      <a:lnTo>
                        <a:pt x="1590" y="720"/>
                      </a:lnTo>
                      <a:lnTo>
                        <a:pt x="1595" y="718"/>
                      </a:lnTo>
                      <a:lnTo>
                        <a:pt x="1601" y="723"/>
                      </a:lnTo>
                      <a:lnTo>
                        <a:pt x="1604" y="726"/>
                      </a:lnTo>
                      <a:lnTo>
                        <a:pt x="1607" y="723"/>
                      </a:lnTo>
                      <a:lnTo>
                        <a:pt x="1609" y="726"/>
                      </a:lnTo>
                      <a:lnTo>
                        <a:pt x="1612" y="723"/>
                      </a:lnTo>
                      <a:lnTo>
                        <a:pt x="1623" y="715"/>
                      </a:lnTo>
                      <a:lnTo>
                        <a:pt x="1661" y="706"/>
                      </a:lnTo>
                      <a:lnTo>
                        <a:pt x="1717" y="693"/>
                      </a:lnTo>
                      <a:lnTo>
                        <a:pt x="1722" y="693"/>
                      </a:lnTo>
                      <a:lnTo>
                        <a:pt x="1722" y="690"/>
                      </a:lnTo>
                      <a:lnTo>
                        <a:pt x="1725" y="687"/>
                      </a:lnTo>
                      <a:lnTo>
                        <a:pt x="1725" y="682"/>
                      </a:lnTo>
                      <a:lnTo>
                        <a:pt x="1717" y="668"/>
                      </a:lnTo>
                      <a:lnTo>
                        <a:pt x="1720" y="665"/>
                      </a:lnTo>
                      <a:lnTo>
                        <a:pt x="1717" y="662"/>
                      </a:lnTo>
                      <a:lnTo>
                        <a:pt x="1722" y="652"/>
                      </a:lnTo>
                      <a:lnTo>
                        <a:pt x="1717" y="637"/>
                      </a:lnTo>
                      <a:lnTo>
                        <a:pt x="1717" y="629"/>
                      </a:lnTo>
                      <a:lnTo>
                        <a:pt x="1709" y="621"/>
                      </a:lnTo>
                      <a:lnTo>
                        <a:pt x="1703" y="610"/>
                      </a:lnTo>
                      <a:lnTo>
                        <a:pt x="1706" y="596"/>
                      </a:lnTo>
                      <a:lnTo>
                        <a:pt x="1703" y="591"/>
                      </a:lnTo>
                      <a:lnTo>
                        <a:pt x="1706" y="585"/>
                      </a:lnTo>
                      <a:lnTo>
                        <a:pt x="1706" y="583"/>
                      </a:lnTo>
                      <a:lnTo>
                        <a:pt x="1694" y="580"/>
                      </a:lnTo>
                      <a:lnTo>
                        <a:pt x="1694" y="577"/>
                      </a:lnTo>
                      <a:lnTo>
                        <a:pt x="1692" y="577"/>
                      </a:lnTo>
                      <a:lnTo>
                        <a:pt x="1686" y="571"/>
                      </a:lnTo>
                      <a:lnTo>
                        <a:pt x="1678" y="568"/>
                      </a:lnTo>
                      <a:lnTo>
                        <a:pt x="1668" y="560"/>
                      </a:lnTo>
                      <a:lnTo>
                        <a:pt x="1668" y="555"/>
                      </a:lnTo>
                      <a:lnTo>
                        <a:pt x="1668" y="541"/>
                      </a:lnTo>
                      <a:lnTo>
                        <a:pt x="1673" y="524"/>
                      </a:lnTo>
                      <a:lnTo>
                        <a:pt x="1673" y="508"/>
                      </a:lnTo>
                      <a:lnTo>
                        <a:pt x="1681" y="496"/>
                      </a:lnTo>
                      <a:lnTo>
                        <a:pt x="1686" y="491"/>
                      </a:lnTo>
                      <a:lnTo>
                        <a:pt x="1692" y="488"/>
                      </a:lnTo>
                      <a:lnTo>
                        <a:pt x="1701" y="486"/>
                      </a:lnTo>
                      <a:lnTo>
                        <a:pt x="1706" y="480"/>
                      </a:lnTo>
                      <a:lnTo>
                        <a:pt x="1706" y="478"/>
                      </a:lnTo>
                      <a:lnTo>
                        <a:pt x="1697" y="475"/>
                      </a:lnTo>
                      <a:lnTo>
                        <a:pt x="1703" y="470"/>
                      </a:lnTo>
                      <a:lnTo>
                        <a:pt x="1709" y="470"/>
                      </a:lnTo>
                      <a:lnTo>
                        <a:pt x="1711" y="458"/>
                      </a:lnTo>
                      <a:lnTo>
                        <a:pt x="1697" y="442"/>
                      </a:lnTo>
                      <a:lnTo>
                        <a:pt x="1689" y="442"/>
                      </a:lnTo>
                      <a:lnTo>
                        <a:pt x="1689" y="422"/>
                      </a:lnTo>
                      <a:lnTo>
                        <a:pt x="1686" y="422"/>
                      </a:lnTo>
                      <a:lnTo>
                        <a:pt x="1684" y="422"/>
                      </a:lnTo>
                      <a:lnTo>
                        <a:pt x="1681" y="425"/>
                      </a:lnTo>
                      <a:lnTo>
                        <a:pt x="1676" y="430"/>
                      </a:lnTo>
                      <a:lnTo>
                        <a:pt x="1670" y="419"/>
                      </a:lnTo>
                      <a:lnTo>
                        <a:pt x="1673" y="417"/>
                      </a:lnTo>
                      <a:lnTo>
                        <a:pt x="1670" y="409"/>
                      </a:lnTo>
                      <a:lnTo>
                        <a:pt x="1678" y="397"/>
                      </a:lnTo>
                      <a:lnTo>
                        <a:pt x="1681" y="389"/>
                      </a:lnTo>
                      <a:lnTo>
                        <a:pt x="1686" y="378"/>
                      </a:lnTo>
                      <a:lnTo>
                        <a:pt x="1689" y="373"/>
                      </a:lnTo>
                      <a:lnTo>
                        <a:pt x="1692" y="370"/>
                      </a:lnTo>
                      <a:lnTo>
                        <a:pt x="1686" y="368"/>
                      </a:lnTo>
                      <a:lnTo>
                        <a:pt x="1686" y="361"/>
                      </a:lnTo>
                      <a:lnTo>
                        <a:pt x="1681" y="358"/>
                      </a:lnTo>
                      <a:lnTo>
                        <a:pt x="1676" y="353"/>
                      </a:lnTo>
                      <a:lnTo>
                        <a:pt x="1676" y="348"/>
                      </a:lnTo>
                      <a:lnTo>
                        <a:pt x="1678" y="345"/>
                      </a:lnTo>
                      <a:lnTo>
                        <a:pt x="1701" y="332"/>
                      </a:lnTo>
                      <a:lnTo>
                        <a:pt x="1703" y="325"/>
                      </a:lnTo>
                      <a:lnTo>
                        <a:pt x="1717" y="328"/>
                      </a:lnTo>
                      <a:lnTo>
                        <a:pt x="1733" y="332"/>
                      </a:lnTo>
                      <a:lnTo>
                        <a:pt x="1745" y="337"/>
                      </a:lnTo>
                      <a:lnTo>
                        <a:pt x="1755" y="340"/>
                      </a:lnTo>
                      <a:lnTo>
                        <a:pt x="1766" y="345"/>
                      </a:lnTo>
                      <a:lnTo>
                        <a:pt x="1775" y="348"/>
                      </a:lnTo>
                      <a:lnTo>
                        <a:pt x="1786" y="356"/>
                      </a:lnTo>
                      <a:lnTo>
                        <a:pt x="1791" y="358"/>
                      </a:lnTo>
                      <a:lnTo>
                        <a:pt x="1797" y="361"/>
                      </a:lnTo>
                      <a:lnTo>
                        <a:pt x="1806" y="358"/>
                      </a:lnTo>
                      <a:lnTo>
                        <a:pt x="1808" y="358"/>
                      </a:lnTo>
                      <a:lnTo>
                        <a:pt x="1814" y="356"/>
                      </a:lnTo>
                      <a:lnTo>
                        <a:pt x="1819" y="358"/>
                      </a:lnTo>
                      <a:lnTo>
                        <a:pt x="1824" y="353"/>
                      </a:lnTo>
                      <a:lnTo>
                        <a:pt x="1827" y="350"/>
                      </a:lnTo>
                      <a:lnTo>
                        <a:pt x="1830" y="350"/>
                      </a:lnTo>
                      <a:lnTo>
                        <a:pt x="1835" y="345"/>
                      </a:lnTo>
                      <a:lnTo>
                        <a:pt x="1839" y="345"/>
                      </a:lnTo>
                      <a:lnTo>
                        <a:pt x="1844" y="348"/>
                      </a:lnTo>
                      <a:lnTo>
                        <a:pt x="1847" y="345"/>
                      </a:lnTo>
                      <a:lnTo>
                        <a:pt x="1844" y="334"/>
                      </a:lnTo>
                      <a:lnTo>
                        <a:pt x="1841" y="332"/>
                      </a:lnTo>
                      <a:lnTo>
                        <a:pt x="1841" y="328"/>
                      </a:lnTo>
                      <a:lnTo>
                        <a:pt x="1835" y="325"/>
                      </a:lnTo>
                      <a:lnTo>
                        <a:pt x="1839" y="317"/>
                      </a:lnTo>
                      <a:lnTo>
                        <a:pt x="1841" y="315"/>
                      </a:lnTo>
                      <a:lnTo>
                        <a:pt x="1841" y="312"/>
                      </a:lnTo>
                      <a:lnTo>
                        <a:pt x="1841" y="309"/>
                      </a:lnTo>
                      <a:lnTo>
                        <a:pt x="1835" y="307"/>
                      </a:lnTo>
                      <a:lnTo>
                        <a:pt x="1832" y="304"/>
                      </a:lnTo>
                      <a:lnTo>
                        <a:pt x="1832" y="299"/>
                      </a:lnTo>
                      <a:lnTo>
                        <a:pt x="1830" y="292"/>
                      </a:lnTo>
                      <a:lnTo>
                        <a:pt x="1832" y="279"/>
                      </a:lnTo>
                      <a:lnTo>
                        <a:pt x="1835" y="273"/>
                      </a:lnTo>
                      <a:lnTo>
                        <a:pt x="1841" y="259"/>
                      </a:lnTo>
                      <a:lnTo>
                        <a:pt x="1835" y="251"/>
                      </a:lnTo>
                      <a:lnTo>
                        <a:pt x="1832" y="251"/>
                      </a:lnTo>
                      <a:lnTo>
                        <a:pt x="1824" y="248"/>
                      </a:lnTo>
                      <a:lnTo>
                        <a:pt x="1824" y="246"/>
                      </a:lnTo>
                      <a:lnTo>
                        <a:pt x="1824" y="243"/>
                      </a:lnTo>
                      <a:lnTo>
                        <a:pt x="1822" y="238"/>
                      </a:lnTo>
                      <a:lnTo>
                        <a:pt x="1822" y="232"/>
                      </a:lnTo>
                      <a:lnTo>
                        <a:pt x="1830" y="227"/>
                      </a:lnTo>
                      <a:lnTo>
                        <a:pt x="1830" y="218"/>
                      </a:lnTo>
                      <a:lnTo>
                        <a:pt x="1832" y="218"/>
                      </a:lnTo>
                      <a:lnTo>
                        <a:pt x="1841" y="215"/>
                      </a:lnTo>
                      <a:lnTo>
                        <a:pt x="1844" y="212"/>
                      </a:lnTo>
                      <a:lnTo>
                        <a:pt x="1847" y="210"/>
                      </a:lnTo>
                      <a:lnTo>
                        <a:pt x="1844" y="204"/>
                      </a:lnTo>
                      <a:lnTo>
                        <a:pt x="1847" y="199"/>
                      </a:lnTo>
                      <a:lnTo>
                        <a:pt x="1852" y="202"/>
                      </a:lnTo>
                      <a:lnTo>
                        <a:pt x="1860" y="199"/>
                      </a:lnTo>
                      <a:lnTo>
                        <a:pt x="1860" y="202"/>
                      </a:lnTo>
                      <a:lnTo>
                        <a:pt x="1863" y="210"/>
                      </a:lnTo>
                      <a:lnTo>
                        <a:pt x="1871" y="210"/>
                      </a:lnTo>
                      <a:lnTo>
                        <a:pt x="1877" y="218"/>
                      </a:lnTo>
                      <a:lnTo>
                        <a:pt x="1888" y="223"/>
                      </a:lnTo>
                      <a:lnTo>
                        <a:pt x="1899" y="235"/>
                      </a:lnTo>
                      <a:lnTo>
                        <a:pt x="1901" y="235"/>
                      </a:lnTo>
                      <a:lnTo>
                        <a:pt x="1904" y="238"/>
                      </a:lnTo>
                      <a:lnTo>
                        <a:pt x="1908" y="238"/>
                      </a:lnTo>
                      <a:lnTo>
                        <a:pt x="1916" y="240"/>
                      </a:lnTo>
                      <a:lnTo>
                        <a:pt x="1916" y="246"/>
                      </a:lnTo>
                      <a:lnTo>
                        <a:pt x="1921" y="246"/>
                      </a:lnTo>
                      <a:lnTo>
                        <a:pt x="1921" y="254"/>
                      </a:lnTo>
                      <a:lnTo>
                        <a:pt x="1921" y="259"/>
                      </a:lnTo>
                      <a:lnTo>
                        <a:pt x="1924" y="263"/>
                      </a:lnTo>
                      <a:lnTo>
                        <a:pt x="1929" y="263"/>
                      </a:lnTo>
                      <a:lnTo>
                        <a:pt x="1927" y="271"/>
                      </a:lnTo>
                      <a:lnTo>
                        <a:pt x="1924" y="273"/>
                      </a:lnTo>
                      <a:lnTo>
                        <a:pt x="1924" y="276"/>
                      </a:lnTo>
                      <a:lnTo>
                        <a:pt x="1921" y="281"/>
                      </a:lnTo>
                      <a:lnTo>
                        <a:pt x="1924" y="281"/>
                      </a:lnTo>
                      <a:lnTo>
                        <a:pt x="1927" y="284"/>
                      </a:lnTo>
                      <a:lnTo>
                        <a:pt x="1932" y="284"/>
                      </a:lnTo>
                      <a:lnTo>
                        <a:pt x="1932" y="289"/>
                      </a:lnTo>
                      <a:lnTo>
                        <a:pt x="1935" y="292"/>
                      </a:lnTo>
                      <a:lnTo>
                        <a:pt x="1946" y="292"/>
                      </a:lnTo>
                      <a:lnTo>
                        <a:pt x="1952" y="289"/>
                      </a:lnTo>
                      <a:lnTo>
                        <a:pt x="1957" y="289"/>
                      </a:lnTo>
                      <a:lnTo>
                        <a:pt x="1960" y="299"/>
                      </a:lnTo>
                      <a:lnTo>
                        <a:pt x="1965" y="299"/>
                      </a:lnTo>
                      <a:lnTo>
                        <a:pt x="1965" y="296"/>
                      </a:lnTo>
                      <a:lnTo>
                        <a:pt x="1968" y="296"/>
                      </a:lnTo>
                      <a:lnTo>
                        <a:pt x="1979" y="301"/>
                      </a:lnTo>
                      <a:lnTo>
                        <a:pt x="1987" y="292"/>
                      </a:lnTo>
                      <a:lnTo>
                        <a:pt x="1985" y="284"/>
                      </a:lnTo>
                      <a:lnTo>
                        <a:pt x="1987" y="284"/>
                      </a:lnTo>
                      <a:lnTo>
                        <a:pt x="1987" y="287"/>
                      </a:lnTo>
                      <a:lnTo>
                        <a:pt x="1993" y="292"/>
                      </a:lnTo>
                      <a:lnTo>
                        <a:pt x="1996" y="292"/>
                      </a:lnTo>
                      <a:lnTo>
                        <a:pt x="1998" y="289"/>
                      </a:lnTo>
                      <a:lnTo>
                        <a:pt x="2004" y="289"/>
                      </a:lnTo>
                      <a:lnTo>
                        <a:pt x="2006" y="296"/>
                      </a:lnTo>
                      <a:lnTo>
                        <a:pt x="2010" y="296"/>
                      </a:lnTo>
                      <a:lnTo>
                        <a:pt x="2015" y="296"/>
                      </a:lnTo>
                      <a:lnTo>
                        <a:pt x="2018" y="292"/>
                      </a:lnTo>
                      <a:lnTo>
                        <a:pt x="2021" y="281"/>
                      </a:lnTo>
                      <a:lnTo>
                        <a:pt x="2026" y="284"/>
                      </a:lnTo>
                      <a:lnTo>
                        <a:pt x="2031" y="276"/>
                      </a:lnTo>
                      <a:lnTo>
                        <a:pt x="2034" y="271"/>
                      </a:lnTo>
                      <a:lnTo>
                        <a:pt x="2037" y="271"/>
                      </a:lnTo>
                      <a:lnTo>
                        <a:pt x="2037" y="273"/>
                      </a:lnTo>
                      <a:lnTo>
                        <a:pt x="2042" y="273"/>
                      </a:lnTo>
                      <a:lnTo>
                        <a:pt x="2051" y="281"/>
                      </a:lnTo>
                      <a:lnTo>
                        <a:pt x="2048" y="292"/>
                      </a:lnTo>
                      <a:lnTo>
                        <a:pt x="2054" y="292"/>
                      </a:lnTo>
                      <a:lnTo>
                        <a:pt x="2056" y="299"/>
                      </a:lnTo>
                      <a:lnTo>
                        <a:pt x="2065" y="301"/>
                      </a:lnTo>
                      <a:lnTo>
                        <a:pt x="2065" y="309"/>
                      </a:lnTo>
                      <a:lnTo>
                        <a:pt x="2065" y="320"/>
                      </a:lnTo>
                      <a:lnTo>
                        <a:pt x="2062" y="323"/>
                      </a:lnTo>
                      <a:lnTo>
                        <a:pt x="2062" y="325"/>
                      </a:lnTo>
                      <a:lnTo>
                        <a:pt x="2062" y="340"/>
                      </a:lnTo>
                      <a:lnTo>
                        <a:pt x="2048" y="353"/>
                      </a:lnTo>
                      <a:lnTo>
                        <a:pt x="2046" y="356"/>
                      </a:lnTo>
                      <a:lnTo>
                        <a:pt x="2046" y="361"/>
                      </a:lnTo>
                      <a:lnTo>
                        <a:pt x="2039" y="365"/>
                      </a:lnTo>
                      <a:lnTo>
                        <a:pt x="2039" y="370"/>
                      </a:lnTo>
                      <a:lnTo>
                        <a:pt x="2034" y="373"/>
                      </a:lnTo>
                      <a:lnTo>
                        <a:pt x="2031" y="378"/>
                      </a:lnTo>
                      <a:lnTo>
                        <a:pt x="2031" y="381"/>
                      </a:lnTo>
                      <a:lnTo>
                        <a:pt x="2034" y="384"/>
                      </a:lnTo>
                      <a:lnTo>
                        <a:pt x="2034" y="389"/>
                      </a:lnTo>
                      <a:lnTo>
                        <a:pt x="2031" y="392"/>
                      </a:lnTo>
                      <a:lnTo>
                        <a:pt x="2031" y="394"/>
                      </a:lnTo>
                      <a:lnTo>
                        <a:pt x="2026" y="397"/>
                      </a:lnTo>
                      <a:lnTo>
                        <a:pt x="2021" y="397"/>
                      </a:lnTo>
                      <a:lnTo>
                        <a:pt x="2021" y="401"/>
                      </a:lnTo>
                      <a:lnTo>
                        <a:pt x="2015" y="401"/>
                      </a:lnTo>
                      <a:lnTo>
                        <a:pt x="2013" y="403"/>
                      </a:lnTo>
                      <a:lnTo>
                        <a:pt x="2004" y="403"/>
                      </a:lnTo>
                      <a:lnTo>
                        <a:pt x="2004" y="409"/>
                      </a:lnTo>
                      <a:lnTo>
                        <a:pt x="2013" y="414"/>
                      </a:lnTo>
                      <a:lnTo>
                        <a:pt x="2013" y="422"/>
                      </a:lnTo>
                      <a:lnTo>
                        <a:pt x="2015" y="427"/>
                      </a:lnTo>
                      <a:lnTo>
                        <a:pt x="2018" y="425"/>
                      </a:lnTo>
                      <a:lnTo>
                        <a:pt x="2018" y="427"/>
                      </a:lnTo>
                      <a:lnTo>
                        <a:pt x="2021" y="433"/>
                      </a:lnTo>
                      <a:lnTo>
                        <a:pt x="2031" y="430"/>
                      </a:lnTo>
                      <a:lnTo>
                        <a:pt x="2029" y="427"/>
                      </a:lnTo>
                      <a:lnTo>
                        <a:pt x="2031" y="425"/>
                      </a:lnTo>
                      <a:lnTo>
                        <a:pt x="2034" y="422"/>
                      </a:lnTo>
                      <a:lnTo>
                        <a:pt x="2037" y="419"/>
                      </a:lnTo>
                      <a:lnTo>
                        <a:pt x="2037" y="414"/>
                      </a:lnTo>
                      <a:lnTo>
                        <a:pt x="2039" y="411"/>
                      </a:lnTo>
                      <a:lnTo>
                        <a:pt x="2039" y="409"/>
                      </a:lnTo>
                      <a:lnTo>
                        <a:pt x="2039" y="406"/>
                      </a:lnTo>
                      <a:lnTo>
                        <a:pt x="2048" y="406"/>
                      </a:lnTo>
                      <a:lnTo>
                        <a:pt x="2051" y="406"/>
                      </a:lnTo>
                      <a:lnTo>
                        <a:pt x="2054" y="406"/>
                      </a:lnTo>
                      <a:lnTo>
                        <a:pt x="2059" y="406"/>
                      </a:lnTo>
                      <a:lnTo>
                        <a:pt x="2062" y="397"/>
                      </a:lnTo>
                      <a:lnTo>
                        <a:pt x="2059" y="394"/>
                      </a:lnTo>
                      <a:lnTo>
                        <a:pt x="2065" y="394"/>
                      </a:lnTo>
                      <a:lnTo>
                        <a:pt x="2065" y="386"/>
                      </a:lnTo>
                      <a:lnTo>
                        <a:pt x="2070" y="381"/>
                      </a:lnTo>
                      <a:lnTo>
                        <a:pt x="2084" y="378"/>
                      </a:lnTo>
                      <a:lnTo>
                        <a:pt x="2103" y="389"/>
                      </a:lnTo>
                      <a:lnTo>
                        <a:pt x="2106" y="386"/>
                      </a:lnTo>
                      <a:lnTo>
                        <a:pt x="2108" y="386"/>
                      </a:lnTo>
                      <a:lnTo>
                        <a:pt x="2108" y="384"/>
                      </a:lnTo>
                      <a:lnTo>
                        <a:pt x="2115" y="384"/>
                      </a:lnTo>
                      <a:lnTo>
                        <a:pt x="2117" y="381"/>
                      </a:lnTo>
                      <a:lnTo>
                        <a:pt x="2120" y="381"/>
                      </a:lnTo>
                      <a:lnTo>
                        <a:pt x="2120" y="376"/>
                      </a:lnTo>
                      <a:lnTo>
                        <a:pt x="2123" y="376"/>
                      </a:lnTo>
                      <a:lnTo>
                        <a:pt x="2123" y="373"/>
                      </a:lnTo>
                      <a:lnTo>
                        <a:pt x="2125" y="373"/>
                      </a:lnTo>
                      <a:lnTo>
                        <a:pt x="2128" y="370"/>
                      </a:lnTo>
                      <a:lnTo>
                        <a:pt x="2134" y="373"/>
                      </a:lnTo>
                      <a:lnTo>
                        <a:pt x="2139" y="370"/>
                      </a:lnTo>
                      <a:lnTo>
                        <a:pt x="2144" y="373"/>
                      </a:lnTo>
                      <a:lnTo>
                        <a:pt x="2151" y="373"/>
                      </a:lnTo>
                      <a:lnTo>
                        <a:pt x="2153" y="373"/>
                      </a:lnTo>
                      <a:lnTo>
                        <a:pt x="2159" y="373"/>
                      </a:lnTo>
                      <a:lnTo>
                        <a:pt x="2161" y="370"/>
                      </a:lnTo>
                      <a:lnTo>
                        <a:pt x="2161" y="373"/>
                      </a:lnTo>
                      <a:lnTo>
                        <a:pt x="2161" y="370"/>
                      </a:lnTo>
                      <a:lnTo>
                        <a:pt x="2164" y="370"/>
                      </a:lnTo>
                      <a:lnTo>
                        <a:pt x="2164" y="368"/>
                      </a:lnTo>
                      <a:lnTo>
                        <a:pt x="2167" y="368"/>
                      </a:lnTo>
                      <a:lnTo>
                        <a:pt x="2167" y="365"/>
                      </a:lnTo>
                      <a:lnTo>
                        <a:pt x="2167" y="361"/>
                      </a:lnTo>
                      <a:lnTo>
                        <a:pt x="2169" y="365"/>
                      </a:lnTo>
                      <a:lnTo>
                        <a:pt x="2169" y="361"/>
                      </a:lnTo>
                      <a:lnTo>
                        <a:pt x="2175" y="361"/>
                      </a:lnTo>
                      <a:lnTo>
                        <a:pt x="2177" y="361"/>
                      </a:lnTo>
                      <a:lnTo>
                        <a:pt x="2177" y="358"/>
                      </a:lnTo>
                      <a:lnTo>
                        <a:pt x="2180" y="358"/>
                      </a:lnTo>
                      <a:lnTo>
                        <a:pt x="2184" y="358"/>
                      </a:lnTo>
                      <a:lnTo>
                        <a:pt x="2184" y="356"/>
                      </a:lnTo>
                      <a:lnTo>
                        <a:pt x="2189" y="348"/>
                      </a:lnTo>
                      <a:lnTo>
                        <a:pt x="2192" y="342"/>
                      </a:lnTo>
                      <a:lnTo>
                        <a:pt x="2189" y="340"/>
                      </a:lnTo>
                      <a:lnTo>
                        <a:pt x="2192" y="334"/>
                      </a:lnTo>
                      <a:lnTo>
                        <a:pt x="2194" y="334"/>
                      </a:lnTo>
                      <a:lnTo>
                        <a:pt x="2194" y="337"/>
                      </a:lnTo>
                      <a:lnTo>
                        <a:pt x="2197" y="328"/>
                      </a:lnTo>
                      <a:lnTo>
                        <a:pt x="2200" y="332"/>
                      </a:lnTo>
                      <a:lnTo>
                        <a:pt x="2200" y="334"/>
                      </a:lnTo>
                      <a:lnTo>
                        <a:pt x="2205" y="332"/>
                      </a:lnTo>
                      <a:lnTo>
                        <a:pt x="2208" y="328"/>
                      </a:lnTo>
                      <a:lnTo>
                        <a:pt x="2211" y="320"/>
                      </a:lnTo>
                      <a:lnTo>
                        <a:pt x="2213" y="320"/>
                      </a:lnTo>
                      <a:lnTo>
                        <a:pt x="2213" y="317"/>
                      </a:lnTo>
                      <a:lnTo>
                        <a:pt x="2217" y="317"/>
                      </a:lnTo>
                      <a:lnTo>
                        <a:pt x="2217" y="312"/>
                      </a:lnTo>
                      <a:lnTo>
                        <a:pt x="2220" y="315"/>
                      </a:lnTo>
                      <a:lnTo>
                        <a:pt x="2220" y="312"/>
                      </a:lnTo>
                      <a:lnTo>
                        <a:pt x="2228" y="304"/>
                      </a:lnTo>
                      <a:lnTo>
                        <a:pt x="2228" y="301"/>
                      </a:lnTo>
                      <a:lnTo>
                        <a:pt x="2233" y="301"/>
                      </a:lnTo>
                      <a:lnTo>
                        <a:pt x="2236" y="299"/>
                      </a:lnTo>
                      <a:lnTo>
                        <a:pt x="2238" y="299"/>
                      </a:lnTo>
                      <a:lnTo>
                        <a:pt x="2241" y="299"/>
                      </a:lnTo>
                      <a:lnTo>
                        <a:pt x="2246" y="304"/>
                      </a:lnTo>
                      <a:lnTo>
                        <a:pt x="2249" y="304"/>
                      </a:lnTo>
                      <a:lnTo>
                        <a:pt x="2255" y="301"/>
                      </a:lnTo>
                      <a:lnTo>
                        <a:pt x="2261" y="307"/>
                      </a:lnTo>
                      <a:lnTo>
                        <a:pt x="2269" y="301"/>
                      </a:lnTo>
                      <a:lnTo>
                        <a:pt x="2271" y="301"/>
                      </a:lnTo>
                      <a:lnTo>
                        <a:pt x="2271" y="304"/>
                      </a:lnTo>
                      <a:lnTo>
                        <a:pt x="2274" y="304"/>
                      </a:lnTo>
                      <a:lnTo>
                        <a:pt x="2274" y="301"/>
                      </a:lnTo>
                      <a:lnTo>
                        <a:pt x="2277" y="299"/>
                      </a:lnTo>
                      <a:lnTo>
                        <a:pt x="2274" y="299"/>
                      </a:lnTo>
                      <a:lnTo>
                        <a:pt x="2280" y="296"/>
                      </a:lnTo>
                      <a:lnTo>
                        <a:pt x="2282" y="289"/>
                      </a:lnTo>
                      <a:lnTo>
                        <a:pt x="2286" y="289"/>
                      </a:lnTo>
                      <a:lnTo>
                        <a:pt x="2286" y="292"/>
                      </a:lnTo>
                      <a:lnTo>
                        <a:pt x="2289" y="292"/>
                      </a:lnTo>
                      <a:lnTo>
                        <a:pt x="2297" y="287"/>
                      </a:lnTo>
                      <a:lnTo>
                        <a:pt x="2305" y="279"/>
                      </a:lnTo>
                      <a:lnTo>
                        <a:pt x="2307" y="279"/>
                      </a:lnTo>
                      <a:lnTo>
                        <a:pt x="2307" y="276"/>
                      </a:lnTo>
                      <a:lnTo>
                        <a:pt x="2307" y="273"/>
                      </a:lnTo>
                      <a:lnTo>
                        <a:pt x="2310" y="271"/>
                      </a:lnTo>
                      <a:lnTo>
                        <a:pt x="2310" y="268"/>
                      </a:lnTo>
                      <a:lnTo>
                        <a:pt x="2313" y="271"/>
                      </a:lnTo>
                      <a:lnTo>
                        <a:pt x="2315" y="271"/>
                      </a:lnTo>
                      <a:lnTo>
                        <a:pt x="2315" y="268"/>
                      </a:lnTo>
                      <a:lnTo>
                        <a:pt x="2315" y="265"/>
                      </a:lnTo>
                      <a:lnTo>
                        <a:pt x="2324" y="265"/>
                      </a:lnTo>
                      <a:lnTo>
                        <a:pt x="2327" y="259"/>
                      </a:lnTo>
                      <a:lnTo>
                        <a:pt x="2330" y="263"/>
                      </a:lnTo>
                      <a:lnTo>
                        <a:pt x="2332" y="256"/>
                      </a:lnTo>
                      <a:lnTo>
                        <a:pt x="2330" y="251"/>
                      </a:lnTo>
                      <a:lnTo>
                        <a:pt x="2332" y="254"/>
                      </a:lnTo>
                      <a:lnTo>
                        <a:pt x="2335" y="254"/>
                      </a:lnTo>
                      <a:lnTo>
                        <a:pt x="2335" y="251"/>
                      </a:lnTo>
                      <a:lnTo>
                        <a:pt x="2338" y="251"/>
                      </a:lnTo>
                      <a:lnTo>
                        <a:pt x="2343" y="251"/>
                      </a:lnTo>
                      <a:lnTo>
                        <a:pt x="2340" y="248"/>
                      </a:lnTo>
                      <a:lnTo>
                        <a:pt x="2340" y="246"/>
                      </a:lnTo>
                      <a:lnTo>
                        <a:pt x="2346" y="243"/>
                      </a:lnTo>
                      <a:lnTo>
                        <a:pt x="2349" y="238"/>
                      </a:lnTo>
                      <a:lnTo>
                        <a:pt x="2351" y="240"/>
                      </a:lnTo>
                      <a:lnTo>
                        <a:pt x="2355" y="235"/>
                      </a:lnTo>
                      <a:lnTo>
                        <a:pt x="2358" y="232"/>
                      </a:lnTo>
                      <a:lnTo>
                        <a:pt x="2360" y="235"/>
                      </a:lnTo>
                      <a:lnTo>
                        <a:pt x="2366" y="229"/>
                      </a:lnTo>
                      <a:lnTo>
                        <a:pt x="2366" y="223"/>
                      </a:lnTo>
                      <a:lnTo>
                        <a:pt x="2371" y="220"/>
                      </a:lnTo>
                      <a:lnTo>
                        <a:pt x="2374" y="215"/>
                      </a:lnTo>
                      <a:lnTo>
                        <a:pt x="2382" y="218"/>
                      </a:lnTo>
                      <a:lnTo>
                        <a:pt x="2382" y="215"/>
                      </a:lnTo>
                      <a:lnTo>
                        <a:pt x="2384" y="215"/>
                      </a:lnTo>
                      <a:lnTo>
                        <a:pt x="2388" y="215"/>
                      </a:lnTo>
                      <a:lnTo>
                        <a:pt x="2388" y="212"/>
                      </a:lnTo>
                      <a:lnTo>
                        <a:pt x="2393" y="210"/>
                      </a:lnTo>
                      <a:lnTo>
                        <a:pt x="2391" y="212"/>
                      </a:lnTo>
                      <a:lnTo>
                        <a:pt x="2396" y="215"/>
                      </a:lnTo>
                      <a:lnTo>
                        <a:pt x="2420" y="218"/>
                      </a:lnTo>
                      <a:lnTo>
                        <a:pt x="2424" y="218"/>
                      </a:lnTo>
                      <a:lnTo>
                        <a:pt x="2427" y="215"/>
                      </a:lnTo>
                      <a:lnTo>
                        <a:pt x="2432" y="207"/>
                      </a:lnTo>
                      <a:lnTo>
                        <a:pt x="2437" y="196"/>
                      </a:lnTo>
                      <a:lnTo>
                        <a:pt x="2440" y="194"/>
                      </a:lnTo>
                      <a:lnTo>
                        <a:pt x="2440" y="196"/>
                      </a:lnTo>
                      <a:lnTo>
                        <a:pt x="2443" y="194"/>
                      </a:lnTo>
                      <a:lnTo>
                        <a:pt x="2443" y="187"/>
                      </a:lnTo>
                      <a:lnTo>
                        <a:pt x="2460" y="182"/>
                      </a:lnTo>
                      <a:lnTo>
                        <a:pt x="2460" y="179"/>
                      </a:lnTo>
                      <a:lnTo>
                        <a:pt x="2465" y="182"/>
                      </a:lnTo>
                      <a:lnTo>
                        <a:pt x="2465" y="179"/>
                      </a:lnTo>
                      <a:lnTo>
                        <a:pt x="2465" y="177"/>
                      </a:lnTo>
                      <a:lnTo>
                        <a:pt x="2470" y="177"/>
                      </a:lnTo>
                      <a:lnTo>
                        <a:pt x="2468" y="174"/>
                      </a:lnTo>
                      <a:lnTo>
                        <a:pt x="2473" y="169"/>
                      </a:lnTo>
                      <a:lnTo>
                        <a:pt x="2476" y="171"/>
                      </a:lnTo>
                      <a:lnTo>
                        <a:pt x="2479" y="169"/>
                      </a:lnTo>
                      <a:lnTo>
                        <a:pt x="2481" y="169"/>
                      </a:lnTo>
                      <a:lnTo>
                        <a:pt x="2481" y="166"/>
                      </a:lnTo>
                      <a:lnTo>
                        <a:pt x="2484" y="166"/>
                      </a:lnTo>
                      <a:lnTo>
                        <a:pt x="2493" y="163"/>
                      </a:lnTo>
                      <a:lnTo>
                        <a:pt x="2493" y="160"/>
                      </a:lnTo>
                      <a:lnTo>
                        <a:pt x="2496" y="160"/>
                      </a:lnTo>
                      <a:lnTo>
                        <a:pt x="2496" y="158"/>
                      </a:lnTo>
                      <a:lnTo>
                        <a:pt x="2501" y="158"/>
                      </a:lnTo>
                      <a:lnTo>
                        <a:pt x="2504" y="154"/>
                      </a:lnTo>
                      <a:lnTo>
                        <a:pt x="2509" y="154"/>
                      </a:lnTo>
                      <a:lnTo>
                        <a:pt x="2509" y="151"/>
                      </a:lnTo>
                      <a:lnTo>
                        <a:pt x="2509" y="154"/>
                      </a:lnTo>
                      <a:lnTo>
                        <a:pt x="2514" y="146"/>
                      </a:lnTo>
                      <a:lnTo>
                        <a:pt x="2517" y="146"/>
                      </a:lnTo>
                      <a:lnTo>
                        <a:pt x="2520" y="146"/>
                      </a:lnTo>
                      <a:lnTo>
                        <a:pt x="2522" y="146"/>
                      </a:lnTo>
                      <a:lnTo>
                        <a:pt x="2522" y="141"/>
                      </a:lnTo>
                      <a:lnTo>
                        <a:pt x="2520" y="143"/>
                      </a:lnTo>
                      <a:lnTo>
                        <a:pt x="2517" y="143"/>
                      </a:lnTo>
                      <a:lnTo>
                        <a:pt x="2517" y="141"/>
                      </a:lnTo>
                      <a:lnTo>
                        <a:pt x="2517" y="138"/>
                      </a:lnTo>
                      <a:lnTo>
                        <a:pt x="2520" y="141"/>
                      </a:lnTo>
                      <a:lnTo>
                        <a:pt x="2520" y="138"/>
                      </a:lnTo>
                      <a:lnTo>
                        <a:pt x="2520" y="133"/>
                      </a:lnTo>
                      <a:lnTo>
                        <a:pt x="2522" y="130"/>
                      </a:lnTo>
                      <a:lnTo>
                        <a:pt x="2526" y="130"/>
                      </a:lnTo>
                      <a:lnTo>
                        <a:pt x="2531" y="130"/>
                      </a:lnTo>
                      <a:lnTo>
                        <a:pt x="2529" y="127"/>
                      </a:lnTo>
                      <a:lnTo>
                        <a:pt x="2526" y="127"/>
                      </a:lnTo>
                      <a:lnTo>
                        <a:pt x="2529" y="125"/>
                      </a:lnTo>
                      <a:lnTo>
                        <a:pt x="2526" y="122"/>
                      </a:lnTo>
                      <a:lnTo>
                        <a:pt x="2529" y="122"/>
                      </a:lnTo>
                      <a:lnTo>
                        <a:pt x="2531" y="118"/>
                      </a:lnTo>
                      <a:lnTo>
                        <a:pt x="2526" y="116"/>
                      </a:lnTo>
                      <a:lnTo>
                        <a:pt x="2526" y="113"/>
                      </a:lnTo>
                      <a:lnTo>
                        <a:pt x="2534" y="116"/>
                      </a:lnTo>
                      <a:lnTo>
                        <a:pt x="2537" y="113"/>
                      </a:lnTo>
                      <a:lnTo>
                        <a:pt x="2534" y="110"/>
                      </a:lnTo>
                      <a:lnTo>
                        <a:pt x="2539" y="110"/>
                      </a:lnTo>
                      <a:lnTo>
                        <a:pt x="2542" y="110"/>
                      </a:lnTo>
                      <a:lnTo>
                        <a:pt x="2542" y="108"/>
                      </a:lnTo>
                      <a:lnTo>
                        <a:pt x="2545" y="108"/>
                      </a:lnTo>
                      <a:lnTo>
                        <a:pt x="2547" y="105"/>
                      </a:lnTo>
                      <a:lnTo>
                        <a:pt x="2553" y="105"/>
                      </a:lnTo>
                      <a:lnTo>
                        <a:pt x="2556" y="105"/>
                      </a:lnTo>
                      <a:lnTo>
                        <a:pt x="2556" y="102"/>
                      </a:lnTo>
                      <a:lnTo>
                        <a:pt x="2558" y="105"/>
                      </a:lnTo>
                      <a:lnTo>
                        <a:pt x="2562" y="102"/>
                      </a:lnTo>
                      <a:lnTo>
                        <a:pt x="2562" y="100"/>
                      </a:lnTo>
                      <a:lnTo>
                        <a:pt x="2565" y="100"/>
                      </a:lnTo>
                      <a:lnTo>
                        <a:pt x="2570" y="97"/>
                      </a:lnTo>
                      <a:lnTo>
                        <a:pt x="2570" y="91"/>
                      </a:lnTo>
                      <a:lnTo>
                        <a:pt x="2573" y="94"/>
                      </a:lnTo>
                      <a:lnTo>
                        <a:pt x="2575" y="89"/>
                      </a:lnTo>
                      <a:lnTo>
                        <a:pt x="2575" y="91"/>
                      </a:lnTo>
                      <a:lnTo>
                        <a:pt x="2578" y="91"/>
                      </a:lnTo>
                      <a:lnTo>
                        <a:pt x="2581" y="91"/>
                      </a:lnTo>
                      <a:lnTo>
                        <a:pt x="2581" y="86"/>
                      </a:lnTo>
                      <a:lnTo>
                        <a:pt x="2583" y="86"/>
                      </a:lnTo>
                      <a:lnTo>
                        <a:pt x="2583" y="80"/>
                      </a:lnTo>
                      <a:lnTo>
                        <a:pt x="2586" y="80"/>
                      </a:lnTo>
                      <a:lnTo>
                        <a:pt x="2586" y="77"/>
                      </a:lnTo>
                      <a:lnTo>
                        <a:pt x="2591" y="82"/>
                      </a:lnTo>
                      <a:lnTo>
                        <a:pt x="2591" y="77"/>
                      </a:lnTo>
                      <a:lnTo>
                        <a:pt x="2595" y="80"/>
                      </a:lnTo>
                      <a:lnTo>
                        <a:pt x="2598" y="77"/>
                      </a:lnTo>
                      <a:lnTo>
                        <a:pt x="2595" y="74"/>
                      </a:lnTo>
                      <a:lnTo>
                        <a:pt x="2598" y="69"/>
                      </a:lnTo>
                      <a:lnTo>
                        <a:pt x="2600" y="69"/>
                      </a:lnTo>
                      <a:lnTo>
                        <a:pt x="2603" y="72"/>
                      </a:lnTo>
                      <a:lnTo>
                        <a:pt x="2606" y="69"/>
                      </a:lnTo>
                      <a:lnTo>
                        <a:pt x="2603" y="69"/>
                      </a:lnTo>
                      <a:lnTo>
                        <a:pt x="2606" y="66"/>
                      </a:lnTo>
                      <a:lnTo>
                        <a:pt x="2608" y="69"/>
                      </a:lnTo>
                      <a:lnTo>
                        <a:pt x="2611" y="61"/>
                      </a:lnTo>
                      <a:lnTo>
                        <a:pt x="2614" y="61"/>
                      </a:lnTo>
                      <a:lnTo>
                        <a:pt x="2616" y="58"/>
                      </a:lnTo>
                      <a:lnTo>
                        <a:pt x="2619" y="58"/>
                      </a:lnTo>
                      <a:lnTo>
                        <a:pt x="2622" y="58"/>
                      </a:lnTo>
                      <a:lnTo>
                        <a:pt x="2627" y="53"/>
                      </a:lnTo>
                      <a:lnTo>
                        <a:pt x="2631" y="49"/>
                      </a:lnTo>
                      <a:lnTo>
                        <a:pt x="2631" y="53"/>
                      </a:lnTo>
                      <a:lnTo>
                        <a:pt x="2631" y="49"/>
                      </a:lnTo>
                      <a:lnTo>
                        <a:pt x="2634" y="49"/>
                      </a:lnTo>
                      <a:lnTo>
                        <a:pt x="2636" y="49"/>
                      </a:lnTo>
                      <a:lnTo>
                        <a:pt x="2636" y="47"/>
                      </a:lnTo>
                      <a:lnTo>
                        <a:pt x="2639" y="47"/>
                      </a:lnTo>
                      <a:lnTo>
                        <a:pt x="2639" y="44"/>
                      </a:lnTo>
                      <a:lnTo>
                        <a:pt x="2644" y="47"/>
                      </a:lnTo>
                      <a:lnTo>
                        <a:pt x="2644" y="41"/>
                      </a:lnTo>
                      <a:lnTo>
                        <a:pt x="2650" y="41"/>
                      </a:lnTo>
                      <a:lnTo>
                        <a:pt x="2655" y="41"/>
                      </a:lnTo>
                      <a:lnTo>
                        <a:pt x="2658" y="39"/>
                      </a:lnTo>
                      <a:lnTo>
                        <a:pt x="2658" y="41"/>
                      </a:lnTo>
                      <a:lnTo>
                        <a:pt x="2660" y="39"/>
                      </a:lnTo>
                      <a:lnTo>
                        <a:pt x="2664" y="41"/>
                      </a:lnTo>
                      <a:lnTo>
                        <a:pt x="2667" y="41"/>
                      </a:lnTo>
                      <a:lnTo>
                        <a:pt x="2669" y="39"/>
                      </a:lnTo>
                      <a:lnTo>
                        <a:pt x="2672" y="36"/>
                      </a:lnTo>
                      <a:lnTo>
                        <a:pt x="2675" y="36"/>
                      </a:lnTo>
                      <a:lnTo>
                        <a:pt x="2675" y="33"/>
                      </a:lnTo>
                      <a:lnTo>
                        <a:pt x="2677" y="36"/>
                      </a:lnTo>
                      <a:lnTo>
                        <a:pt x="2680" y="33"/>
                      </a:lnTo>
                      <a:lnTo>
                        <a:pt x="2685" y="31"/>
                      </a:lnTo>
                      <a:lnTo>
                        <a:pt x="2691" y="25"/>
                      </a:lnTo>
                      <a:lnTo>
                        <a:pt x="2700" y="23"/>
                      </a:lnTo>
                      <a:lnTo>
                        <a:pt x="2703" y="20"/>
                      </a:lnTo>
                      <a:lnTo>
                        <a:pt x="2705" y="20"/>
                      </a:lnTo>
                      <a:lnTo>
                        <a:pt x="2708" y="20"/>
                      </a:lnTo>
                      <a:lnTo>
                        <a:pt x="2708" y="23"/>
                      </a:lnTo>
                      <a:lnTo>
                        <a:pt x="2711" y="20"/>
                      </a:lnTo>
                      <a:lnTo>
                        <a:pt x="2711" y="17"/>
                      </a:lnTo>
                      <a:lnTo>
                        <a:pt x="2713" y="20"/>
                      </a:lnTo>
                      <a:lnTo>
                        <a:pt x="2716" y="17"/>
                      </a:lnTo>
                      <a:lnTo>
                        <a:pt x="2719" y="17"/>
                      </a:lnTo>
                      <a:lnTo>
                        <a:pt x="2721" y="13"/>
                      </a:lnTo>
                      <a:lnTo>
                        <a:pt x="2724" y="13"/>
                      </a:lnTo>
                      <a:lnTo>
                        <a:pt x="2721" y="11"/>
                      </a:lnTo>
                      <a:lnTo>
                        <a:pt x="2727" y="11"/>
                      </a:lnTo>
                      <a:lnTo>
                        <a:pt x="2727" y="8"/>
                      </a:lnTo>
                      <a:lnTo>
                        <a:pt x="2736" y="5"/>
                      </a:lnTo>
                      <a:lnTo>
                        <a:pt x="2744" y="11"/>
                      </a:lnTo>
                      <a:lnTo>
                        <a:pt x="2746" y="8"/>
                      </a:lnTo>
                      <a:lnTo>
                        <a:pt x="2749" y="8"/>
                      </a:lnTo>
                      <a:lnTo>
                        <a:pt x="2752" y="8"/>
                      </a:lnTo>
                      <a:lnTo>
                        <a:pt x="2754" y="8"/>
                      </a:lnTo>
                      <a:lnTo>
                        <a:pt x="2762" y="8"/>
                      </a:lnTo>
                      <a:lnTo>
                        <a:pt x="2766" y="13"/>
                      </a:lnTo>
                      <a:lnTo>
                        <a:pt x="2766" y="11"/>
                      </a:lnTo>
                      <a:lnTo>
                        <a:pt x="2762" y="11"/>
                      </a:lnTo>
                      <a:lnTo>
                        <a:pt x="2766" y="8"/>
                      </a:lnTo>
                      <a:lnTo>
                        <a:pt x="2769" y="11"/>
                      </a:lnTo>
                      <a:lnTo>
                        <a:pt x="2769" y="8"/>
                      </a:lnTo>
                      <a:lnTo>
                        <a:pt x="2769" y="5"/>
                      </a:lnTo>
                      <a:lnTo>
                        <a:pt x="2777" y="5"/>
                      </a:lnTo>
                      <a:lnTo>
                        <a:pt x="2777" y="3"/>
                      </a:lnTo>
                      <a:lnTo>
                        <a:pt x="2777" y="0"/>
                      </a:lnTo>
                      <a:lnTo>
                        <a:pt x="2780" y="3"/>
                      </a:lnTo>
                      <a:lnTo>
                        <a:pt x="2780" y="8"/>
                      </a:lnTo>
                      <a:lnTo>
                        <a:pt x="2782" y="8"/>
                      </a:lnTo>
                      <a:lnTo>
                        <a:pt x="2782" y="11"/>
                      </a:lnTo>
                      <a:lnTo>
                        <a:pt x="2790" y="11"/>
                      </a:lnTo>
                      <a:lnTo>
                        <a:pt x="2796" y="17"/>
                      </a:lnTo>
                      <a:lnTo>
                        <a:pt x="2798" y="17"/>
                      </a:lnTo>
                      <a:lnTo>
                        <a:pt x="2798" y="11"/>
                      </a:lnTo>
                      <a:lnTo>
                        <a:pt x="2810" y="13"/>
                      </a:lnTo>
                      <a:lnTo>
                        <a:pt x="2810" y="20"/>
                      </a:lnTo>
                      <a:lnTo>
                        <a:pt x="2807" y="20"/>
                      </a:lnTo>
                      <a:lnTo>
                        <a:pt x="2810" y="23"/>
                      </a:lnTo>
                      <a:lnTo>
                        <a:pt x="2815" y="20"/>
                      </a:lnTo>
                      <a:lnTo>
                        <a:pt x="2818" y="11"/>
                      </a:lnTo>
                      <a:lnTo>
                        <a:pt x="2821" y="11"/>
                      </a:lnTo>
                      <a:lnTo>
                        <a:pt x="2821" y="17"/>
                      </a:lnTo>
                      <a:lnTo>
                        <a:pt x="2823" y="20"/>
                      </a:lnTo>
                      <a:lnTo>
                        <a:pt x="2826" y="20"/>
                      </a:lnTo>
                      <a:lnTo>
                        <a:pt x="2829" y="17"/>
                      </a:lnTo>
                      <a:lnTo>
                        <a:pt x="2829" y="20"/>
                      </a:lnTo>
                      <a:lnTo>
                        <a:pt x="2831" y="20"/>
                      </a:lnTo>
                      <a:lnTo>
                        <a:pt x="2831" y="17"/>
                      </a:lnTo>
                      <a:lnTo>
                        <a:pt x="2835" y="17"/>
                      </a:lnTo>
                      <a:lnTo>
                        <a:pt x="2835" y="20"/>
                      </a:lnTo>
                      <a:lnTo>
                        <a:pt x="2835" y="23"/>
                      </a:lnTo>
                      <a:lnTo>
                        <a:pt x="2838" y="23"/>
                      </a:lnTo>
                      <a:lnTo>
                        <a:pt x="2841" y="23"/>
                      </a:lnTo>
                      <a:lnTo>
                        <a:pt x="2843" y="20"/>
                      </a:lnTo>
                      <a:lnTo>
                        <a:pt x="2843" y="23"/>
                      </a:lnTo>
                      <a:lnTo>
                        <a:pt x="2846" y="23"/>
                      </a:lnTo>
                      <a:lnTo>
                        <a:pt x="2849" y="25"/>
                      </a:lnTo>
                      <a:lnTo>
                        <a:pt x="2849" y="23"/>
                      </a:lnTo>
                      <a:lnTo>
                        <a:pt x="2851" y="25"/>
                      </a:lnTo>
                      <a:lnTo>
                        <a:pt x="2854" y="20"/>
                      </a:lnTo>
                      <a:lnTo>
                        <a:pt x="2859" y="20"/>
                      </a:lnTo>
                      <a:lnTo>
                        <a:pt x="2859" y="17"/>
                      </a:lnTo>
                      <a:lnTo>
                        <a:pt x="2862" y="17"/>
                      </a:lnTo>
                      <a:lnTo>
                        <a:pt x="2871" y="17"/>
                      </a:lnTo>
                      <a:lnTo>
                        <a:pt x="2867" y="17"/>
                      </a:lnTo>
                      <a:lnTo>
                        <a:pt x="2874" y="20"/>
                      </a:lnTo>
                      <a:lnTo>
                        <a:pt x="2874" y="23"/>
                      </a:lnTo>
                      <a:lnTo>
                        <a:pt x="2876" y="20"/>
                      </a:lnTo>
                      <a:lnTo>
                        <a:pt x="2879" y="20"/>
                      </a:lnTo>
                      <a:lnTo>
                        <a:pt x="2882" y="25"/>
                      </a:lnTo>
                      <a:lnTo>
                        <a:pt x="2884" y="25"/>
                      </a:lnTo>
                      <a:lnTo>
                        <a:pt x="2884" y="31"/>
                      </a:lnTo>
                      <a:lnTo>
                        <a:pt x="2884" y="25"/>
                      </a:lnTo>
                      <a:lnTo>
                        <a:pt x="2887" y="25"/>
                      </a:lnTo>
                      <a:lnTo>
                        <a:pt x="2890" y="31"/>
                      </a:lnTo>
                      <a:lnTo>
                        <a:pt x="2893" y="28"/>
                      </a:lnTo>
                      <a:lnTo>
                        <a:pt x="2895" y="31"/>
                      </a:lnTo>
                      <a:lnTo>
                        <a:pt x="2895" y="28"/>
                      </a:lnTo>
                      <a:lnTo>
                        <a:pt x="2898" y="28"/>
                      </a:lnTo>
                      <a:lnTo>
                        <a:pt x="2901" y="31"/>
                      </a:lnTo>
                      <a:lnTo>
                        <a:pt x="2901" y="28"/>
                      </a:lnTo>
                      <a:lnTo>
                        <a:pt x="2904" y="31"/>
                      </a:lnTo>
                      <a:lnTo>
                        <a:pt x="2904" y="28"/>
                      </a:lnTo>
                      <a:lnTo>
                        <a:pt x="2907" y="28"/>
                      </a:lnTo>
                      <a:lnTo>
                        <a:pt x="2910" y="31"/>
                      </a:lnTo>
                      <a:lnTo>
                        <a:pt x="2910" y="28"/>
                      </a:lnTo>
                      <a:lnTo>
                        <a:pt x="2910" y="33"/>
                      </a:lnTo>
                      <a:lnTo>
                        <a:pt x="2915" y="33"/>
                      </a:lnTo>
                      <a:lnTo>
                        <a:pt x="2918" y="36"/>
                      </a:lnTo>
                      <a:lnTo>
                        <a:pt x="2918" y="33"/>
                      </a:lnTo>
                      <a:lnTo>
                        <a:pt x="2920" y="36"/>
                      </a:lnTo>
                      <a:lnTo>
                        <a:pt x="2926" y="33"/>
                      </a:lnTo>
                      <a:lnTo>
                        <a:pt x="2926" y="36"/>
                      </a:lnTo>
                      <a:lnTo>
                        <a:pt x="2923" y="36"/>
                      </a:lnTo>
                      <a:lnTo>
                        <a:pt x="2926" y="39"/>
                      </a:lnTo>
                      <a:lnTo>
                        <a:pt x="2928" y="36"/>
                      </a:lnTo>
                      <a:lnTo>
                        <a:pt x="2928" y="39"/>
                      </a:lnTo>
                      <a:lnTo>
                        <a:pt x="2931" y="33"/>
                      </a:lnTo>
                      <a:lnTo>
                        <a:pt x="2936" y="36"/>
                      </a:lnTo>
                      <a:lnTo>
                        <a:pt x="2940" y="36"/>
                      </a:lnTo>
                      <a:lnTo>
                        <a:pt x="2936" y="39"/>
                      </a:lnTo>
                      <a:lnTo>
                        <a:pt x="2940" y="39"/>
                      </a:lnTo>
                      <a:lnTo>
                        <a:pt x="2940" y="41"/>
                      </a:lnTo>
                      <a:lnTo>
                        <a:pt x="2943" y="39"/>
                      </a:lnTo>
                      <a:lnTo>
                        <a:pt x="2945" y="44"/>
                      </a:lnTo>
                      <a:lnTo>
                        <a:pt x="2951" y="44"/>
                      </a:lnTo>
                      <a:lnTo>
                        <a:pt x="2953" y="47"/>
                      </a:lnTo>
                      <a:lnTo>
                        <a:pt x="2945" y="58"/>
                      </a:lnTo>
                      <a:lnTo>
                        <a:pt x="2945" y="61"/>
                      </a:lnTo>
                      <a:lnTo>
                        <a:pt x="2940" y="66"/>
                      </a:lnTo>
                      <a:lnTo>
                        <a:pt x="2934" y="86"/>
                      </a:lnTo>
                      <a:lnTo>
                        <a:pt x="2931" y="94"/>
                      </a:lnTo>
                      <a:lnTo>
                        <a:pt x="2928" y="97"/>
                      </a:lnTo>
                      <a:lnTo>
                        <a:pt x="2918" y="122"/>
                      </a:lnTo>
                      <a:lnTo>
                        <a:pt x="2915" y="138"/>
                      </a:lnTo>
                      <a:lnTo>
                        <a:pt x="2915" y="141"/>
                      </a:lnTo>
                      <a:lnTo>
                        <a:pt x="2912" y="149"/>
                      </a:lnTo>
                      <a:lnTo>
                        <a:pt x="2912" y="151"/>
                      </a:lnTo>
                      <a:lnTo>
                        <a:pt x="2912" y="154"/>
                      </a:lnTo>
                      <a:lnTo>
                        <a:pt x="2915" y="151"/>
                      </a:lnTo>
                      <a:lnTo>
                        <a:pt x="2915" y="160"/>
                      </a:lnTo>
                      <a:lnTo>
                        <a:pt x="2918" y="160"/>
                      </a:lnTo>
                      <a:lnTo>
                        <a:pt x="2918" y="166"/>
                      </a:lnTo>
                      <a:lnTo>
                        <a:pt x="2912" y="169"/>
                      </a:lnTo>
                      <a:lnTo>
                        <a:pt x="2918" y="171"/>
                      </a:lnTo>
                      <a:lnTo>
                        <a:pt x="2912" y="171"/>
                      </a:lnTo>
                      <a:lnTo>
                        <a:pt x="2915" y="171"/>
                      </a:lnTo>
                      <a:lnTo>
                        <a:pt x="2912" y="174"/>
                      </a:lnTo>
                      <a:lnTo>
                        <a:pt x="2915" y="174"/>
                      </a:lnTo>
                      <a:lnTo>
                        <a:pt x="2912" y="177"/>
                      </a:lnTo>
                      <a:lnTo>
                        <a:pt x="2915" y="179"/>
                      </a:lnTo>
                      <a:lnTo>
                        <a:pt x="2915" y="177"/>
                      </a:lnTo>
                      <a:lnTo>
                        <a:pt x="2918" y="177"/>
                      </a:lnTo>
                      <a:lnTo>
                        <a:pt x="2918" y="182"/>
                      </a:lnTo>
                      <a:lnTo>
                        <a:pt x="2920" y="182"/>
                      </a:lnTo>
                      <a:lnTo>
                        <a:pt x="2923" y="185"/>
                      </a:lnTo>
                      <a:lnTo>
                        <a:pt x="2928" y="185"/>
                      </a:lnTo>
                      <a:lnTo>
                        <a:pt x="2945" y="191"/>
                      </a:lnTo>
                      <a:lnTo>
                        <a:pt x="2953" y="191"/>
                      </a:lnTo>
                      <a:lnTo>
                        <a:pt x="2956" y="194"/>
                      </a:lnTo>
                      <a:lnTo>
                        <a:pt x="2959" y="194"/>
                      </a:lnTo>
                      <a:lnTo>
                        <a:pt x="2962" y="194"/>
                      </a:lnTo>
                      <a:lnTo>
                        <a:pt x="2964" y="196"/>
                      </a:lnTo>
                      <a:lnTo>
                        <a:pt x="2976" y="196"/>
                      </a:lnTo>
                      <a:lnTo>
                        <a:pt x="2979" y="199"/>
                      </a:lnTo>
                      <a:lnTo>
                        <a:pt x="2981" y="202"/>
                      </a:lnTo>
                      <a:lnTo>
                        <a:pt x="2981" y="204"/>
                      </a:lnTo>
                      <a:lnTo>
                        <a:pt x="2979" y="207"/>
                      </a:lnTo>
                      <a:lnTo>
                        <a:pt x="2979" y="210"/>
                      </a:lnTo>
                      <a:lnTo>
                        <a:pt x="2984" y="210"/>
                      </a:lnTo>
                      <a:lnTo>
                        <a:pt x="2987" y="207"/>
                      </a:lnTo>
                      <a:lnTo>
                        <a:pt x="2992" y="207"/>
                      </a:lnTo>
                      <a:lnTo>
                        <a:pt x="2992" y="210"/>
                      </a:lnTo>
                      <a:lnTo>
                        <a:pt x="2995" y="210"/>
                      </a:lnTo>
                      <a:lnTo>
                        <a:pt x="2997" y="210"/>
                      </a:lnTo>
                      <a:lnTo>
                        <a:pt x="3000" y="212"/>
                      </a:lnTo>
                      <a:lnTo>
                        <a:pt x="3003" y="215"/>
                      </a:lnTo>
                      <a:lnTo>
                        <a:pt x="3017" y="218"/>
                      </a:lnTo>
                      <a:lnTo>
                        <a:pt x="3022" y="220"/>
                      </a:lnTo>
                      <a:lnTo>
                        <a:pt x="3025" y="220"/>
                      </a:lnTo>
                      <a:lnTo>
                        <a:pt x="3030" y="218"/>
                      </a:lnTo>
                      <a:lnTo>
                        <a:pt x="3036" y="218"/>
                      </a:lnTo>
                      <a:lnTo>
                        <a:pt x="3039" y="223"/>
                      </a:lnTo>
                      <a:lnTo>
                        <a:pt x="3053" y="232"/>
                      </a:lnTo>
                      <a:lnTo>
                        <a:pt x="3056" y="235"/>
                      </a:lnTo>
                      <a:lnTo>
                        <a:pt x="3053" y="235"/>
                      </a:lnTo>
                      <a:lnTo>
                        <a:pt x="3053" y="240"/>
                      </a:lnTo>
                      <a:lnTo>
                        <a:pt x="3056" y="246"/>
                      </a:lnTo>
                      <a:lnTo>
                        <a:pt x="3058" y="246"/>
                      </a:lnTo>
                      <a:lnTo>
                        <a:pt x="3061" y="240"/>
                      </a:lnTo>
                      <a:lnTo>
                        <a:pt x="3064" y="243"/>
                      </a:lnTo>
                      <a:lnTo>
                        <a:pt x="3064" y="238"/>
                      </a:lnTo>
                      <a:lnTo>
                        <a:pt x="3069" y="238"/>
                      </a:lnTo>
                      <a:lnTo>
                        <a:pt x="3072" y="235"/>
                      </a:lnTo>
                      <a:lnTo>
                        <a:pt x="3075" y="235"/>
                      </a:lnTo>
                      <a:lnTo>
                        <a:pt x="3078" y="235"/>
                      </a:lnTo>
                      <a:lnTo>
                        <a:pt x="3081" y="235"/>
                      </a:lnTo>
                      <a:lnTo>
                        <a:pt x="3081" y="232"/>
                      </a:lnTo>
                      <a:lnTo>
                        <a:pt x="3075" y="227"/>
                      </a:lnTo>
                      <a:lnTo>
                        <a:pt x="3078" y="223"/>
                      </a:lnTo>
                      <a:lnTo>
                        <a:pt x="3083" y="223"/>
                      </a:lnTo>
                      <a:lnTo>
                        <a:pt x="3086" y="220"/>
                      </a:lnTo>
                      <a:lnTo>
                        <a:pt x="3083" y="215"/>
                      </a:lnTo>
                      <a:lnTo>
                        <a:pt x="3086" y="212"/>
                      </a:lnTo>
                      <a:lnTo>
                        <a:pt x="3091" y="212"/>
                      </a:lnTo>
                      <a:lnTo>
                        <a:pt x="3091" y="210"/>
                      </a:lnTo>
                      <a:lnTo>
                        <a:pt x="3094" y="207"/>
                      </a:lnTo>
                      <a:lnTo>
                        <a:pt x="3097" y="207"/>
                      </a:lnTo>
                      <a:lnTo>
                        <a:pt x="3099" y="204"/>
                      </a:lnTo>
                      <a:lnTo>
                        <a:pt x="3102" y="207"/>
                      </a:lnTo>
                      <a:lnTo>
                        <a:pt x="3111" y="202"/>
                      </a:lnTo>
                      <a:lnTo>
                        <a:pt x="3122" y="196"/>
                      </a:lnTo>
                      <a:lnTo>
                        <a:pt x="3125" y="196"/>
                      </a:lnTo>
                      <a:lnTo>
                        <a:pt x="3130" y="196"/>
                      </a:lnTo>
                      <a:lnTo>
                        <a:pt x="3135" y="191"/>
                      </a:lnTo>
                      <a:lnTo>
                        <a:pt x="3138" y="187"/>
                      </a:lnTo>
                      <a:lnTo>
                        <a:pt x="3141" y="187"/>
                      </a:lnTo>
                      <a:lnTo>
                        <a:pt x="3147" y="185"/>
                      </a:lnTo>
                      <a:lnTo>
                        <a:pt x="3150" y="187"/>
                      </a:lnTo>
                      <a:lnTo>
                        <a:pt x="3155" y="187"/>
                      </a:lnTo>
                      <a:lnTo>
                        <a:pt x="3158" y="185"/>
                      </a:lnTo>
                      <a:lnTo>
                        <a:pt x="3158" y="182"/>
                      </a:lnTo>
                      <a:lnTo>
                        <a:pt x="3176" y="179"/>
                      </a:lnTo>
                      <a:lnTo>
                        <a:pt x="3180" y="179"/>
                      </a:lnTo>
                      <a:lnTo>
                        <a:pt x="3188" y="179"/>
                      </a:lnTo>
                      <a:lnTo>
                        <a:pt x="3191" y="177"/>
                      </a:lnTo>
                      <a:lnTo>
                        <a:pt x="3194" y="177"/>
                      </a:lnTo>
                      <a:lnTo>
                        <a:pt x="3199" y="179"/>
                      </a:lnTo>
                      <a:lnTo>
                        <a:pt x="3199" y="177"/>
                      </a:lnTo>
                      <a:lnTo>
                        <a:pt x="3210" y="182"/>
                      </a:lnTo>
                      <a:lnTo>
                        <a:pt x="3219" y="182"/>
                      </a:lnTo>
                      <a:lnTo>
                        <a:pt x="3224" y="187"/>
                      </a:lnTo>
                      <a:lnTo>
                        <a:pt x="3227" y="187"/>
                      </a:lnTo>
                      <a:lnTo>
                        <a:pt x="3227" y="185"/>
                      </a:lnTo>
                      <a:lnTo>
                        <a:pt x="3229" y="187"/>
                      </a:lnTo>
                      <a:lnTo>
                        <a:pt x="3235" y="191"/>
                      </a:lnTo>
                      <a:lnTo>
                        <a:pt x="3237" y="196"/>
                      </a:lnTo>
                      <a:lnTo>
                        <a:pt x="3240" y="194"/>
                      </a:lnTo>
                      <a:lnTo>
                        <a:pt x="3243" y="194"/>
                      </a:lnTo>
                      <a:lnTo>
                        <a:pt x="3245" y="187"/>
                      </a:lnTo>
                      <a:lnTo>
                        <a:pt x="3249" y="194"/>
                      </a:lnTo>
                      <a:lnTo>
                        <a:pt x="3252" y="194"/>
                      </a:lnTo>
                      <a:lnTo>
                        <a:pt x="3257" y="191"/>
                      </a:lnTo>
                      <a:lnTo>
                        <a:pt x="3260" y="191"/>
                      </a:lnTo>
                      <a:lnTo>
                        <a:pt x="3260" y="194"/>
                      </a:lnTo>
                      <a:lnTo>
                        <a:pt x="3268" y="199"/>
                      </a:lnTo>
                      <a:lnTo>
                        <a:pt x="3271" y="196"/>
                      </a:lnTo>
                      <a:lnTo>
                        <a:pt x="3279" y="199"/>
                      </a:lnTo>
                      <a:lnTo>
                        <a:pt x="3282" y="196"/>
                      </a:lnTo>
                      <a:lnTo>
                        <a:pt x="3290" y="202"/>
                      </a:lnTo>
                      <a:lnTo>
                        <a:pt x="3296" y="202"/>
                      </a:lnTo>
                      <a:lnTo>
                        <a:pt x="3298" y="204"/>
                      </a:lnTo>
                      <a:lnTo>
                        <a:pt x="3301" y="212"/>
                      </a:lnTo>
                      <a:lnTo>
                        <a:pt x="3301" y="215"/>
                      </a:lnTo>
                      <a:lnTo>
                        <a:pt x="3304" y="215"/>
                      </a:lnTo>
                      <a:lnTo>
                        <a:pt x="3306" y="218"/>
                      </a:lnTo>
                      <a:lnTo>
                        <a:pt x="3306" y="215"/>
                      </a:lnTo>
                      <a:lnTo>
                        <a:pt x="3309" y="223"/>
                      </a:lnTo>
                      <a:lnTo>
                        <a:pt x="3312" y="223"/>
                      </a:lnTo>
                      <a:lnTo>
                        <a:pt x="3312" y="220"/>
                      </a:lnTo>
                      <a:lnTo>
                        <a:pt x="3314" y="223"/>
                      </a:lnTo>
                      <a:lnTo>
                        <a:pt x="3318" y="227"/>
                      </a:lnTo>
                      <a:lnTo>
                        <a:pt x="3321" y="227"/>
                      </a:lnTo>
                      <a:lnTo>
                        <a:pt x="3324" y="223"/>
                      </a:lnTo>
                      <a:lnTo>
                        <a:pt x="3326" y="227"/>
                      </a:lnTo>
                      <a:lnTo>
                        <a:pt x="3324" y="227"/>
                      </a:lnTo>
                      <a:lnTo>
                        <a:pt x="3324" y="229"/>
                      </a:lnTo>
                      <a:lnTo>
                        <a:pt x="3329" y="232"/>
                      </a:lnTo>
                      <a:lnTo>
                        <a:pt x="3332" y="238"/>
                      </a:lnTo>
                      <a:lnTo>
                        <a:pt x="3337" y="238"/>
                      </a:lnTo>
                      <a:lnTo>
                        <a:pt x="3337" y="240"/>
                      </a:lnTo>
                      <a:lnTo>
                        <a:pt x="3340" y="243"/>
                      </a:lnTo>
                      <a:lnTo>
                        <a:pt x="3351" y="251"/>
                      </a:lnTo>
                      <a:lnTo>
                        <a:pt x="3357" y="256"/>
                      </a:lnTo>
                      <a:lnTo>
                        <a:pt x="3370" y="259"/>
                      </a:lnTo>
                      <a:lnTo>
                        <a:pt x="3373" y="265"/>
                      </a:lnTo>
                      <a:lnTo>
                        <a:pt x="3378" y="271"/>
                      </a:lnTo>
                      <a:lnTo>
                        <a:pt x="3385" y="273"/>
                      </a:lnTo>
                      <a:lnTo>
                        <a:pt x="3385" y="276"/>
                      </a:lnTo>
                      <a:lnTo>
                        <a:pt x="3390" y="273"/>
                      </a:lnTo>
                      <a:lnTo>
                        <a:pt x="3387" y="273"/>
                      </a:lnTo>
                      <a:lnTo>
                        <a:pt x="3393" y="273"/>
                      </a:lnTo>
                      <a:lnTo>
                        <a:pt x="3393" y="276"/>
                      </a:lnTo>
                      <a:lnTo>
                        <a:pt x="3395" y="276"/>
                      </a:lnTo>
                      <a:lnTo>
                        <a:pt x="3393" y="279"/>
                      </a:lnTo>
                      <a:lnTo>
                        <a:pt x="3398" y="281"/>
                      </a:lnTo>
                      <a:lnTo>
                        <a:pt x="3401" y="284"/>
                      </a:lnTo>
                      <a:lnTo>
                        <a:pt x="3403" y="281"/>
                      </a:lnTo>
                      <a:lnTo>
                        <a:pt x="3409" y="287"/>
                      </a:lnTo>
                      <a:lnTo>
                        <a:pt x="3409" y="284"/>
                      </a:lnTo>
                      <a:lnTo>
                        <a:pt x="3411" y="289"/>
                      </a:lnTo>
                      <a:lnTo>
                        <a:pt x="3414" y="289"/>
                      </a:lnTo>
                      <a:lnTo>
                        <a:pt x="3411" y="289"/>
                      </a:lnTo>
                      <a:lnTo>
                        <a:pt x="3420" y="296"/>
                      </a:lnTo>
                      <a:lnTo>
                        <a:pt x="3426" y="301"/>
                      </a:lnTo>
                      <a:lnTo>
                        <a:pt x="3428" y="296"/>
                      </a:lnTo>
                      <a:lnTo>
                        <a:pt x="3434" y="289"/>
                      </a:lnTo>
                      <a:lnTo>
                        <a:pt x="3439" y="292"/>
                      </a:lnTo>
                      <a:lnTo>
                        <a:pt x="3442" y="296"/>
                      </a:lnTo>
                      <a:lnTo>
                        <a:pt x="3444" y="299"/>
                      </a:lnTo>
                      <a:lnTo>
                        <a:pt x="3450" y="307"/>
                      </a:lnTo>
                      <a:lnTo>
                        <a:pt x="3454" y="307"/>
                      </a:lnTo>
                      <a:lnTo>
                        <a:pt x="3462" y="309"/>
                      </a:lnTo>
                      <a:lnTo>
                        <a:pt x="3462" y="315"/>
                      </a:lnTo>
                      <a:lnTo>
                        <a:pt x="3467" y="315"/>
                      </a:lnTo>
                      <a:lnTo>
                        <a:pt x="3470" y="315"/>
                      </a:lnTo>
                      <a:lnTo>
                        <a:pt x="3478" y="320"/>
                      </a:lnTo>
                      <a:lnTo>
                        <a:pt x="3486" y="332"/>
                      </a:lnTo>
                      <a:lnTo>
                        <a:pt x="3500" y="332"/>
                      </a:lnTo>
                      <a:lnTo>
                        <a:pt x="3500" y="337"/>
                      </a:lnTo>
                      <a:lnTo>
                        <a:pt x="3497" y="348"/>
                      </a:lnTo>
                      <a:lnTo>
                        <a:pt x="3508" y="350"/>
                      </a:lnTo>
                      <a:lnTo>
                        <a:pt x="3516" y="356"/>
                      </a:lnTo>
                      <a:lnTo>
                        <a:pt x="3525" y="353"/>
                      </a:lnTo>
                      <a:lnTo>
                        <a:pt x="3528" y="356"/>
                      </a:lnTo>
                      <a:lnTo>
                        <a:pt x="3533" y="365"/>
                      </a:lnTo>
                      <a:lnTo>
                        <a:pt x="3541" y="356"/>
                      </a:lnTo>
                      <a:lnTo>
                        <a:pt x="3544" y="356"/>
                      </a:lnTo>
                      <a:lnTo>
                        <a:pt x="3547" y="361"/>
                      </a:lnTo>
                      <a:lnTo>
                        <a:pt x="3549" y="365"/>
                      </a:lnTo>
                      <a:lnTo>
                        <a:pt x="3561" y="368"/>
                      </a:lnTo>
                      <a:lnTo>
                        <a:pt x="3564" y="373"/>
                      </a:lnTo>
                      <a:lnTo>
                        <a:pt x="3566" y="370"/>
                      </a:lnTo>
                      <a:lnTo>
                        <a:pt x="3572" y="376"/>
                      </a:lnTo>
                      <a:lnTo>
                        <a:pt x="3577" y="370"/>
                      </a:lnTo>
                      <a:lnTo>
                        <a:pt x="3585" y="365"/>
                      </a:lnTo>
                      <a:lnTo>
                        <a:pt x="3592" y="368"/>
                      </a:lnTo>
                      <a:lnTo>
                        <a:pt x="3597" y="365"/>
                      </a:lnTo>
                      <a:lnTo>
                        <a:pt x="3600" y="368"/>
                      </a:lnTo>
                      <a:lnTo>
                        <a:pt x="3605" y="365"/>
                      </a:lnTo>
                      <a:lnTo>
                        <a:pt x="3605" y="358"/>
                      </a:lnTo>
                      <a:lnTo>
                        <a:pt x="3608" y="358"/>
                      </a:lnTo>
                      <a:lnTo>
                        <a:pt x="3610" y="365"/>
                      </a:lnTo>
                      <a:lnTo>
                        <a:pt x="3616" y="365"/>
                      </a:lnTo>
                      <a:lnTo>
                        <a:pt x="3616" y="370"/>
                      </a:lnTo>
                      <a:lnTo>
                        <a:pt x="3618" y="373"/>
                      </a:lnTo>
                      <a:lnTo>
                        <a:pt x="3621" y="376"/>
                      </a:lnTo>
                      <a:lnTo>
                        <a:pt x="3627" y="378"/>
                      </a:lnTo>
                      <a:lnTo>
                        <a:pt x="3633" y="384"/>
                      </a:lnTo>
                      <a:lnTo>
                        <a:pt x="3635" y="392"/>
                      </a:lnTo>
                      <a:lnTo>
                        <a:pt x="3638" y="392"/>
                      </a:lnTo>
                      <a:lnTo>
                        <a:pt x="3638" y="401"/>
                      </a:lnTo>
                      <a:lnTo>
                        <a:pt x="3641" y="401"/>
                      </a:lnTo>
                      <a:lnTo>
                        <a:pt x="3643" y="401"/>
                      </a:lnTo>
                      <a:lnTo>
                        <a:pt x="3649" y="397"/>
                      </a:lnTo>
                      <a:lnTo>
                        <a:pt x="3666" y="392"/>
                      </a:lnTo>
                      <a:lnTo>
                        <a:pt x="3679" y="389"/>
                      </a:lnTo>
                      <a:lnTo>
                        <a:pt x="3682" y="392"/>
                      </a:lnTo>
                      <a:lnTo>
                        <a:pt x="3687" y="392"/>
                      </a:lnTo>
                      <a:lnTo>
                        <a:pt x="3699" y="397"/>
                      </a:lnTo>
                      <a:lnTo>
                        <a:pt x="3707" y="394"/>
                      </a:lnTo>
                      <a:lnTo>
                        <a:pt x="3707" y="389"/>
                      </a:lnTo>
                      <a:lnTo>
                        <a:pt x="3712" y="389"/>
                      </a:lnTo>
                      <a:lnTo>
                        <a:pt x="3715" y="386"/>
                      </a:lnTo>
                      <a:lnTo>
                        <a:pt x="3720" y="386"/>
                      </a:lnTo>
                      <a:lnTo>
                        <a:pt x="3723" y="384"/>
                      </a:lnTo>
                      <a:lnTo>
                        <a:pt x="3729" y="381"/>
                      </a:lnTo>
                      <a:lnTo>
                        <a:pt x="3732" y="373"/>
                      </a:lnTo>
                      <a:lnTo>
                        <a:pt x="3738" y="373"/>
                      </a:lnTo>
                      <a:lnTo>
                        <a:pt x="3743" y="370"/>
                      </a:lnTo>
                      <a:lnTo>
                        <a:pt x="3754" y="368"/>
                      </a:lnTo>
                      <a:lnTo>
                        <a:pt x="3756" y="365"/>
                      </a:lnTo>
                      <a:lnTo>
                        <a:pt x="3759" y="365"/>
                      </a:lnTo>
                      <a:lnTo>
                        <a:pt x="3858" y="455"/>
                      </a:lnTo>
                      <a:lnTo>
                        <a:pt x="3897" y="491"/>
                      </a:lnTo>
                      <a:lnTo>
                        <a:pt x="3927" y="522"/>
                      </a:lnTo>
                      <a:lnTo>
                        <a:pt x="3939" y="530"/>
                      </a:lnTo>
                      <a:lnTo>
                        <a:pt x="3939" y="532"/>
                      </a:lnTo>
                      <a:lnTo>
                        <a:pt x="3947" y="591"/>
                      </a:lnTo>
                      <a:lnTo>
                        <a:pt x="3950" y="634"/>
                      </a:lnTo>
                      <a:lnTo>
                        <a:pt x="3953" y="634"/>
                      </a:lnTo>
                      <a:lnTo>
                        <a:pt x="3961" y="634"/>
                      </a:lnTo>
                      <a:lnTo>
                        <a:pt x="3966" y="632"/>
                      </a:lnTo>
                      <a:lnTo>
                        <a:pt x="3970" y="632"/>
                      </a:lnTo>
                      <a:lnTo>
                        <a:pt x="3975" y="637"/>
                      </a:lnTo>
                      <a:lnTo>
                        <a:pt x="3983" y="634"/>
                      </a:lnTo>
                      <a:lnTo>
                        <a:pt x="3988" y="632"/>
                      </a:lnTo>
                      <a:lnTo>
                        <a:pt x="3996" y="632"/>
                      </a:lnTo>
                      <a:lnTo>
                        <a:pt x="4005" y="637"/>
                      </a:lnTo>
                      <a:lnTo>
                        <a:pt x="4008" y="637"/>
                      </a:lnTo>
                      <a:lnTo>
                        <a:pt x="4016" y="640"/>
                      </a:lnTo>
                      <a:lnTo>
                        <a:pt x="4022" y="642"/>
                      </a:lnTo>
                      <a:lnTo>
                        <a:pt x="4027" y="646"/>
                      </a:lnTo>
                      <a:lnTo>
                        <a:pt x="4030" y="642"/>
                      </a:lnTo>
                      <a:lnTo>
                        <a:pt x="4032" y="634"/>
                      </a:lnTo>
                      <a:lnTo>
                        <a:pt x="4035" y="634"/>
                      </a:lnTo>
                      <a:lnTo>
                        <a:pt x="4047" y="632"/>
                      </a:lnTo>
                      <a:lnTo>
                        <a:pt x="4055" y="624"/>
                      </a:lnTo>
                      <a:lnTo>
                        <a:pt x="4063" y="626"/>
                      </a:lnTo>
                      <a:lnTo>
                        <a:pt x="4072" y="621"/>
                      </a:lnTo>
                      <a:lnTo>
                        <a:pt x="4083" y="621"/>
                      </a:lnTo>
                      <a:lnTo>
                        <a:pt x="4091" y="613"/>
                      </a:lnTo>
                      <a:lnTo>
                        <a:pt x="4093" y="613"/>
                      </a:lnTo>
                      <a:lnTo>
                        <a:pt x="4093" y="604"/>
                      </a:lnTo>
                      <a:lnTo>
                        <a:pt x="4096" y="601"/>
                      </a:lnTo>
                      <a:lnTo>
                        <a:pt x="4099" y="599"/>
                      </a:lnTo>
                      <a:lnTo>
                        <a:pt x="4099" y="593"/>
                      </a:lnTo>
                      <a:lnTo>
                        <a:pt x="4104" y="599"/>
                      </a:lnTo>
                      <a:lnTo>
                        <a:pt x="4110" y="599"/>
                      </a:lnTo>
                      <a:lnTo>
                        <a:pt x="4113" y="599"/>
                      </a:lnTo>
                      <a:lnTo>
                        <a:pt x="4116" y="599"/>
                      </a:lnTo>
                      <a:lnTo>
                        <a:pt x="4121" y="599"/>
                      </a:lnTo>
                      <a:lnTo>
                        <a:pt x="4124" y="613"/>
                      </a:lnTo>
                      <a:lnTo>
                        <a:pt x="4129" y="613"/>
                      </a:lnTo>
                      <a:lnTo>
                        <a:pt x="4132" y="613"/>
                      </a:lnTo>
                      <a:lnTo>
                        <a:pt x="4143" y="610"/>
                      </a:lnTo>
                      <a:lnTo>
                        <a:pt x="4146" y="607"/>
                      </a:lnTo>
                      <a:lnTo>
                        <a:pt x="4149" y="610"/>
                      </a:lnTo>
                      <a:lnTo>
                        <a:pt x="4152" y="604"/>
                      </a:lnTo>
                      <a:lnTo>
                        <a:pt x="4154" y="604"/>
                      </a:lnTo>
                      <a:lnTo>
                        <a:pt x="4154" y="596"/>
                      </a:lnTo>
                      <a:lnTo>
                        <a:pt x="4154" y="593"/>
                      </a:lnTo>
                      <a:lnTo>
                        <a:pt x="4160" y="593"/>
                      </a:lnTo>
                      <a:lnTo>
                        <a:pt x="4160" y="596"/>
                      </a:lnTo>
                      <a:lnTo>
                        <a:pt x="4170" y="601"/>
                      </a:lnTo>
                      <a:lnTo>
                        <a:pt x="4173" y="607"/>
                      </a:lnTo>
                      <a:lnTo>
                        <a:pt x="4170" y="613"/>
                      </a:lnTo>
                      <a:lnTo>
                        <a:pt x="4173" y="618"/>
                      </a:lnTo>
                      <a:lnTo>
                        <a:pt x="4179" y="621"/>
                      </a:lnTo>
                      <a:lnTo>
                        <a:pt x="4187" y="618"/>
                      </a:lnTo>
                      <a:lnTo>
                        <a:pt x="4190" y="616"/>
                      </a:lnTo>
                      <a:lnTo>
                        <a:pt x="4193" y="616"/>
                      </a:lnTo>
                      <a:lnTo>
                        <a:pt x="4190" y="610"/>
                      </a:lnTo>
                      <a:lnTo>
                        <a:pt x="4193" y="604"/>
                      </a:lnTo>
                      <a:lnTo>
                        <a:pt x="4198" y="604"/>
                      </a:lnTo>
                      <a:lnTo>
                        <a:pt x="4203" y="601"/>
                      </a:lnTo>
                      <a:lnTo>
                        <a:pt x="4206" y="601"/>
                      </a:lnTo>
                      <a:lnTo>
                        <a:pt x="4206" y="604"/>
                      </a:lnTo>
                      <a:lnTo>
                        <a:pt x="4210" y="604"/>
                      </a:lnTo>
                      <a:lnTo>
                        <a:pt x="4215" y="613"/>
                      </a:lnTo>
                      <a:lnTo>
                        <a:pt x="4215" y="616"/>
                      </a:lnTo>
                      <a:lnTo>
                        <a:pt x="4223" y="618"/>
                      </a:lnTo>
                      <a:lnTo>
                        <a:pt x="4229" y="629"/>
                      </a:lnTo>
                      <a:lnTo>
                        <a:pt x="4231" y="629"/>
                      </a:lnTo>
                      <a:lnTo>
                        <a:pt x="4234" y="624"/>
                      </a:lnTo>
                      <a:lnTo>
                        <a:pt x="4237" y="624"/>
                      </a:lnTo>
                      <a:lnTo>
                        <a:pt x="4242" y="632"/>
                      </a:lnTo>
                      <a:lnTo>
                        <a:pt x="4246" y="632"/>
                      </a:lnTo>
                      <a:lnTo>
                        <a:pt x="4248" y="634"/>
                      </a:lnTo>
                      <a:lnTo>
                        <a:pt x="4248" y="637"/>
                      </a:lnTo>
                      <a:lnTo>
                        <a:pt x="4246" y="640"/>
                      </a:lnTo>
                      <a:lnTo>
                        <a:pt x="4251" y="642"/>
                      </a:lnTo>
                      <a:lnTo>
                        <a:pt x="4251" y="646"/>
                      </a:lnTo>
                      <a:lnTo>
                        <a:pt x="4262" y="649"/>
                      </a:lnTo>
                      <a:lnTo>
                        <a:pt x="4259" y="654"/>
                      </a:lnTo>
                      <a:lnTo>
                        <a:pt x="4262" y="660"/>
                      </a:lnTo>
                      <a:lnTo>
                        <a:pt x="4267" y="660"/>
                      </a:lnTo>
                      <a:lnTo>
                        <a:pt x="4272" y="657"/>
                      </a:lnTo>
                      <a:lnTo>
                        <a:pt x="4281" y="657"/>
                      </a:lnTo>
                      <a:lnTo>
                        <a:pt x="4281" y="652"/>
                      </a:lnTo>
                      <a:lnTo>
                        <a:pt x="4284" y="646"/>
                      </a:lnTo>
                      <a:lnTo>
                        <a:pt x="4289" y="642"/>
                      </a:lnTo>
                      <a:lnTo>
                        <a:pt x="4292" y="646"/>
                      </a:lnTo>
                      <a:lnTo>
                        <a:pt x="4295" y="649"/>
                      </a:lnTo>
                      <a:lnTo>
                        <a:pt x="4298" y="646"/>
                      </a:lnTo>
                      <a:lnTo>
                        <a:pt x="4303" y="637"/>
                      </a:lnTo>
                      <a:lnTo>
                        <a:pt x="4306" y="640"/>
                      </a:lnTo>
                      <a:lnTo>
                        <a:pt x="4308" y="640"/>
                      </a:lnTo>
                      <a:lnTo>
                        <a:pt x="4317" y="649"/>
                      </a:lnTo>
                      <a:lnTo>
                        <a:pt x="4320" y="660"/>
                      </a:lnTo>
                      <a:lnTo>
                        <a:pt x="4323" y="662"/>
                      </a:lnTo>
                      <a:lnTo>
                        <a:pt x="4323" y="660"/>
                      </a:lnTo>
                      <a:lnTo>
                        <a:pt x="4328" y="665"/>
                      </a:lnTo>
                      <a:lnTo>
                        <a:pt x="4328" y="662"/>
                      </a:lnTo>
                      <a:lnTo>
                        <a:pt x="4331" y="665"/>
                      </a:lnTo>
                      <a:lnTo>
                        <a:pt x="4336" y="665"/>
                      </a:lnTo>
                      <a:lnTo>
                        <a:pt x="4339" y="668"/>
                      </a:lnTo>
                      <a:lnTo>
                        <a:pt x="4341" y="665"/>
                      </a:lnTo>
                      <a:lnTo>
                        <a:pt x="4348" y="662"/>
                      </a:lnTo>
                      <a:lnTo>
                        <a:pt x="4351" y="665"/>
                      </a:lnTo>
                      <a:lnTo>
                        <a:pt x="4353" y="665"/>
                      </a:lnTo>
                      <a:lnTo>
                        <a:pt x="4356" y="668"/>
                      </a:lnTo>
                      <a:lnTo>
                        <a:pt x="4359" y="665"/>
                      </a:lnTo>
                      <a:lnTo>
                        <a:pt x="4361" y="665"/>
                      </a:lnTo>
                      <a:lnTo>
                        <a:pt x="4364" y="665"/>
                      </a:lnTo>
                      <a:lnTo>
                        <a:pt x="4372" y="665"/>
                      </a:lnTo>
                      <a:lnTo>
                        <a:pt x="4377" y="662"/>
                      </a:lnTo>
                      <a:lnTo>
                        <a:pt x="4381" y="665"/>
                      </a:lnTo>
                      <a:lnTo>
                        <a:pt x="4384" y="662"/>
                      </a:lnTo>
                      <a:lnTo>
                        <a:pt x="4386" y="662"/>
                      </a:lnTo>
                      <a:lnTo>
                        <a:pt x="4389" y="662"/>
                      </a:lnTo>
                      <a:lnTo>
                        <a:pt x="4394" y="660"/>
                      </a:lnTo>
                      <a:lnTo>
                        <a:pt x="4397" y="660"/>
                      </a:lnTo>
                      <a:lnTo>
                        <a:pt x="4400" y="665"/>
                      </a:lnTo>
                      <a:lnTo>
                        <a:pt x="4400" y="668"/>
                      </a:lnTo>
                      <a:lnTo>
                        <a:pt x="4402" y="668"/>
                      </a:lnTo>
                      <a:lnTo>
                        <a:pt x="4402" y="673"/>
                      </a:lnTo>
                      <a:lnTo>
                        <a:pt x="4405" y="673"/>
                      </a:lnTo>
                      <a:lnTo>
                        <a:pt x="4405" y="676"/>
                      </a:lnTo>
                      <a:lnTo>
                        <a:pt x="4408" y="676"/>
                      </a:lnTo>
                      <a:lnTo>
                        <a:pt x="4408" y="682"/>
                      </a:lnTo>
                      <a:lnTo>
                        <a:pt x="4410" y="682"/>
                      </a:lnTo>
                      <a:lnTo>
                        <a:pt x="4410" y="685"/>
                      </a:lnTo>
                      <a:lnTo>
                        <a:pt x="4413" y="682"/>
                      </a:lnTo>
                      <a:lnTo>
                        <a:pt x="4422" y="687"/>
                      </a:lnTo>
                      <a:lnTo>
                        <a:pt x="4425" y="687"/>
                      </a:lnTo>
                      <a:lnTo>
                        <a:pt x="4425" y="698"/>
                      </a:lnTo>
                      <a:lnTo>
                        <a:pt x="4419" y="701"/>
                      </a:lnTo>
                      <a:lnTo>
                        <a:pt x="4422" y="703"/>
                      </a:lnTo>
                      <a:lnTo>
                        <a:pt x="4425" y="701"/>
                      </a:lnTo>
                      <a:lnTo>
                        <a:pt x="4425" y="703"/>
                      </a:lnTo>
                      <a:lnTo>
                        <a:pt x="4428" y="703"/>
                      </a:lnTo>
                      <a:lnTo>
                        <a:pt x="4428" y="701"/>
                      </a:lnTo>
                      <a:lnTo>
                        <a:pt x="4430" y="701"/>
                      </a:lnTo>
                      <a:lnTo>
                        <a:pt x="4433" y="701"/>
                      </a:lnTo>
                      <a:lnTo>
                        <a:pt x="4436" y="698"/>
                      </a:lnTo>
                      <a:lnTo>
                        <a:pt x="4436" y="703"/>
                      </a:lnTo>
                      <a:lnTo>
                        <a:pt x="4438" y="703"/>
                      </a:lnTo>
                      <a:lnTo>
                        <a:pt x="4444" y="701"/>
                      </a:lnTo>
                      <a:lnTo>
                        <a:pt x="4446" y="703"/>
                      </a:lnTo>
                      <a:lnTo>
                        <a:pt x="4450" y="703"/>
                      </a:lnTo>
                      <a:lnTo>
                        <a:pt x="4453" y="703"/>
                      </a:lnTo>
                      <a:lnTo>
                        <a:pt x="4453" y="701"/>
                      </a:lnTo>
                      <a:lnTo>
                        <a:pt x="4458" y="698"/>
                      </a:lnTo>
                      <a:lnTo>
                        <a:pt x="4458" y="701"/>
                      </a:lnTo>
                      <a:lnTo>
                        <a:pt x="4455" y="706"/>
                      </a:lnTo>
                      <a:lnTo>
                        <a:pt x="4458" y="709"/>
                      </a:lnTo>
                      <a:lnTo>
                        <a:pt x="4461" y="709"/>
                      </a:lnTo>
                      <a:lnTo>
                        <a:pt x="4463" y="703"/>
                      </a:lnTo>
                      <a:lnTo>
                        <a:pt x="4466" y="703"/>
                      </a:lnTo>
                      <a:lnTo>
                        <a:pt x="4463" y="711"/>
                      </a:lnTo>
                      <a:lnTo>
                        <a:pt x="4463" y="709"/>
                      </a:lnTo>
                      <a:lnTo>
                        <a:pt x="4463" y="715"/>
                      </a:lnTo>
                      <a:lnTo>
                        <a:pt x="4461" y="715"/>
                      </a:lnTo>
                      <a:lnTo>
                        <a:pt x="4461" y="718"/>
                      </a:lnTo>
                      <a:lnTo>
                        <a:pt x="4463" y="715"/>
                      </a:lnTo>
                      <a:lnTo>
                        <a:pt x="4466" y="718"/>
                      </a:lnTo>
                      <a:lnTo>
                        <a:pt x="4466" y="720"/>
                      </a:lnTo>
                      <a:lnTo>
                        <a:pt x="4469" y="723"/>
                      </a:lnTo>
                      <a:lnTo>
                        <a:pt x="4466" y="723"/>
                      </a:lnTo>
                      <a:lnTo>
                        <a:pt x="4466" y="726"/>
                      </a:lnTo>
                      <a:lnTo>
                        <a:pt x="4471" y="726"/>
                      </a:lnTo>
                      <a:lnTo>
                        <a:pt x="4474" y="729"/>
                      </a:lnTo>
                      <a:lnTo>
                        <a:pt x="4471" y="729"/>
                      </a:lnTo>
                      <a:lnTo>
                        <a:pt x="4474" y="731"/>
                      </a:lnTo>
                      <a:lnTo>
                        <a:pt x="4477" y="731"/>
                      </a:lnTo>
                      <a:lnTo>
                        <a:pt x="4479" y="731"/>
                      </a:lnTo>
                      <a:lnTo>
                        <a:pt x="4477" y="734"/>
                      </a:lnTo>
                      <a:lnTo>
                        <a:pt x="4479" y="734"/>
                      </a:lnTo>
                      <a:lnTo>
                        <a:pt x="4479" y="737"/>
                      </a:lnTo>
                      <a:lnTo>
                        <a:pt x="4482" y="737"/>
                      </a:lnTo>
                      <a:lnTo>
                        <a:pt x="4482" y="734"/>
                      </a:lnTo>
                      <a:lnTo>
                        <a:pt x="4486" y="734"/>
                      </a:lnTo>
                      <a:lnTo>
                        <a:pt x="4488" y="739"/>
                      </a:lnTo>
                      <a:lnTo>
                        <a:pt x="4491" y="739"/>
                      </a:lnTo>
                      <a:lnTo>
                        <a:pt x="4491" y="742"/>
                      </a:lnTo>
                      <a:lnTo>
                        <a:pt x="4494" y="742"/>
                      </a:lnTo>
                      <a:lnTo>
                        <a:pt x="4494" y="739"/>
                      </a:lnTo>
                      <a:lnTo>
                        <a:pt x="4499" y="739"/>
                      </a:lnTo>
                      <a:lnTo>
                        <a:pt x="4499" y="745"/>
                      </a:lnTo>
                      <a:lnTo>
                        <a:pt x="4507" y="745"/>
                      </a:lnTo>
                      <a:lnTo>
                        <a:pt x="4507" y="739"/>
                      </a:lnTo>
                      <a:lnTo>
                        <a:pt x="4510" y="739"/>
                      </a:lnTo>
                      <a:lnTo>
                        <a:pt x="4522" y="739"/>
                      </a:lnTo>
                      <a:lnTo>
                        <a:pt x="4524" y="742"/>
                      </a:lnTo>
                      <a:lnTo>
                        <a:pt x="4527" y="742"/>
                      </a:lnTo>
                      <a:lnTo>
                        <a:pt x="4524" y="742"/>
                      </a:lnTo>
                      <a:lnTo>
                        <a:pt x="4519" y="751"/>
                      </a:lnTo>
                      <a:lnTo>
                        <a:pt x="4519" y="754"/>
                      </a:lnTo>
                      <a:lnTo>
                        <a:pt x="4524" y="754"/>
                      </a:lnTo>
                      <a:lnTo>
                        <a:pt x="4532" y="762"/>
                      </a:lnTo>
                      <a:lnTo>
                        <a:pt x="4532" y="767"/>
                      </a:lnTo>
                      <a:lnTo>
                        <a:pt x="4538" y="770"/>
                      </a:lnTo>
                      <a:lnTo>
                        <a:pt x="4540" y="775"/>
                      </a:lnTo>
                      <a:lnTo>
                        <a:pt x="4540" y="780"/>
                      </a:lnTo>
                      <a:lnTo>
                        <a:pt x="4546" y="780"/>
                      </a:lnTo>
                      <a:lnTo>
                        <a:pt x="4546" y="787"/>
                      </a:lnTo>
                      <a:lnTo>
                        <a:pt x="4548" y="789"/>
                      </a:lnTo>
                      <a:lnTo>
                        <a:pt x="4548" y="795"/>
                      </a:lnTo>
                      <a:lnTo>
                        <a:pt x="4540" y="800"/>
                      </a:lnTo>
                      <a:lnTo>
                        <a:pt x="4540" y="803"/>
                      </a:lnTo>
                      <a:lnTo>
                        <a:pt x="4538" y="803"/>
                      </a:lnTo>
                      <a:lnTo>
                        <a:pt x="4535" y="800"/>
                      </a:lnTo>
                      <a:lnTo>
                        <a:pt x="4532" y="800"/>
                      </a:lnTo>
                      <a:lnTo>
                        <a:pt x="4535" y="806"/>
                      </a:lnTo>
                      <a:lnTo>
                        <a:pt x="4538" y="806"/>
                      </a:lnTo>
                      <a:lnTo>
                        <a:pt x="4540" y="811"/>
                      </a:lnTo>
                      <a:lnTo>
                        <a:pt x="4538" y="823"/>
                      </a:lnTo>
                      <a:lnTo>
                        <a:pt x="4532" y="825"/>
                      </a:lnTo>
                      <a:lnTo>
                        <a:pt x="4532" y="828"/>
                      </a:lnTo>
                      <a:lnTo>
                        <a:pt x="4527" y="831"/>
                      </a:lnTo>
                      <a:lnTo>
                        <a:pt x="4527" y="833"/>
                      </a:lnTo>
                      <a:lnTo>
                        <a:pt x="4519" y="844"/>
                      </a:lnTo>
                      <a:lnTo>
                        <a:pt x="4522" y="850"/>
                      </a:lnTo>
                      <a:lnTo>
                        <a:pt x="4524" y="852"/>
                      </a:lnTo>
                      <a:lnTo>
                        <a:pt x="4527" y="861"/>
                      </a:lnTo>
                      <a:lnTo>
                        <a:pt x="4519" y="861"/>
                      </a:lnTo>
                      <a:lnTo>
                        <a:pt x="4515" y="864"/>
                      </a:lnTo>
                      <a:lnTo>
                        <a:pt x="4510" y="867"/>
                      </a:lnTo>
                      <a:lnTo>
                        <a:pt x="4507" y="877"/>
                      </a:lnTo>
                      <a:lnTo>
                        <a:pt x="4505" y="877"/>
                      </a:lnTo>
                      <a:lnTo>
                        <a:pt x="4502" y="875"/>
                      </a:lnTo>
                      <a:lnTo>
                        <a:pt x="4499" y="875"/>
                      </a:lnTo>
                      <a:lnTo>
                        <a:pt x="4499" y="872"/>
                      </a:lnTo>
                      <a:lnTo>
                        <a:pt x="4497" y="872"/>
                      </a:lnTo>
                      <a:lnTo>
                        <a:pt x="4494" y="875"/>
                      </a:lnTo>
                      <a:lnTo>
                        <a:pt x="4494" y="880"/>
                      </a:lnTo>
                      <a:lnTo>
                        <a:pt x="4488" y="883"/>
                      </a:lnTo>
                      <a:lnTo>
                        <a:pt x="4488" y="885"/>
                      </a:lnTo>
                      <a:lnTo>
                        <a:pt x="4486" y="889"/>
                      </a:lnTo>
                      <a:lnTo>
                        <a:pt x="4482" y="892"/>
                      </a:lnTo>
                      <a:lnTo>
                        <a:pt x="4477" y="905"/>
                      </a:lnTo>
                      <a:lnTo>
                        <a:pt x="4474" y="910"/>
                      </a:lnTo>
                      <a:lnTo>
                        <a:pt x="4474" y="913"/>
                      </a:lnTo>
                      <a:lnTo>
                        <a:pt x="4471" y="921"/>
                      </a:lnTo>
                      <a:lnTo>
                        <a:pt x="4466" y="921"/>
                      </a:lnTo>
                      <a:lnTo>
                        <a:pt x="4466" y="928"/>
                      </a:lnTo>
                      <a:lnTo>
                        <a:pt x="4463" y="933"/>
                      </a:lnTo>
                      <a:lnTo>
                        <a:pt x="4458" y="936"/>
                      </a:lnTo>
                      <a:lnTo>
                        <a:pt x="4455" y="930"/>
                      </a:lnTo>
                      <a:lnTo>
                        <a:pt x="4453" y="930"/>
                      </a:lnTo>
                      <a:lnTo>
                        <a:pt x="4455" y="925"/>
                      </a:lnTo>
                      <a:lnTo>
                        <a:pt x="4453" y="918"/>
                      </a:lnTo>
                      <a:lnTo>
                        <a:pt x="4450" y="925"/>
                      </a:lnTo>
                      <a:lnTo>
                        <a:pt x="4446" y="933"/>
                      </a:lnTo>
                      <a:lnTo>
                        <a:pt x="4444" y="938"/>
                      </a:lnTo>
                      <a:lnTo>
                        <a:pt x="4441" y="938"/>
                      </a:lnTo>
                      <a:lnTo>
                        <a:pt x="4436" y="949"/>
                      </a:lnTo>
                      <a:lnTo>
                        <a:pt x="4428" y="957"/>
                      </a:lnTo>
                      <a:lnTo>
                        <a:pt x="4425" y="961"/>
                      </a:lnTo>
                      <a:lnTo>
                        <a:pt x="4422" y="961"/>
                      </a:lnTo>
                      <a:lnTo>
                        <a:pt x="4422" y="966"/>
                      </a:lnTo>
                      <a:lnTo>
                        <a:pt x="4419" y="966"/>
                      </a:lnTo>
                      <a:lnTo>
                        <a:pt x="4422" y="969"/>
                      </a:lnTo>
                      <a:lnTo>
                        <a:pt x="4425" y="969"/>
                      </a:lnTo>
                      <a:lnTo>
                        <a:pt x="4425" y="977"/>
                      </a:lnTo>
                      <a:lnTo>
                        <a:pt x="4428" y="977"/>
                      </a:lnTo>
                      <a:lnTo>
                        <a:pt x="4428" y="982"/>
                      </a:lnTo>
                      <a:lnTo>
                        <a:pt x="4428" y="985"/>
                      </a:lnTo>
                      <a:lnTo>
                        <a:pt x="4422" y="985"/>
                      </a:lnTo>
                      <a:lnTo>
                        <a:pt x="4413" y="982"/>
                      </a:lnTo>
                      <a:lnTo>
                        <a:pt x="4410" y="979"/>
                      </a:lnTo>
                      <a:lnTo>
                        <a:pt x="4410" y="982"/>
                      </a:lnTo>
                      <a:lnTo>
                        <a:pt x="4405" y="982"/>
                      </a:lnTo>
                      <a:lnTo>
                        <a:pt x="4397" y="977"/>
                      </a:lnTo>
                      <a:lnTo>
                        <a:pt x="4394" y="977"/>
                      </a:lnTo>
                      <a:lnTo>
                        <a:pt x="4392" y="979"/>
                      </a:lnTo>
                      <a:lnTo>
                        <a:pt x="4392" y="982"/>
                      </a:lnTo>
                      <a:lnTo>
                        <a:pt x="4389" y="979"/>
                      </a:lnTo>
                      <a:lnTo>
                        <a:pt x="4386" y="982"/>
                      </a:lnTo>
                      <a:lnTo>
                        <a:pt x="4381" y="982"/>
                      </a:lnTo>
                      <a:lnTo>
                        <a:pt x="4375" y="994"/>
                      </a:lnTo>
                      <a:lnTo>
                        <a:pt x="4375" y="997"/>
                      </a:lnTo>
                      <a:lnTo>
                        <a:pt x="4372" y="1002"/>
                      </a:lnTo>
                      <a:lnTo>
                        <a:pt x="4369" y="1015"/>
                      </a:lnTo>
                      <a:lnTo>
                        <a:pt x="4364" y="1026"/>
                      </a:lnTo>
                      <a:lnTo>
                        <a:pt x="4364" y="1032"/>
                      </a:lnTo>
                      <a:lnTo>
                        <a:pt x="4367" y="1035"/>
                      </a:lnTo>
                      <a:lnTo>
                        <a:pt x="4369" y="1038"/>
                      </a:lnTo>
                      <a:lnTo>
                        <a:pt x="4367" y="1043"/>
                      </a:lnTo>
                      <a:lnTo>
                        <a:pt x="4367" y="1051"/>
                      </a:lnTo>
                      <a:lnTo>
                        <a:pt x="4361" y="1054"/>
                      </a:lnTo>
                      <a:lnTo>
                        <a:pt x="4356" y="1068"/>
                      </a:lnTo>
                      <a:lnTo>
                        <a:pt x="4351" y="1071"/>
                      </a:lnTo>
                      <a:lnTo>
                        <a:pt x="4356" y="1074"/>
                      </a:lnTo>
                      <a:lnTo>
                        <a:pt x="4361" y="1076"/>
                      </a:lnTo>
                      <a:lnTo>
                        <a:pt x="4372" y="1076"/>
                      </a:lnTo>
                      <a:lnTo>
                        <a:pt x="4375" y="1079"/>
                      </a:lnTo>
                      <a:lnTo>
                        <a:pt x="4381" y="1076"/>
                      </a:lnTo>
                      <a:lnTo>
                        <a:pt x="4386" y="1079"/>
                      </a:lnTo>
                      <a:lnTo>
                        <a:pt x="4386" y="1084"/>
                      </a:lnTo>
                      <a:lnTo>
                        <a:pt x="4389" y="1087"/>
                      </a:lnTo>
                      <a:lnTo>
                        <a:pt x="4389" y="1092"/>
                      </a:lnTo>
                      <a:lnTo>
                        <a:pt x="4392" y="1095"/>
                      </a:lnTo>
                      <a:lnTo>
                        <a:pt x="4389" y="1099"/>
                      </a:lnTo>
                      <a:lnTo>
                        <a:pt x="4389" y="1101"/>
                      </a:lnTo>
                      <a:lnTo>
                        <a:pt x="4384" y="1101"/>
                      </a:lnTo>
                      <a:lnTo>
                        <a:pt x="4384" y="1104"/>
                      </a:lnTo>
                      <a:lnTo>
                        <a:pt x="4381" y="1107"/>
                      </a:lnTo>
                      <a:lnTo>
                        <a:pt x="4381" y="1115"/>
                      </a:lnTo>
                      <a:lnTo>
                        <a:pt x="4377" y="1120"/>
                      </a:lnTo>
                      <a:lnTo>
                        <a:pt x="4372" y="1120"/>
                      </a:lnTo>
                      <a:lnTo>
                        <a:pt x="4369" y="1115"/>
                      </a:lnTo>
                      <a:lnTo>
                        <a:pt x="4364" y="1120"/>
                      </a:lnTo>
                      <a:lnTo>
                        <a:pt x="4361" y="1120"/>
                      </a:lnTo>
                      <a:lnTo>
                        <a:pt x="4359" y="1123"/>
                      </a:lnTo>
                      <a:lnTo>
                        <a:pt x="4353" y="1117"/>
                      </a:lnTo>
                      <a:lnTo>
                        <a:pt x="4351" y="1117"/>
                      </a:lnTo>
                      <a:lnTo>
                        <a:pt x="4351" y="1115"/>
                      </a:lnTo>
                      <a:lnTo>
                        <a:pt x="4341" y="1109"/>
                      </a:lnTo>
                      <a:lnTo>
                        <a:pt x="4339" y="1112"/>
                      </a:lnTo>
                      <a:lnTo>
                        <a:pt x="4331" y="1115"/>
                      </a:lnTo>
                      <a:lnTo>
                        <a:pt x="4328" y="1115"/>
                      </a:lnTo>
                      <a:lnTo>
                        <a:pt x="4325" y="1117"/>
                      </a:lnTo>
                      <a:lnTo>
                        <a:pt x="4323" y="1117"/>
                      </a:lnTo>
                      <a:lnTo>
                        <a:pt x="4317" y="1115"/>
                      </a:lnTo>
                      <a:lnTo>
                        <a:pt x="4315" y="1115"/>
                      </a:lnTo>
                      <a:lnTo>
                        <a:pt x="4308" y="1115"/>
                      </a:lnTo>
                      <a:lnTo>
                        <a:pt x="4306" y="1112"/>
                      </a:lnTo>
                      <a:lnTo>
                        <a:pt x="4306" y="1109"/>
                      </a:lnTo>
                      <a:lnTo>
                        <a:pt x="4298" y="1109"/>
                      </a:lnTo>
                      <a:lnTo>
                        <a:pt x="4292" y="1112"/>
                      </a:lnTo>
                      <a:lnTo>
                        <a:pt x="4292" y="1120"/>
                      </a:lnTo>
                      <a:lnTo>
                        <a:pt x="4287" y="1131"/>
                      </a:lnTo>
                      <a:lnTo>
                        <a:pt x="4281" y="1145"/>
                      </a:lnTo>
                      <a:lnTo>
                        <a:pt x="4272" y="1153"/>
                      </a:lnTo>
                      <a:lnTo>
                        <a:pt x="4270" y="1153"/>
                      </a:lnTo>
                      <a:lnTo>
                        <a:pt x="4267" y="1164"/>
                      </a:lnTo>
                      <a:lnTo>
                        <a:pt x="4267" y="1168"/>
                      </a:lnTo>
                      <a:lnTo>
                        <a:pt x="4267" y="1170"/>
                      </a:lnTo>
                      <a:lnTo>
                        <a:pt x="4259" y="1186"/>
                      </a:lnTo>
                      <a:lnTo>
                        <a:pt x="4259" y="1192"/>
                      </a:lnTo>
                      <a:lnTo>
                        <a:pt x="4259" y="1194"/>
                      </a:lnTo>
                      <a:lnTo>
                        <a:pt x="4264" y="1194"/>
                      </a:lnTo>
                      <a:lnTo>
                        <a:pt x="4264" y="1197"/>
                      </a:lnTo>
                      <a:lnTo>
                        <a:pt x="4262" y="1214"/>
                      </a:lnTo>
                      <a:lnTo>
                        <a:pt x="4256" y="1222"/>
                      </a:lnTo>
                      <a:lnTo>
                        <a:pt x="4259" y="1236"/>
                      </a:lnTo>
                      <a:lnTo>
                        <a:pt x="4267" y="1239"/>
                      </a:lnTo>
                      <a:lnTo>
                        <a:pt x="4267" y="1245"/>
                      </a:lnTo>
                      <a:lnTo>
                        <a:pt x="4262" y="1250"/>
                      </a:lnTo>
                      <a:lnTo>
                        <a:pt x="4264" y="1258"/>
                      </a:lnTo>
                      <a:lnTo>
                        <a:pt x="4262" y="1261"/>
                      </a:lnTo>
                      <a:lnTo>
                        <a:pt x="4259" y="1261"/>
                      </a:lnTo>
                      <a:lnTo>
                        <a:pt x="4259" y="1266"/>
                      </a:lnTo>
                      <a:lnTo>
                        <a:pt x="4262" y="1269"/>
                      </a:lnTo>
                      <a:lnTo>
                        <a:pt x="4262" y="1275"/>
                      </a:lnTo>
                      <a:lnTo>
                        <a:pt x="4270" y="1281"/>
                      </a:lnTo>
                      <a:lnTo>
                        <a:pt x="4259" y="1283"/>
                      </a:lnTo>
                      <a:lnTo>
                        <a:pt x="4254" y="1291"/>
                      </a:lnTo>
                      <a:lnTo>
                        <a:pt x="4251" y="1291"/>
                      </a:lnTo>
                      <a:lnTo>
                        <a:pt x="4251" y="1297"/>
                      </a:lnTo>
                      <a:lnTo>
                        <a:pt x="4246" y="1297"/>
                      </a:lnTo>
                      <a:lnTo>
                        <a:pt x="4246" y="1302"/>
                      </a:lnTo>
                      <a:lnTo>
                        <a:pt x="4251" y="1305"/>
                      </a:lnTo>
                      <a:lnTo>
                        <a:pt x="4246" y="1311"/>
                      </a:lnTo>
                      <a:lnTo>
                        <a:pt x="4248" y="1314"/>
                      </a:lnTo>
                      <a:lnTo>
                        <a:pt x="4248" y="1319"/>
                      </a:lnTo>
                      <a:lnTo>
                        <a:pt x="4248" y="1322"/>
                      </a:lnTo>
                      <a:lnTo>
                        <a:pt x="4248" y="1324"/>
                      </a:lnTo>
                      <a:lnTo>
                        <a:pt x="4237" y="1330"/>
                      </a:lnTo>
                      <a:lnTo>
                        <a:pt x="4246" y="1335"/>
                      </a:lnTo>
                      <a:lnTo>
                        <a:pt x="4248" y="1338"/>
                      </a:lnTo>
                      <a:lnTo>
                        <a:pt x="4256" y="1335"/>
                      </a:lnTo>
                      <a:lnTo>
                        <a:pt x="4262" y="1338"/>
                      </a:lnTo>
                      <a:lnTo>
                        <a:pt x="4267" y="1344"/>
                      </a:lnTo>
                      <a:lnTo>
                        <a:pt x="4281" y="1347"/>
                      </a:lnTo>
                      <a:lnTo>
                        <a:pt x="4281" y="1350"/>
                      </a:lnTo>
                      <a:lnTo>
                        <a:pt x="4281" y="1352"/>
                      </a:lnTo>
                      <a:lnTo>
                        <a:pt x="4287" y="1360"/>
                      </a:lnTo>
                      <a:lnTo>
                        <a:pt x="4289" y="1360"/>
                      </a:lnTo>
                      <a:lnTo>
                        <a:pt x="4289" y="1366"/>
                      </a:lnTo>
                      <a:lnTo>
                        <a:pt x="4295" y="1366"/>
                      </a:lnTo>
                      <a:lnTo>
                        <a:pt x="4295" y="1374"/>
                      </a:lnTo>
                      <a:lnTo>
                        <a:pt x="4292" y="1380"/>
                      </a:lnTo>
                      <a:lnTo>
                        <a:pt x="4295" y="1383"/>
                      </a:lnTo>
                      <a:lnTo>
                        <a:pt x="4298" y="1385"/>
                      </a:lnTo>
                      <a:lnTo>
                        <a:pt x="4303" y="1399"/>
                      </a:lnTo>
                      <a:lnTo>
                        <a:pt x="4312" y="1404"/>
                      </a:lnTo>
                      <a:lnTo>
                        <a:pt x="4317" y="1399"/>
                      </a:lnTo>
                      <a:lnTo>
                        <a:pt x="4325" y="1399"/>
                      </a:lnTo>
                      <a:lnTo>
                        <a:pt x="4323" y="1401"/>
                      </a:lnTo>
                      <a:lnTo>
                        <a:pt x="4325" y="1407"/>
                      </a:lnTo>
                      <a:lnTo>
                        <a:pt x="4323" y="1407"/>
                      </a:lnTo>
                      <a:lnTo>
                        <a:pt x="4323" y="1410"/>
                      </a:lnTo>
                      <a:lnTo>
                        <a:pt x="4323" y="1416"/>
                      </a:lnTo>
                      <a:lnTo>
                        <a:pt x="4328" y="1419"/>
                      </a:lnTo>
                      <a:lnTo>
                        <a:pt x="4331" y="1424"/>
                      </a:lnTo>
                      <a:lnTo>
                        <a:pt x="4336" y="1419"/>
                      </a:lnTo>
                      <a:lnTo>
                        <a:pt x="4339" y="1419"/>
                      </a:lnTo>
                      <a:lnTo>
                        <a:pt x="4344" y="1427"/>
                      </a:lnTo>
                      <a:lnTo>
                        <a:pt x="4348" y="1432"/>
                      </a:lnTo>
                      <a:lnTo>
                        <a:pt x="4351" y="1424"/>
                      </a:lnTo>
                      <a:lnTo>
                        <a:pt x="4351" y="1419"/>
                      </a:lnTo>
                      <a:lnTo>
                        <a:pt x="4353" y="1421"/>
                      </a:lnTo>
                      <a:lnTo>
                        <a:pt x="4356" y="1427"/>
                      </a:lnTo>
                      <a:lnTo>
                        <a:pt x="4361" y="1429"/>
                      </a:lnTo>
                      <a:lnTo>
                        <a:pt x="4359" y="1435"/>
                      </a:lnTo>
                      <a:lnTo>
                        <a:pt x="4361" y="1437"/>
                      </a:lnTo>
                      <a:lnTo>
                        <a:pt x="4367" y="1440"/>
                      </a:lnTo>
                      <a:lnTo>
                        <a:pt x="4369" y="1443"/>
                      </a:lnTo>
                      <a:lnTo>
                        <a:pt x="4369" y="1452"/>
                      </a:lnTo>
                      <a:lnTo>
                        <a:pt x="4372" y="1454"/>
                      </a:lnTo>
                      <a:lnTo>
                        <a:pt x="4375" y="1454"/>
                      </a:lnTo>
                      <a:lnTo>
                        <a:pt x="4377" y="1462"/>
                      </a:lnTo>
                      <a:lnTo>
                        <a:pt x="4381" y="1465"/>
                      </a:lnTo>
                      <a:lnTo>
                        <a:pt x="4389" y="1462"/>
                      </a:lnTo>
                      <a:lnTo>
                        <a:pt x="4392" y="1468"/>
                      </a:lnTo>
                      <a:lnTo>
                        <a:pt x="4394" y="1468"/>
                      </a:lnTo>
                      <a:lnTo>
                        <a:pt x="4400" y="1468"/>
                      </a:lnTo>
                      <a:lnTo>
                        <a:pt x="4405" y="1476"/>
                      </a:lnTo>
                      <a:lnTo>
                        <a:pt x="4402" y="1482"/>
                      </a:lnTo>
                      <a:lnTo>
                        <a:pt x="4405" y="1488"/>
                      </a:lnTo>
                      <a:lnTo>
                        <a:pt x="4402" y="1493"/>
                      </a:lnTo>
                      <a:lnTo>
                        <a:pt x="4408" y="1498"/>
                      </a:lnTo>
                      <a:lnTo>
                        <a:pt x="4410" y="1504"/>
                      </a:lnTo>
                      <a:lnTo>
                        <a:pt x="4408" y="1509"/>
                      </a:lnTo>
                      <a:lnTo>
                        <a:pt x="4410" y="1506"/>
                      </a:lnTo>
                      <a:lnTo>
                        <a:pt x="4417" y="1509"/>
                      </a:lnTo>
                      <a:lnTo>
                        <a:pt x="4419" y="1514"/>
                      </a:lnTo>
                      <a:lnTo>
                        <a:pt x="4419" y="1518"/>
                      </a:lnTo>
                      <a:lnTo>
                        <a:pt x="4405" y="1537"/>
                      </a:lnTo>
                      <a:lnTo>
                        <a:pt x="4384" y="1547"/>
                      </a:lnTo>
                      <a:lnTo>
                        <a:pt x="4384" y="1550"/>
                      </a:lnTo>
                      <a:lnTo>
                        <a:pt x="4386" y="1554"/>
                      </a:lnTo>
                      <a:lnTo>
                        <a:pt x="4394" y="1559"/>
                      </a:lnTo>
                      <a:lnTo>
                        <a:pt x="4400" y="1562"/>
                      </a:lnTo>
                      <a:lnTo>
                        <a:pt x="4400" y="1573"/>
                      </a:lnTo>
                      <a:lnTo>
                        <a:pt x="4389" y="1567"/>
                      </a:lnTo>
                      <a:lnTo>
                        <a:pt x="4384" y="1565"/>
                      </a:lnTo>
                      <a:lnTo>
                        <a:pt x="4381" y="1565"/>
                      </a:lnTo>
                      <a:lnTo>
                        <a:pt x="4372" y="1559"/>
                      </a:lnTo>
                      <a:lnTo>
                        <a:pt x="4372" y="1557"/>
                      </a:lnTo>
                      <a:lnTo>
                        <a:pt x="4367" y="1559"/>
                      </a:lnTo>
                      <a:lnTo>
                        <a:pt x="4364" y="1554"/>
                      </a:lnTo>
                      <a:lnTo>
                        <a:pt x="4361" y="1554"/>
                      </a:lnTo>
                      <a:lnTo>
                        <a:pt x="4356" y="1547"/>
                      </a:lnTo>
                      <a:lnTo>
                        <a:pt x="4351" y="1547"/>
                      </a:lnTo>
                      <a:lnTo>
                        <a:pt x="4348" y="1550"/>
                      </a:lnTo>
                      <a:lnTo>
                        <a:pt x="4341" y="1547"/>
                      </a:lnTo>
                      <a:lnTo>
                        <a:pt x="4339" y="1550"/>
                      </a:lnTo>
                      <a:lnTo>
                        <a:pt x="4333" y="1550"/>
                      </a:lnTo>
                      <a:lnTo>
                        <a:pt x="4333" y="1547"/>
                      </a:lnTo>
                      <a:lnTo>
                        <a:pt x="4323" y="1547"/>
                      </a:lnTo>
                      <a:lnTo>
                        <a:pt x="4317" y="1547"/>
                      </a:lnTo>
                      <a:lnTo>
                        <a:pt x="4306" y="1545"/>
                      </a:lnTo>
                      <a:lnTo>
                        <a:pt x="4303" y="1550"/>
                      </a:lnTo>
                      <a:lnTo>
                        <a:pt x="4295" y="1542"/>
                      </a:lnTo>
                      <a:lnTo>
                        <a:pt x="4287" y="1542"/>
                      </a:lnTo>
                      <a:lnTo>
                        <a:pt x="4281" y="1534"/>
                      </a:lnTo>
                      <a:lnTo>
                        <a:pt x="4279" y="1534"/>
                      </a:lnTo>
                      <a:lnTo>
                        <a:pt x="4270" y="1539"/>
                      </a:lnTo>
                      <a:lnTo>
                        <a:pt x="4262" y="1545"/>
                      </a:lnTo>
                      <a:lnTo>
                        <a:pt x="4254" y="1545"/>
                      </a:lnTo>
                      <a:lnTo>
                        <a:pt x="4254" y="1554"/>
                      </a:lnTo>
                      <a:lnTo>
                        <a:pt x="4248" y="1554"/>
                      </a:lnTo>
                      <a:lnTo>
                        <a:pt x="4242" y="1554"/>
                      </a:lnTo>
                      <a:lnTo>
                        <a:pt x="4242" y="1557"/>
                      </a:lnTo>
                      <a:lnTo>
                        <a:pt x="4242" y="1559"/>
                      </a:lnTo>
                      <a:lnTo>
                        <a:pt x="4239" y="1565"/>
                      </a:lnTo>
                      <a:lnTo>
                        <a:pt x="4242" y="1567"/>
                      </a:lnTo>
                      <a:lnTo>
                        <a:pt x="4237" y="1570"/>
                      </a:lnTo>
                      <a:lnTo>
                        <a:pt x="4237" y="1575"/>
                      </a:lnTo>
                      <a:lnTo>
                        <a:pt x="4229" y="1578"/>
                      </a:lnTo>
                      <a:lnTo>
                        <a:pt x="4226" y="1583"/>
                      </a:lnTo>
                      <a:lnTo>
                        <a:pt x="4223" y="1587"/>
                      </a:lnTo>
                      <a:lnTo>
                        <a:pt x="4218" y="1583"/>
                      </a:lnTo>
                      <a:lnTo>
                        <a:pt x="4215" y="1587"/>
                      </a:lnTo>
                      <a:lnTo>
                        <a:pt x="4212" y="1583"/>
                      </a:lnTo>
                      <a:lnTo>
                        <a:pt x="4203" y="1590"/>
                      </a:lnTo>
                      <a:lnTo>
                        <a:pt x="4201" y="1587"/>
                      </a:lnTo>
                      <a:lnTo>
                        <a:pt x="4201" y="1581"/>
                      </a:lnTo>
                      <a:lnTo>
                        <a:pt x="4195" y="1581"/>
                      </a:lnTo>
                      <a:lnTo>
                        <a:pt x="4190" y="1581"/>
                      </a:lnTo>
                      <a:lnTo>
                        <a:pt x="4187" y="1583"/>
                      </a:lnTo>
                      <a:lnTo>
                        <a:pt x="4182" y="1581"/>
                      </a:lnTo>
                      <a:lnTo>
                        <a:pt x="4179" y="1581"/>
                      </a:lnTo>
                      <a:lnTo>
                        <a:pt x="4177" y="1581"/>
                      </a:lnTo>
                      <a:lnTo>
                        <a:pt x="4179" y="1573"/>
                      </a:lnTo>
                      <a:lnTo>
                        <a:pt x="4177" y="1573"/>
                      </a:lnTo>
                      <a:lnTo>
                        <a:pt x="4177" y="1570"/>
                      </a:lnTo>
                      <a:lnTo>
                        <a:pt x="4173" y="1570"/>
                      </a:lnTo>
                      <a:lnTo>
                        <a:pt x="4168" y="1573"/>
                      </a:lnTo>
                      <a:lnTo>
                        <a:pt x="4170" y="1567"/>
                      </a:lnTo>
                      <a:lnTo>
                        <a:pt x="4168" y="1562"/>
                      </a:lnTo>
                      <a:lnTo>
                        <a:pt x="4165" y="1562"/>
                      </a:lnTo>
                      <a:lnTo>
                        <a:pt x="4162" y="1559"/>
                      </a:lnTo>
                      <a:lnTo>
                        <a:pt x="4160" y="1562"/>
                      </a:lnTo>
                      <a:lnTo>
                        <a:pt x="4157" y="1565"/>
                      </a:lnTo>
                      <a:lnTo>
                        <a:pt x="4154" y="1562"/>
                      </a:lnTo>
                      <a:lnTo>
                        <a:pt x="4152" y="1562"/>
                      </a:lnTo>
                      <a:lnTo>
                        <a:pt x="4143" y="1573"/>
                      </a:lnTo>
                      <a:lnTo>
                        <a:pt x="4141" y="1575"/>
                      </a:lnTo>
                      <a:lnTo>
                        <a:pt x="4137" y="1573"/>
                      </a:lnTo>
                      <a:lnTo>
                        <a:pt x="4134" y="1573"/>
                      </a:lnTo>
                      <a:lnTo>
                        <a:pt x="4132" y="1567"/>
                      </a:lnTo>
                      <a:lnTo>
                        <a:pt x="4129" y="1573"/>
                      </a:lnTo>
                      <a:lnTo>
                        <a:pt x="4126" y="1573"/>
                      </a:lnTo>
                      <a:lnTo>
                        <a:pt x="4124" y="1575"/>
                      </a:lnTo>
                      <a:lnTo>
                        <a:pt x="4177" y="1626"/>
                      </a:lnTo>
                      <a:lnTo>
                        <a:pt x="4179" y="1644"/>
                      </a:lnTo>
                      <a:lnTo>
                        <a:pt x="4168" y="1647"/>
                      </a:lnTo>
                      <a:lnTo>
                        <a:pt x="4165" y="1644"/>
                      </a:lnTo>
                      <a:lnTo>
                        <a:pt x="4157" y="1642"/>
                      </a:lnTo>
                      <a:lnTo>
                        <a:pt x="4154" y="1642"/>
                      </a:lnTo>
                      <a:lnTo>
                        <a:pt x="4149" y="1642"/>
                      </a:lnTo>
                      <a:lnTo>
                        <a:pt x="4146" y="1642"/>
                      </a:lnTo>
                      <a:lnTo>
                        <a:pt x="4143" y="1639"/>
                      </a:lnTo>
                      <a:lnTo>
                        <a:pt x="4141" y="1639"/>
                      </a:lnTo>
                      <a:lnTo>
                        <a:pt x="4141" y="1634"/>
                      </a:lnTo>
                      <a:lnTo>
                        <a:pt x="4134" y="1631"/>
                      </a:lnTo>
                      <a:lnTo>
                        <a:pt x="4129" y="1631"/>
                      </a:lnTo>
                      <a:lnTo>
                        <a:pt x="4129" y="1626"/>
                      </a:lnTo>
                      <a:lnTo>
                        <a:pt x="4126" y="1628"/>
                      </a:lnTo>
                      <a:lnTo>
                        <a:pt x="4124" y="1626"/>
                      </a:lnTo>
                      <a:lnTo>
                        <a:pt x="4124" y="1628"/>
                      </a:lnTo>
                      <a:lnTo>
                        <a:pt x="4121" y="1628"/>
                      </a:lnTo>
                      <a:lnTo>
                        <a:pt x="4118" y="1631"/>
                      </a:lnTo>
                      <a:lnTo>
                        <a:pt x="4113" y="1636"/>
                      </a:lnTo>
                      <a:lnTo>
                        <a:pt x="4110" y="1636"/>
                      </a:lnTo>
                      <a:lnTo>
                        <a:pt x="4108" y="1634"/>
                      </a:lnTo>
                      <a:lnTo>
                        <a:pt x="4104" y="1634"/>
                      </a:lnTo>
                      <a:lnTo>
                        <a:pt x="4104" y="1639"/>
                      </a:lnTo>
                      <a:lnTo>
                        <a:pt x="4104" y="1642"/>
                      </a:lnTo>
                      <a:lnTo>
                        <a:pt x="4104" y="1644"/>
                      </a:lnTo>
                      <a:lnTo>
                        <a:pt x="4101" y="1644"/>
                      </a:lnTo>
                      <a:lnTo>
                        <a:pt x="4099" y="1642"/>
                      </a:lnTo>
                      <a:lnTo>
                        <a:pt x="4093" y="1639"/>
                      </a:lnTo>
                      <a:lnTo>
                        <a:pt x="4091" y="1642"/>
                      </a:lnTo>
                      <a:lnTo>
                        <a:pt x="4088" y="1650"/>
                      </a:lnTo>
                      <a:lnTo>
                        <a:pt x="4080" y="1650"/>
                      </a:lnTo>
                      <a:lnTo>
                        <a:pt x="4080" y="1644"/>
                      </a:lnTo>
                      <a:lnTo>
                        <a:pt x="4074" y="1644"/>
                      </a:lnTo>
                      <a:lnTo>
                        <a:pt x="4072" y="1652"/>
                      </a:lnTo>
                      <a:lnTo>
                        <a:pt x="4068" y="1652"/>
                      </a:lnTo>
                      <a:lnTo>
                        <a:pt x="4072" y="1647"/>
                      </a:lnTo>
                      <a:lnTo>
                        <a:pt x="4063" y="1650"/>
                      </a:lnTo>
                      <a:lnTo>
                        <a:pt x="4063" y="1652"/>
                      </a:lnTo>
                      <a:lnTo>
                        <a:pt x="4063" y="1655"/>
                      </a:lnTo>
                      <a:lnTo>
                        <a:pt x="4057" y="1655"/>
                      </a:lnTo>
                      <a:lnTo>
                        <a:pt x="4047" y="1661"/>
                      </a:lnTo>
                      <a:lnTo>
                        <a:pt x="4047" y="1667"/>
                      </a:lnTo>
                      <a:lnTo>
                        <a:pt x="4044" y="1669"/>
                      </a:lnTo>
                      <a:lnTo>
                        <a:pt x="4044" y="1672"/>
                      </a:lnTo>
                      <a:lnTo>
                        <a:pt x="4047" y="1675"/>
                      </a:lnTo>
                      <a:lnTo>
                        <a:pt x="4047" y="1677"/>
                      </a:lnTo>
                      <a:lnTo>
                        <a:pt x="4044" y="1677"/>
                      </a:lnTo>
                      <a:lnTo>
                        <a:pt x="4044" y="1680"/>
                      </a:lnTo>
                      <a:lnTo>
                        <a:pt x="4044" y="1683"/>
                      </a:lnTo>
                      <a:lnTo>
                        <a:pt x="4047" y="1685"/>
                      </a:lnTo>
                      <a:lnTo>
                        <a:pt x="4032" y="1697"/>
                      </a:lnTo>
                      <a:lnTo>
                        <a:pt x="4024" y="1705"/>
                      </a:lnTo>
                      <a:lnTo>
                        <a:pt x="4022" y="1708"/>
                      </a:lnTo>
                      <a:lnTo>
                        <a:pt x="4022" y="1719"/>
                      </a:lnTo>
                      <a:lnTo>
                        <a:pt x="4024" y="1721"/>
                      </a:lnTo>
                      <a:lnTo>
                        <a:pt x="4024" y="1730"/>
                      </a:lnTo>
                      <a:lnTo>
                        <a:pt x="4024" y="1736"/>
                      </a:lnTo>
                      <a:lnTo>
                        <a:pt x="4024" y="1738"/>
                      </a:lnTo>
                      <a:lnTo>
                        <a:pt x="4019" y="1738"/>
                      </a:lnTo>
                      <a:lnTo>
                        <a:pt x="4019" y="1744"/>
                      </a:lnTo>
                      <a:lnTo>
                        <a:pt x="4019" y="1749"/>
                      </a:lnTo>
                      <a:lnTo>
                        <a:pt x="4027" y="1749"/>
                      </a:lnTo>
                      <a:lnTo>
                        <a:pt x="4022" y="1752"/>
                      </a:lnTo>
                      <a:lnTo>
                        <a:pt x="4016" y="1755"/>
                      </a:lnTo>
                      <a:lnTo>
                        <a:pt x="4011" y="1764"/>
                      </a:lnTo>
                      <a:lnTo>
                        <a:pt x="4014" y="1766"/>
                      </a:lnTo>
                      <a:lnTo>
                        <a:pt x="4049" y="1769"/>
                      </a:lnTo>
                      <a:lnTo>
                        <a:pt x="4060" y="1769"/>
                      </a:lnTo>
                      <a:lnTo>
                        <a:pt x="4074" y="1772"/>
                      </a:lnTo>
                      <a:lnTo>
                        <a:pt x="4077" y="1772"/>
                      </a:lnTo>
                      <a:lnTo>
                        <a:pt x="4077" y="1774"/>
                      </a:lnTo>
                      <a:lnTo>
                        <a:pt x="4077" y="1777"/>
                      </a:lnTo>
                      <a:lnTo>
                        <a:pt x="4074" y="1802"/>
                      </a:lnTo>
                      <a:lnTo>
                        <a:pt x="4074" y="1810"/>
                      </a:lnTo>
                      <a:lnTo>
                        <a:pt x="4072" y="1810"/>
                      </a:lnTo>
                      <a:lnTo>
                        <a:pt x="4068" y="1833"/>
                      </a:lnTo>
                      <a:lnTo>
                        <a:pt x="4072" y="1835"/>
                      </a:lnTo>
                      <a:lnTo>
                        <a:pt x="4072" y="1838"/>
                      </a:lnTo>
                      <a:lnTo>
                        <a:pt x="4068" y="1841"/>
                      </a:lnTo>
                      <a:lnTo>
                        <a:pt x="4065" y="1843"/>
                      </a:lnTo>
                      <a:lnTo>
                        <a:pt x="4063" y="1843"/>
                      </a:lnTo>
                      <a:lnTo>
                        <a:pt x="4063" y="1846"/>
                      </a:lnTo>
                      <a:lnTo>
                        <a:pt x="4068" y="1849"/>
                      </a:lnTo>
                      <a:lnTo>
                        <a:pt x="4065" y="1851"/>
                      </a:lnTo>
                      <a:lnTo>
                        <a:pt x="4072" y="1849"/>
                      </a:lnTo>
                      <a:lnTo>
                        <a:pt x="4072" y="1851"/>
                      </a:lnTo>
                      <a:lnTo>
                        <a:pt x="4074" y="1851"/>
                      </a:lnTo>
                      <a:lnTo>
                        <a:pt x="4072" y="1854"/>
                      </a:lnTo>
                      <a:lnTo>
                        <a:pt x="4077" y="1854"/>
                      </a:lnTo>
                      <a:lnTo>
                        <a:pt x="4083" y="1859"/>
                      </a:lnTo>
                      <a:lnTo>
                        <a:pt x="4088" y="1859"/>
                      </a:lnTo>
                      <a:lnTo>
                        <a:pt x="4091" y="1862"/>
                      </a:lnTo>
                      <a:lnTo>
                        <a:pt x="4104" y="1866"/>
                      </a:lnTo>
                      <a:lnTo>
                        <a:pt x="4108" y="1868"/>
                      </a:lnTo>
                      <a:lnTo>
                        <a:pt x="4110" y="1884"/>
                      </a:lnTo>
                      <a:lnTo>
                        <a:pt x="4110" y="1887"/>
                      </a:lnTo>
                      <a:lnTo>
                        <a:pt x="4110" y="1904"/>
                      </a:lnTo>
                      <a:lnTo>
                        <a:pt x="4116" y="1910"/>
                      </a:lnTo>
                      <a:lnTo>
                        <a:pt x="4113" y="1912"/>
                      </a:lnTo>
                      <a:lnTo>
                        <a:pt x="4118" y="1915"/>
                      </a:lnTo>
                      <a:lnTo>
                        <a:pt x="4118" y="1918"/>
                      </a:lnTo>
                      <a:lnTo>
                        <a:pt x="4118" y="1920"/>
                      </a:lnTo>
                      <a:lnTo>
                        <a:pt x="4116" y="1923"/>
                      </a:lnTo>
                      <a:lnTo>
                        <a:pt x="4113" y="1926"/>
                      </a:lnTo>
                      <a:lnTo>
                        <a:pt x="4110" y="1928"/>
                      </a:lnTo>
                      <a:lnTo>
                        <a:pt x="4108" y="1926"/>
                      </a:lnTo>
                      <a:lnTo>
                        <a:pt x="4104" y="1928"/>
                      </a:lnTo>
                      <a:lnTo>
                        <a:pt x="4099" y="1931"/>
                      </a:lnTo>
                      <a:lnTo>
                        <a:pt x="4074" y="1931"/>
                      </a:lnTo>
                      <a:lnTo>
                        <a:pt x="4065" y="1931"/>
                      </a:lnTo>
                      <a:lnTo>
                        <a:pt x="4052" y="1931"/>
                      </a:lnTo>
                      <a:lnTo>
                        <a:pt x="4047" y="1931"/>
                      </a:lnTo>
                      <a:lnTo>
                        <a:pt x="4041" y="1931"/>
                      </a:lnTo>
                      <a:lnTo>
                        <a:pt x="4035" y="1923"/>
                      </a:lnTo>
                      <a:lnTo>
                        <a:pt x="4035" y="1920"/>
                      </a:lnTo>
                      <a:lnTo>
                        <a:pt x="4032" y="1918"/>
                      </a:lnTo>
                      <a:lnTo>
                        <a:pt x="4030" y="1912"/>
                      </a:lnTo>
                      <a:lnTo>
                        <a:pt x="4024" y="1915"/>
                      </a:lnTo>
                      <a:lnTo>
                        <a:pt x="4019" y="1915"/>
                      </a:lnTo>
                      <a:lnTo>
                        <a:pt x="4016" y="1915"/>
                      </a:lnTo>
                      <a:lnTo>
                        <a:pt x="3991" y="1915"/>
                      </a:lnTo>
                      <a:lnTo>
                        <a:pt x="3986" y="1923"/>
                      </a:lnTo>
                      <a:lnTo>
                        <a:pt x="3988" y="1928"/>
                      </a:lnTo>
                      <a:lnTo>
                        <a:pt x="3986" y="1934"/>
                      </a:lnTo>
                      <a:lnTo>
                        <a:pt x="3988" y="1934"/>
                      </a:lnTo>
                      <a:lnTo>
                        <a:pt x="3986" y="1937"/>
                      </a:lnTo>
                      <a:lnTo>
                        <a:pt x="3988" y="1940"/>
                      </a:lnTo>
                      <a:lnTo>
                        <a:pt x="3991" y="1940"/>
                      </a:lnTo>
                      <a:lnTo>
                        <a:pt x="3996" y="1948"/>
                      </a:lnTo>
                      <a:lnTo>
                        <a:pt x="3999" y="1945"/>
                      </a:lnTo>
                      <a:lnTo>
                        <a:pt x="3999" y="1943"/>
                      </a:lnTo>
                      <a:lnTo>
                        <a:pt x="3999" y="1937"/>
                      </a:lnTo>
                      <a:lnTo>
                        <a:pt x="4005" y="1943"/>
                      </a:lnTo>
                      <a:lnTo>
                        <a:pt x="4008" y="1943"/>
                      </a:lnTo>
                      <a:lnTo>
                        <a:pt x="4016" y="1940"/>
                      </a:lnTo>
                      <a:lnTo>
                        <a:pt x="4019" y="1943"/>
                      </a:lnTo>
                      <a:lnTo>
                        <a:pt x="4022" y="1948"/>
                      </a:lnTo>
                      <a:lnTo>
                        <a:pt x="4022" y="1951"/>
                      </a:lnTo>
                      <a:lnTo>
                        <a:pt x="4024" y="1951"/>
                      </a:lnTo>
                      <a:lnTo>
                        <a:pt x="4027" y="1951"/>
                      </a:lnTo>
                      <a:lnTo>
                        <a:pt x="4032" y="1953"/>
                      </a:lnTo>
                      <a:lnTo>
                        <a:pt x="4035" y="1959"/>
                      </a:lnTo>
                      <a:lnTo>
                        <a:pt x="4039" y="1961"/>
                      </a:lnTo>
                      <a:lnTo>
                        <a:pt x="4039" y="1967"/>
                      </a:lnTo>
                      <a:lnTo>
                        <a:pt x="4041" y="1967"/>
                      </a:lnTo>
                      <a:lnTo>
                        <a:pt x="4044" y="1971"/>
                      </a:lnTo>
                      <a:lnTo>
                        <a:pt x="4052" y="1973"/>
                      </a:lnTo>
                      <a:lnTo>
                        <a:pt x="4052" y="1976"/>
                      </a:lnTo>
                      <a:lnTo>
                        <a:pt x="4057" y="1976"/>
                      </a:lnTo>
                      <a:lnTo>
                        <a:pt x="4057" y="1979"/>
                      </a:lnTo>
                      <a:lnTo>
                        <a:pt x="4060" y="1984"/>
                      </a:lnTo>
                      <a:lnTo>
                        <a:pt x="4063" y="1984"/>
                      </a:lnTo>
                      <a:lnTo>
                        <a:pt x="4063" y="1987"/>
                      </a:lnTo>
                      <a:lnTo>
                        <a:pt x="4065" y="1989"/>
                      </a:lnTo>
                      <a:lnTo>
                        <a:pt x="4068" y="1989"/>
                      </a:lnTo>
                      <a:lnTo>
                        <a:pt x="4072" y="1989"/>
                      </a:lnTo>
                      <a:lnTo>
                        <a:pt x="4074" y="1989"/>
                      </a:lnTo>
                      <a:lnTo>
                        <a:pt x="4077" y="1987"/>
                      </a:lnTo>
                      <a:lnTo>
                        <a:pt x="4077" y="1989"/>
                      </a:lnTo>
                      <a:lnTo>
                        <a:pt x="4077" y="1992"/>
                      </a:lnTo>
                      <a:lnTo>
                        <a:pt x="4074" y="1992"/>
                      </a:lnTo>
                      <a:lnTo>
                        <a:pt x="4063" y="2000"/>
                      </a:lnTo>
                      <a:lnTo>
                        <a:pt x="4057" y="2000"/>
                      </a:lnTo>
                      <a:lnTo>
                        <a:pt x="4057" y="2006"/>
                      </a:lnTo>
                      <a:lnTo>
                        <a:pt x="4055" y="2009"/>
                      </a:lnTo>
                      <a:lnTo>
                        <a:pt x="4060" y="2014"/>
                      </a:lnTo>
                      <a:lnTo>
                        <a:pt x="4057" y="2020"/>
                      </a:lnTo>
                      <a:lnTo>
                        <a:pt x="4060" y="2022"/>
                      </a:lnTo>
                      <a:lnTo>
                        <a:pt x="4063" y="2022"/>
                      </a:lnTo>
                      <a:lnTo>
                        <a:pt x="4063" y="2028"/>
                      </a:lnTo>
                      <a:lnTo>
                        <a:pt x="4072" y="2028"/>
                      </a:lnTo>
                      <a:lnTo>
                        <a:pt x="4074" y="2033"/>
                      </a:lnTo>
                      <a:lnTo>
                        <a:pt x="4077" y="2030"/>
                      </a:lnTo>
                      <a:lnTo>
                        <a:pt x="4080" y="2030"/>
                      </a:lnTo>
                      <a:lnTo>
                        <a:pt x="4080" y="2036"/>
                      </a:lnTo>
                      <a:lnTo>
                        <a:pt x="4083" y="2033"/>
                      </a:lnTo>
                      <a:lnTo>
                        <a:pt x="4083" y="2040"/>
                      </a:lnTo>
                      <a:lnTo>
                        <a:pt x="4083" y="2042"/>
                      </a:lnTo>
                      <a:lnTo>
                        <a:pt x="4085" y="2042"/>
                      </a:lnTo>
                      <a:lnTo>
                        <a:pt x="4091" y="2042"/>
                      </a:lnTo>
                      <a:lnTo>
                        <a:pt x="4093" y="2045"/>
                      </a:lnTo>
                      <a:lnTo>
                        <a:pt x="4096" y="2048"/>
                      </a:lnTo>
                      <a:lnTo>
                        <a:pt x="4096" y="2050"/>
                      </a:lnTo>
                      <a:lnTo>
                        <a:pt x="4099" y="2050"/>
                      </a:lnTo>
                      <a:lnTo>
                        <a:pt x="4101" y="2053"/>
                      </a:lnTo>
                      <a:lnTo>
                        <a:pt x="4101" y="2058"/>
                      </a:lnTo>
                      <a:lnTo>
                        <a:pt x="4108" y="2058"/>
                      </a:lnTo>
                      <a:lnTo>
                        <a:pt x="4104" y="2064"/>
                      </a:lnTo>
                      <a:lnTo>
                        <a:pt x="4108" y="2066"/>
                      </a:lnTo>
                      <a:lnTo>
                        <a:pt x="4110" y="2069"/>
                      </a:lnTo>
                      <a:lnTo>
                        <a:pt x="4110" y="2075"/>
                      </a:lnTo>
                      <a:lnTo>
                        <a:pt x="4113" y="2075"/>
                      </a:lnTo>
                      <a:lnTo>
                        <a:pt x="4113" y="2078"/>
                      </a:lnTo>
                      <a:lnTo>
                        <a:pt x="4116" y="2078"/>
                      </a:lnTo>
                      <a:lnTo>
                        <a:pt x="4113" y="2081"/>
                      </a:lnTo>
                      <a:lnTo>
                        <a:pt x="4116" y="2083"/>
                      </a:lnTo>
                      <a:lnTo>
                        <a:pt x="4116" y="2089"/>
                      </a:lnTo>
                      <a:lnTo>
                        <a:pt x="4113" y="2091"/>
                      </a:lnTo>
                      <a:lnTo>
                        <a:pt x="4110" y="2091"/>
                      </a:lnTo>
                      <a:lnTo>
                        <a:pt x="4110" y="2097"/>
                      </a:lnTo>
                      <a:lnTo>
                        <a:pt x="4113" y="2099"/>
                      </a:lnTo>
                      <a:lnTo>
                        <a:pt x="4110" y="2102"/>
                      </a:lnTo>
                      <a:lnTo>
                        <a:pt x="4113" y="2102"/>
                      </a:lnTo>
                      <a:lnTo>
                        <a:pt x="4118" y="2105"/>
                      </a:lnTo>
                      <a:lnTo>
                        <a:pt x="4118" y="2114"/>
                      </a:lnTo>
                      <a:lnTo>
                        <a:pt x="4113" y="2114"/>
                      </a:lnTo>
                      <a:lnTo>
                        <a:pt x="4108" y="2117"/>
                      </a:lnTo>
                      <a:lnTo>
                        <a:pt x="4110" y="2119"/>
                      </a:lnTo>
                      <a:lnTo>
                        <a:pt x="4116" y="2119"/>
                      </a:lnTo>
                      <a:lnTo>
                        <a:pt x="4113" y="2122"/>
                      </a:lnTo>
                      <a:lnTo>
                        <a:pt x="4113" y="2125"/>
                      </a:lnTo>
                      <a:lnTo>
                        <a:pt x="4116" y="2125"/>
                      </a:lnTo>
                      <a:lnTo>
                        <a:pt x="4118" y="2125"/>
                      </a:lnTo>
                      <a:lnTo>
                        <a:pt x="4121" y="2125"/>
                      </a:lnTo>
                      <a:lnTo>
                        <a:pt x="4124" y="2127"/>
                      </a:lnTo>
                      <a:lnTo>
                        <a:pt x="4121" y="2133"/>
                      </a:lnTo>
                      <a:lnTo>
                        <a:pt x="4118" y="2133"/>
                      </a:lnTo>
                      <a:lnTo>
                        <a:pt x="4116" y="2135"/>
                      </a:lnTo>
                      <a:lnTo>
                        <a:pt x="4113" y="2135"/>
                      </a:lnTo>
                      <a:lnTo>
                        <a:pt x="4110" y="2143"/>
                      </a:lnTo>
                      <a:lnTo>
                        <a:pt x="4110" y="2150"/>
                      </a:lnTo>
                      <a:lnTo>
                        <a:pt x="4116" y="2152"/>
                      </a:lnTo>
                      <a:lnTo>
                        <a:pt x="4113" y="2155"/>
                      </a:lnTo>
                      <a:lnTo>
                        <a:pt x="4113" y="2158"/>
                      </a:lnTo>
                      <a:lnTo>
                        <a:pt x="4101" y="2166"/>
                      </a:lnTo>
                      <a:lnTo>
                        <a:pt x="4101" y="2168"/>
                      </a:lnTo>
                      <a:lnTo>
                        <a:pt x="4101" y="2174"/>
                      </a:lnTo>
                      <a:lnTo>
                        <a:pt x="4099" y="2177"/>
                      </a:lnTo>
                      <a:lnTo>
                        <a:pt x="4099" y="2180"/>
                      </a:lnTo>
                      <a:lnTo>
                        <a:pt x="4101" y="2183"/>
                      </a:lnTo>
                      <a:lnTo>
                        <a:pt x="4101" y="2188"/>
                      </a:lnTo>
                      <a:lnTo>
                        <a:pt x="4108" y="2191"/>
                      </a:lnTo>
                      <a:lnTo>
                        <a:pt x="4104" y="2194"/>
                      </a:lnTo>
                      <a:lnTo>
                        <a:pt x="4104" y="2196"/>
                      </a:lnTo>
                      <a:lnTo>
                        <a:pt x="4096" y="2207"/>
                      </a:lnTo>
                      <a:lnTo>
                        <a:pt x="4096" y="2210"/>
                      </a:lnTo>
                      <a:lnTo>
                        <a:pt x="4083" y="2210"/>
                      </a:lnTo>
                      <a:lnTo>
                        <a:pt x="4074" y="2207"/>
                      </a:lnTo>
                      <a:lnTo>
                        <a:pt x="4065" y="2204"/>
                      </a:lnTo>
                      <a:lnTo>
                        <a:pt x="4065" y="2210"/>
                      </a:lnTo>
                      <a:lnTo>
                        <a:pt x="4068" y="2216"/>
                      </a:lnTo>
                      <a:lnTo>
                        <a:pt x="4065" y="2224"/>
                      </a:lnTo>
                      <a:lnTo>
                        <a:pt x="4068" y="2229"/>
                      </a:lnTo>
                      <a:lnTo>
                        <a:pt x="4072" y="2235"/>
                      </a:lnTo>
                      <a:lnTo>
                        <a:pt x="4072" y="2238"/>
                      </a:lnTo>
                      <a:lnTo>
                        <a:pt x="4063" y="2240"/>
                      </a:lnTo>
                      <a:lnTo>
                        <a:pt x="4063" y="2243"/>
                      </a:lnTo>
                      <a:lnTo>
                        <a:pt x="4055" y="2243"/>
                      </a:lnTo>
                      <a:lnTo>
                        <a:pt x="4055" y="2248"/>
                      </a:lnTo>
                      <a:lnTo>
                        <a:pt x="4052" y="2248"/>
                      </a:lnTo>
                      <a:lnTo>
                        <a:pt x="4049" y="2248"/>
                      </a:lnTo>
                      <a:lnTo>
                        <a:pt x="4047" y="2252"/>
                      </a:lnTo>
                      <a:lnTo>
                        <a:pt x="4044" y="2252"/>
                      </a:lnTo>
                      <a:lnTo>
                        <a:pt x="4041" y="2265"/>
                      </a:lnTo>
                      <a:lnTo>
                        <a:pt x="4039" y="2268"/>
                      </a:lnTo>
                      <a:lnTo>
                        <a:pt x="4035" y="2268"/>
                      </a:lnTo>
                      <a:lnTo>
                        <a:pt x="4032" y="2268"/>
                      </a:lnTo>
                      <a:lnTo>
                        <a:pt x="4030" y="2273"/>
                      </a:lnTo>
                      <a:lnTo>
                        <a:pt x="4024" y="2276"/>
                      </a:lnTo>
                      <a:lnTo>
                        <a:pt x="4019" y="2276"/>
                      </a:lnTo>
                      <a:lnTo>
                        <a:pt x="4016" y="2279"/>
                      </a:lnTo>
                      <a:lnTo>
                        <a:pt x="4014" y="2288"/>
                      </a:lnTo>
                      <a:lnTo>
                        <a:pt x="4016" y="2290"/>
                      </a:lnTo>
                      <a:lnTo>
                        <a:pt x="4014" y="2293"/>
                      </a:lnTo>
                      <a:lnTo>
                        <a:pt x="4014" y="2298"/>
                      </a:lnTo>
                      <a:lnTo>
                        <a:pt x="4014" y="2301"/>
                      </a:lnTo>
                      <a:lnTo>
                        <a:pt x="4011" y="2307"/>
                      </a:lnTo>
                      <a:lnTo>
                        <a:pt x="4014" y="2309"/>
                      </a:lnTo>
                      <a:lnTo>
                        <a:pt x="4008" y="2312"/>
                      </a:lnTo>
                      <a:lnTo>
                        <a:pt x="4008" y="2317"/>
                      </a:lnTo>
                      <a:lnTo>
                        <a:pt x="4014" y="2321"/>
                      </a:lnTo>
                      <a:lnTo>
                        <a:pt x="4016" y="2326"/>
                      </a:lnTo>
                      <a:lnTo>
                        <a:pt x="4014" y="2326"/>
                      </a:lnTo>
                      <a:lnTo>
                        <a:pt x="4014" y="2329"/>
                      </a:lnTo>
                      <a:lnTo>
                        <a:pt x="4019" y="2332"/>
                      </a:lnTo>
                      <a:lnTo>
                        <a:pt x="4016" y="2337"/>
                      </a:lnTo>
                      <a:lnTo>
                        <a:pt x="4014" y="2345"/>
                      </a:lnTo>
                      <a:lnTo>
                        <a:pt x="4011" y="2345"/>
                      </a:lnTo>
                      <a:lnTo>
                        <a:pt x="4014" y="2350"/>
                      </a:lnTo>
                      <a:lnTo>
                        <a:pt x="4014" y="2353"/>
                      </a:lnTo>
                      <a:lnTo>
                        <a:pt x="4011" y="2353"/>
                      </a:lnTo>
                      <a:lnTo>
                        <a:pt x="4011" y="2370"/>
                      </a:lnTo>
                      <a:lnTo>
                        <a:pt x="4008" y="2373"/>
                      </a:lnTo>
                      <a:lnTo>
                        <a:pt x="4003" y="2378"/>
                      </a:lnTo>
                      <a:lnTo>
                        <a:pt x="3999" y="2375"/>
                      </a:lnTo>
                      <a:lnTo>
                        <a:pt x="3991" y="2378"/>
                      </a:lnTo>
                      <a:lnTo>
                        <a:pt x="3991" y="2384"/>
                      </a:lnTo>
                      <a:lnTo>
                        <a:pt x="3986" y="2393"/>
                      </a:lnTo>
                      <a:lnTo>
                        <a:pt x="3983" y="2393"/>
                      </a:lnTo>
                      <a:lnTo>
                        <a:pt x="3980" y="2390"/>
                      </a:lnTo>
                      <a:lnTo>
                        <a:pt x="3975" y="2393"/>
                      </a:lnTo>
                      <a:lnTo>
                        <a:pt x="3963" y="2393"/>
                      </a:lnTo>
                      <a:lnTo>
                        <a:pt x="3961" y="2395"/>
                      </a:lnTo>
                      <a:lnTo>
                        <a:pt x="3958" y="2406"/>
                      </a:lnTo>
                      <a:lnTo>
                        <a:pt x="3955" y="2409"/>
                      </a:lnTo>
                      <a:lnTo>
                        <a:pt x="3958" y="2414"/>
                      </a:lnTo>
                      <a:lnTo>
                        <a:pt x="3958" y="2417"/>
                      </a:lnTo>
                      <a:lnTo>
                        <a:pt x="3961" y="2422"/>
                      </a:lnTo>
                      <a:lnTo>
                        <a:pt x="3955" y="2428"/>
                      </a:lnTo>
                      <a:lnTo>
                        <a:pt x="3955" y="2436"/>
                      </a:lnTo>
                      <a:lnTo>
                        <a:pt x="3953" y="2439"/>
                      </a:lnTo>
                      <a:lnTo>
                        <a:pt x="3950" y="2442"/>
                      </a:lnTo>
                      <a:lnTo>
                        <a:pt x="3950" y="2444"/>
                      </a:lnTo>
                      <a:lnTo>
                        <a:pt x="3947" y="2453"/>
                      </a:lnTo>
                      <a:lnTo>
                        <a:pt x="3945" y="2455"/>
                      </a:lnTo>
                      <a:lnTo>
                        <a:pt x="3945" y="2462"/>
                      </a:lnTo>
                      <a:lnTo>
                        <a:pt x="3942" y="2467"/>
                      </a:lnTo>
                      <a:lnTo>
                        <a:pt x="3945" y="2470"/>
                      </a:lnTo>
                      <a:lnTo>
                        <a:pt x="3939" y="2475"/>
                      </a:lnTo>
                      <a:lnTo>
                        <a:pt x="3942" y="2475"/>
                      </a:lnTo>
                      <a:lnTo>
                        <a:pt x="3939" y="2478"/>
                      </a:lnTo>
                      <a:lnTo>
                        <a:pt x="3937" y="2483"/>
                      </a:lnTo>
                      <a:lnTo>
                        <a:pt x="3934" y="2486"/>
                      </a:lnTo>
                      <a:lnTo>
                        <a:pt x="3934" y="2488"/>
                      </a:lnTo>
                      <a:lnTo>
                        <a:pt x="3930" y="2497"/>
                      </a:lnTo>
                      <a:lnTo>
                        <a:pt x="3922" y="2503"/>
                      </a:lnTo>
                      <a:lnTo>
                        <a:pt x="3919" y="2500"/>
                      </a:lnTo>
                      <a:lnTo>
                        <a:pt x="3917" y="2503"/>
                      </a:lnTo>
                      <a:lnTo>
                        <a:pt x="3917" y="2505"/>
                      </a:lnTo>
                      <a:lnTo>
                        <a:pt x="3901" y="2505"/>
                      </a:lnTo>
                      <a:lnTo>
                        <a:pt x="3815" y="2505"/>
                      </a:lnTo>
                      <a:lnTo>
                        <a:pt x="3776" y="2505"/>
                      </a:lnTo>
                      <a:lnTo>
                        <a:pt x="3776" y="2508"/>
                      </a:lnTo>
                      <a:lnTo>
                        <a:pt x="3773" y="2511"/>
                      </a:lnTo>
                      <a:lnTo>
                        <a:pt x="3773" y="2513"/>
                      </a:lnTo>
                      <a:lnTo>
                        <a:pt x="3773" y="2524"/>
                      </a:lnTo>
                      <a:lnTo>
                        <a:pt x="3771" y="2527"/>
                      </a:lnTo>
                      <a:lnTo>
                        <a:pt x="3768" y="2536"/>
                      </a:lnTo>
                      <a:lnTo>
                        <a:pt x="3771" y="2539"/>
                      </a:lnTo>
                      <a:lnTo>
                        <a:pt x="3768" y="2541"/>
                      </a:lnTo>
                      <a:lnTo>
                        <a:pt x="3759" y="2541"/>
                      </a:lnTo>
                      <a:lnTo>
                        <a:pt x="3759" y="2544"/>
                      </a:lnTo>
                      <a:lnTo>
                        <a:pt x="3756" y="2547"/>
                      </a:lnTo>
                      <a:lnTo>
                        <a:pt x="3751" y="2549"/>
                      </a:lnTo>
                      <a:lnTo>
                        <a:pt x="3748" y="2552"/>
                      </a:lnTo>
                      <a:lnTo>
                        <a:pt x="3746" y="2555"/>
                      </a:lnTo>
                      <a:lnTo>
                        <a:pt x="3743" y="2555"/>
                      </a:lnTo>
                      <a:lnTo>
                        <a:pt x="3740" y="2555"/>
                      </a:lnTo>
                      <a:lnTo>
                        <a:pt x="3743" y="2560"/>
                      </a:lnTo>
                      <a:lnTo>
                        <a:pt x="3738" y="2564"/>
                      </a:lnTo>
                      <a:lnTo>
                        <a:pt x="3738" y="2566"/>
                      </a:lnTo>
                      <a:lnTo>
                        <a:pt x="3735" y="2574"/>
                      </a:lnTo>
                      <a:lnTo>
                        <a:pt x="3740" y="2574"/>
                      </a:lnTo>
                      <a:lnTo>
                        <a:pt x="3740" y="2577"/>
                      </a:lnTo>
                      <a:lnTo>
                        <a:pt x="3746" y="2590"/>
                      </a:lnTo>
                      <a:lnTo>
                        <a:pt x="3759" y="2593"/>
                      </a:lnTo>
                      <a:lnTo>
                        <a:pt x="3759" y="2600"/>
                      </a:lnTo>
                      <a:lnTo>
                        <a:pt x="3759" y="2605"/>
                      </a:lnTo>
                      <a:lnTo>
                        <a:pt x="3759" y="2618"/>
                      </a:lnTo>
                      <a:lnTo>
                        <a:pt x="3756" y="2624"/>
                      </a:lnTo>
                      <a:lnTo>
                        <a:pt x="3756" y="2632"/>
                      </a:lnTo>
                      <a:lnTo>
                        <a:pt x="3754" y="2635"/>
                      </a:lnTo>
                      <a:lnTo>
                        <a:pt x="3756" y="2643"/>
                      </a:lnTo>
                      <a:lnTo>
                        <a:pt x="3756" y="2646"/>
                      </a:lnTo>
                      <a:lnTo>
                        <a:pt x="3756" y="2649"/>
                      </a:lnTo>
                      <a:lnTo>
                        <a:pt x="3751" y="2649"/>
                      </a:lnTo>
                      <a:lnTo>
                        <a:pt x="3748" y="2652"/>
                      </a:lnTo>
                      <a:lnTo>
                        <a:pt x="3748" y="2654"/>
                      </a:lnTo>
                      <a:lnTo>
                        <a:pt x="3743" y="2662"/>
                      </a:lnTo>
                      <a:lnTo>
                        <a:pt x="3743" y="2669"/>
                      </a:lnTo>
                      <a:lnTo>
                        <a:pt x="3740" y="2671"/>
                      </a:lnTo>
                      <a:lnTo>
                        <a:pt x="3738" y="2674"/>
                      </a:lnTo>
                      <a:lnTo>
                        <a:pt x="3738" y="2677"/>
                      </a:lnTo>
                      <a:lnTo>
                        <a:pt x="3740" y="2679"/>
                      </a:lnTo>
                      <a:lnTo>
                        <a:pt x="3748" y="2679"/>
                      </a:lnTo>
                      <a:lnTo>
                        <a:pt x="3754" y="2679"/>
                      </a:lnTo>
                      <a:lnTo>
                        <a:pt x="3751" y="2685"/>
                      </a:lnTo>
                      <a:lnTo>
                        <a:pt x="3754" y="2687"/>
                      </a:lnTo>
                      <a:lnTo>
                        <a:pt x="3754" y="2685"/>
                      </a:lnTo>
                      <a:lnTo>
                        <a:pt x="3756" y="2687"/>
                      </a:lnTo>
                      <a:lnTo>
                        <a:pt x="3754" y="2690"/>
                      </a:lnTo>
                      <a:lnTo>
                        <a:pt x="3751" y="2693"/>
                      </a:lnTo>
                      <a:lnTo>
                        <a:pt x="3748" y="2693"/>
                      </a:lnTo>
                      <a:lnTo>
                        <a:pt x="3751" y="2695"/>
                      </a:lnTo>
                      <a:lnTo>
                        <a:pt x="3746" y="2698"/>
                      </a:lnTo>
                      <a:lnTo>
                        <a:pt x="3743" y="2704"/>
                      </a:lnTo>
                      <a:lnTo>
                        <a:pt x="3740" y="2707"/>
                      </a:lnTo>
                      <a:lnTo>
                        <a:pt x="3740" y="2710"/>
                      </a:lnTo>
                      <a:lnTo>
                        <a:pt x="3738" y="2712"/>
                      </a:lnTo>
                      <a:lnTo>
                        <a:pt x="3735" y="2715"/>
                      </a:lnTo>
                      <a:lnTo>
                        <a:pt x="3738" y="2718"/>
                      </a:lnTo>
                      <a:lnTo>
                        <a:pt x="3735" y="2721"/>
                      </a:lnTo>
                      <a:lnTo>
                        <a:pt x="3732" y="2721"/>
                      </a:lnTo>
                      <a:lnTo>
                        <a:pt x="3735" y="2723"/>
                      </a:lnTo>
                      <a:lnTo>
                        <a:pt x="3738" y="2731"/>
                      </a:lnTo>
                      <a:lnTo>
                        <a:pt x="3735" y="2731"/>
                      </a:lnTo>
                      <a:lnTo>
                        <a:pt x="3735" y="2729"/>
                      </a:lnTo>
                      <a:lnTo>
                        <a:pt x="3729" y="2729"/>
                      </a:lnTo>
                      <a:lnTo>
                        <a:pt x="3729" y="2734"/>
                      </a:lnTo>
                      <a:lnTo>
                        <a:pt x="3729" y="2738"/>
                      </a:lnTo>
                      <a:lnTo>
                        <a:pt x="3729" y="2740"/>
                      </a:lnTo>
                      <a:lnTo>
                        <a:pt x="3726" y="2743"/>
                      </a:lnTo>
                      <a:lnTo>
                        <a:pt x="3729" y="2746"/>
                      </a:lnTo>
                      <a:lnTo>
                        <a:pt x="3726" y="2748"/>
                      </a:lnTo>
                      <a:lnTo>
                        <a:pt x="3720" y="2748"/>
                      </a:lnTo>
                      <a:lnTo>
                        <a:pt x="3718" y="2751"/>
                      </a:lnTo>
                      <a:lnTo>
                        <a:pt x="3715" y="2751"/>
                      </a:lnTo>
                      <a:lnTo>
                        <a:pt x="3712" y="2751"/>
                      </a:lnTo>
                      <a:lnTo>
                        <a:pt x="3707" y="2751"/>
                      </a:lnTo>
                      <a:lnTo>
                        <a:pt x="3710" y="2754"/>
                      </a:lnTo>
                      <a:lnTo>
                        <a:pt x="3704" y="2764"/>
                      </a:lnTo>
                      <a:lnTo>
                        <a:pt x="3710" y="2770"/>
                      </a:lnTo>
                      <a:lnTo>
                        <a:pt x="3707" y="2773"/>
                      </a:lnTo>
                      <a:lnTo>
                        <a:pt x="3704" y="2776"/>
                      </a:lnTo>
                      <a:lnTo>
                        <a:pt x="3699" y="2779"/>
                      </a:lnTo>
                      <a:lnTo>
                        <a:pt x="3696" y="2781"/>
                      </a:lnTo>
                      <a:lnTo>
                        <a:pt x="3699" y="2784"/>
                      </a:lnTo>
                      <a:lnTo>
                        <a:pt x="3694" y="2787"/>
                      </a:lnTo>
                      <a:lnTo>
                        <a:pt x="3694" y="2792"/>
                      </a:lnTo>
                      <a:lnTo>
                        <a:pt x="3690" y="2795"/>
                      </a:lnTo>
                      <a:lnTo>
                        <a:pt x="3694" y="2798"/>
                      </a:lnTo>
                      <a:lnTo>
                        <a:pt x="3690" y="2803"/>
                      </a:lnTo>
                      <a:lnTo>
                        <a:pt x="3690" y="2800"/>
                      </a:lnTo>
                      <a:lnTo>
                        <a:pt x="3687" y="2803"/>
                      </a:lnTo>
                      <a:lnTo>
                        <a:pt x="3687" y="2809"/>
                      </a:lnTo>
                      <a:lnTo>
                        <a:pt x="3679" y="2806"/>
                      </a:lnTo>
                      <a:lnTo>
                        <a:pt x="3677" y="2809"/>
                      </a:lnTo>
                      <a:lnTo>
                        <a:pt x="3669" y="2806"/>
                      </a:lnTo>
                      <a:lnTo>
                        <a:pt x="3663" y="2806"/>
                      </a:lnTo>
                      <a:lnTo>
                        <a:pt x="3660" y="2809"/>
                      </a:lnTo>
                      <a:lnTo>
                        <a:pt x="3651" y="2812"/>
                      </a:lnTo>
                      <a:lnTo>
                        <a:pt x="3643" y="2812"/>
                      </a:lnTo>
                      <a:lnTo>
                        <a:pt x="3641" y="2809"/>
                      </a:lnTo>
                      <a:lnTo>
                        <a:pt x="3635" y="2815"/>
                      </a:lnTo>
                      <a:lnTo>
                        <a:pt x="3633" y="2817"/>
                      </a:lnTo>
                      <a:lnTo>
                        <a:pt x="3633" y="2820"/>
                      </a:lnTo>
                      <a:lnTo>
                        <a:pt x="3630" y="2820"/>
                      </a:lnTo>
                      <a:lnTo>
                        <a:pt x="3627" y="2817"/>
                      </a:lnTo>
                      <a:lnTo>
                        <a:pt x="3621" y="2820"/>
                      </a:lnTo>
                      <a:lnTo>
                        <a:pt x="3616" y="2825"/>
                      </a:lnTo>
                      <a:lnTo>
                        <a:pt x="3616" y="2828"/>
                      </a:lnTo>
                      <a:lnTo>
                        <a:pt x="3621" y="2831"/>
                      </a:lnTo>
                      <a:lnTo>
                        <a:pt x="3621" y="2833"/>
                      </a:lnTo>
                      <a:lnTo>
                        <a:pt x="3627" y="2839"/>
                      </a:lnTo>
                      <a:lnTo>
                        <a:pt x="3630" y="2839"/>
                      </a:lnTo>
                      <a:lnTo>
                        <a:pt x="3633" y="2841"/>
                      </a:lnTo>
                      <a:lnTo>
                        <a:pt x="3635" y="2841"/>
                      </a:lnTo>
                      <a:lnTo>
                        <a:pt x="3638" y="2841"/>
                      </a:lnTo>
                      <a:lnTo>
                        <a:pt x="3643" y="2848"/>
                      </a:lnTo>
                      <a:lnTo>
                        <a:pt x="3646" y="2850"/>
                      </a:lnTo>
                      <a:lnTo>
                        <a:pt x="3646" y="2853"/>
                      </a:lnTo>
                      <a:lnTo>
                        <a:pt x="3641" y="2853"/>
                      </a:lnTo>
                      <a:lnTo>
                        <a:pt x="3638" y="2850"/>
                      </a:lnTo>
                      <a:lnTo>
                        <a:pt x="3638" y="2853"/>
                      </a:lnTo>
                      <a:lnTo>
                        <a:pt x="3638" y="2856"/>
                      </a:lnTo>
                      <a:lnTo>
                        <a:pt x="3638" y="2858"/>
                      </a:lnTo>
                      <a:lnTo>
                        <a:pt x="3630" y="2867"/>
                      </a:lnTo>
                      <a:lnTo>
                        <a:pt x="3630" y="2869"/>
                      </a:lnTo>
                      <a:lnTo>
                        <a:pt x="3625" y="2869"/>
                      </a:lnTo>
                      <a:lnTo>
                        <a:pt x="3625" y="2875"/>
                      </a:lnTo>
                      <a:lnTo>
                        <a:pt x="3621" y="2878"/>
                      </a:lnTo>
                      <a:lnTo>
                        <a:pt x="3621" y="2881"/>
                      </a:lnTo>
                      <a:lnTo>
                        <a:pt x="3610" y="2881"/>
                      </a:lnTo>
                      <a:lnTo>
                        <a:pt x="3610" y="2886"/>
                      </a:lnTo>
                      <a:lnTo>
                        <a:pt x="3610" y="2892"/>
                      </a:lnTo>
                      <a:lnTo>
                        <a:pt x="3608" y="2892"/>
                      </a:lnTo>
                      <a:lnTo>
                        <a:pt x="3605" y="2897"/>
                      </a:lnTo>
                      <a:lnTo>
                        <a:pt x="3602" y="2900"/>
                      </a:lnTo>
                      <a:lnTo>
                        <a:pt x="3600" y="2902"/>
                      </a:lnTo>
                      <a:lnTo>
                        <a:pt x="3600" y="2905"/>
                      </a:lnTo>
                      <a:lnTo>
                        <a:pt x="3597" y="2908"/>
                      </a:lnTo>
                      <a:lnTo>
                        <a:pt x="3597" y="2910"/>
                      </a:lnTo>
                      <a:lnTo>
                        <a:pt x="3594" y="2910"/>
                      </a:lnTo>
                      <a:lnTo>
                        <a:pt x="3600" y="2922"/>
                      </a:lnTo>
                      <a:lnTo>
                        <a:pt x="3597" y="2925"/>
                      </a:lnTo>
                      <a:lnTo>
                        <a:pt x="3597" y="2930"/>
                      </a:lnTo>
                      <a:lnTo>
                        <a:pt x="3600" y="2933"/>
                      </a:lnTo>
                      <a:lnTo>
                        <a:pt x="3600" y="2930"/>
                      </a:lnTo>
                      <a:lnTo>
                        <a:pt x="3602" y="2933"/>
                      </a:lnTo>
                      <a:lnTo>
                        <a:pt x="3600" y="2938"/>
                      </a:lnTo>
                      <a:lnTo>
                        <a:pt x="3602" y="2941"/>
                      </a:lnTo>
                      <a:lnTo>
                        <a:pt x="3600" y="2944"/>
                      </a:lnTo>
                      <a:lnTo>
                        <a:pt x="3597" y="2946"/>
                      </a:lnTo>
                      <a:lnTo>
                        <a:pt x="3592" y="2950"/>
                      </a:lnTo>
                      <a:lnTo>
                        <a:pt x="3588" y="2953"/>
                      </a:lnTo>
                      <a:lnTo>
                        <a:pt x="3585" y="2955"/>
                      </a:lnTo>
                      <a:lnTo>
                        <a:pt x="3585" y="2966"/>
                      </a:lnTo>
                      <a:lnTo>
                        <a:pt x="3582" y="2971"/>
                      </a:lnTo>
                      <a:lnTo>
                        <a:pt x="3582" y="2974"/>
                      </a:lnTo>
                      <a:lnTo>
                        <a:pt x="3585" y="2974"/>
                      </a:lnTo>
                      <a:lnTo>
                        <a:pt x="3588" y="2977"/>
                      </a:lnTo>
                      <a:lnTo>
                        <a:pt x="3582" y="2979"/>
                      </a:lnTo>
                      <a:lnTo>
                        <a:pt x="3585" y="2983"/>
                      </a:lnTo>
                      <a:lnTo>
                        <a:pt x="3582" y="2986"/>
                      </a:lnTo>
                      <a:lnTo>
                        <a:pt x="3585" y="2991"/>
                      </a:lnTo>
                      <a:lnTo>
                        <a:pt x="3580" y="2994"/>
                      </a:lnTo>
                      <a:lnTo>
                        <a:pt x="3580" y="2996"/>
                      </a:lnTo>
                      <a:lnTo>
                        <a:pt x="3574" y="2999"/>
                      </a:lnTo>
                      <a:lnTo>
                        <a:pt x="3577" y="2999"/>
                      </a:lnTo>
                      <a:lnTo>
                        <a:pt x="3582" y="3002"/>
                      </a:lnTo>
                      <a:lnTo>
                        <a:pt x="3580" y="3004"/>
                      </a:lnTo>
                      <a:lnTo>
                        <a:pt x="3577" y="3007"/>
                      </a:lnTo>
                      <a:lnTo>
                        <a:pt x="3572" y="3007"/>
                      </a:lnTo>
                      <a:lnTo>
                        <a:pt x="3569" y="3004"/>
                      </a:lnTo>
                      <a:lnTo>
                        <a:pt x="3566" y="3007"/>
                      </a:lnTo>
                      <a:lnTo>
                        <a:pt x="3566" y="3015"/>
                      </a:lnTo>
                      <a:lnTo>
                        <a:pt x="3564" y="3019"/>
                      </a:lnTo>
                      <a:lnTo>
                        <a:pt x="3564" y="3022"/>
                      </a:lnTo>
                      <a:lnTo>
                        <a:pt x="3564" y="3024"/>
                      </a:lnTo>
                      <a:lnTo>
                        <a:pt x="3561" y="3030"/>
                      </a:lnTo>
                      <a:lnTo>
                        <a:pt x="3569" y="3032"/>
                      </a:lnTo>
                      <a:lnTo>
                        <a:pt x="3569" y="3035"/>
                      </a:lnTo>
                      <a:lnTo>
                        <a:pt x="3574" y="3043"/>
                      </a:lnTo>
                      <a:lnTo>
                        <a:pt x="3572" y="3046"/>
                      </a:lnTo>
                      <a:lnTo>
                        <a:pt x="3566" y="3048"/>
                      </a:lnTo>
                      <a:lnTo>
                        <a:pt x="3564" y="3057"/>
                      </a:lnTo>
                      <a:lnTo>
                        <a:pt x="3558" y="3057"/>
                      </a:lnTo>
                      <a:lnTo>
                        <a:pt x="3556" y="3060"/>
                      </a:lnTo>
                      <a:lnTo>
                        <a:pt x="3556" y="3063"/>
                      </a:lnTo>
                      <a:lnTo>
                        <a:pt x="3552" y="3065"/>
                      </a:lnTo>
                      <a:lnTo>
                        <a:pt x="3552" y="3068"/>
                      </a:lnTo>
                      <a:lnTo>
                        <a:pt x="3544" y="3071"/>
                      </a:lnTo>
                      <a:lnTo>
                        <a:pt x="3544" y="3073"/>
                      </a:lnTo>
                      <a:lnTo>
                        <a:pt x="3547" y="3076"/>
                      </a:lnTo>
                      <a:lnTo>
                        <a:pt x="3539" y="3082"/>
                      </a:lnTo>
                      <a:lnTo>
                        <a:pt x="3536" y="3084"/>
                      </a:lnTo>
                      <a:lnTo>
                        <a:pt x="3528" y="3096"/>
                      </a:lnTo>
                      <a:lnTo>
                        <a:pt x="3531" y="3099"/>
                      </a:lnTo>
                      <a:lnTo>
                        <a:pt x="3533" y="3099"/>
                      </a:lnTo>
                      <a:lnTo>
                        <a:pt x="3528" y="3104"/>
                      </a:lnTo>
                      <a:lnTo>
                        <a:pt x="3531" y="3107"/>
                      </a:lnTo>
                      <a:lnTo>
                        <a:pt x="3533" y="3107"/>
                      </a:lnTo>
                      <a:lnTo>
                        <a:pt x="3539" y="3107"/>
                      </a:lnTo>
                      <a:lnTo>
                        <a:pt x="3539" y="3112"/>
                      </a:lnTo>
                      <a:lnTo>
                        <a:pt x="3541" y="3115"/>
                      </a:lnTo>
                      <a:lnTo>
                        <a:pt x="3544" y="3115"/>
                      </a:lnTo>
                      <a:lnTo>
                        <a:pt x="3547" y="3112"/>
                      </a:lnTo>
                      <a:lnTo>
                        <a:pt x="3549" y="3112"/>
                      </a:lnTo>
                      <a:lnTo>
                        <a:pt x="3552" y="3112"/>
                      </a:lnTo>
                      <a:lnTo>
                        <a:pt x="3556" y="3112"/>
                      </a:lnTo>
                      <a:lnTo>
                        <a:pt x="3561" y="3115"/>
                      </a:lnTo>
                      <a:lnTo>
                        <a:pt x="3564" y="3117"/>
                      </a:lnTo>
                      <a:lnTo>
                        <a:pt x="3561" y="3117"/>
                      </a:lnTo>
                      <a:lnTo>
                        <a:pt x="3564" y="3124"/>
                      </a:lnTo>
                      <a:lnTo>
                        <a:pt x="3566" y="3120"/>
                      </a:lnTo>
                      <a:lnTo>
                        <a:pt x="3569" y="3124"/>
                      </a:lnTo>
                      <a:lnTo>
                        <a:pt x="3569" y="3129"/>
                      </a:lnTo>
                      <a:lnTo>
                        <a:pt x="3569" y="3132"/>
                      </a:lnTo>
                      <a:lnTo>
                        <a:pt x="3569" y="3134"/>
                      </a:lnTo>
                      <a:lnTo>
                        <a:pt x="3569" y="3137"/>
                      </a:lnTo>
                      <a:lnTo>
                        <a:pt x="3552" y="3143"/>
                      </a:lnTo>
                      <a:lnTo>
                        <a:pt x="3552" y="3145"/>
                      </a:lnTo>
                      <a:lnTo>
                        <a:pt x="3541" y="3148"/>
                      </a:lnTo>
                      <a:lnTo>
                        <a:pt x="3533" y="3148"/>
                      </a:lnTo>
                      <a:lnTo>
                        <a:pt x="3525" y="3151"/>
                      </a:lnTo>
                      <a:lnTo>
                        <a:pt x="3523" y="3151"/>
                      </a:lnTo>
                      <a:lnTo>
                        <a:pt x="3519" y="3157"/>
                      </a:lnTo>
                      <a:lnTo>
                        <a:pt x="3492" y="3165"/>
                      </a:lnTo>
                      <a:lnTo>
                        <a:pt x="3489" y="3168"/>
                      </a:lnTo>
                      <a:lnTo>
                        <a:pt x="3462" y="3178"/>
                      </a:lnTo>
                      <a:lnTo>
                        <a:pt x="3442" y="3186"/>
                      </a:lnTo>
                      <a:lnTo>
                        <a:pt x="3442" y="3193"/>
                      </a:lnTo>
                      <a:lnTo>
                        <a:pt x="3436" y="3195"/>
                      </a:lnTo>
                      <a:lnTo>
                        <a:pt x="3434" y="3195"/>
                      </a:lnTo>
                      <a:lnTo>
                        <a:pt x="3431" y="3195"/>
                      </a:lnTo>
                      <a:lnTo>
                        <a:pt x="3426" y="3198"/>
                      </a:lnTo>
                      <a:lnTo>
                        <a:pt x="3414" y="3201"/>
                      </a:lnTo>
                      <a:lnTo>
                        <a:pt x="3406" y="3203"/>
                      </a:lnTo>
                      <a:lnTo>
                        <a:pt x="3403" y="3206"/>
                      </a:lnTo>
                      <a:lnTo>
                        <a:pt x="3387" y="3212"/>
                      </a:lnTo>
                      <a:lnTo>
                        <a:pt x="3370" y="3220"/>
                      </a:lnTo>
                      <a:lnTo>
                        <a:pt x="3367" y="3222"/>
                      </a:lnTo>
                      <a:lnTo>
                        <a:pt x="3357" y="3229"/>
                      </a:lnTo>
                      <a:lnTo>
                        <a:pt x="3334" y="3234"/>
                      </a:lnTo>
                      <a:lnTo>
                        <a:pt x="3321" y="3239"/>
                      </a:lnTo>
                      <a:lnTo>
                        <a:pt x="3321" y="3242"/>
                      </a:lnTo>
                      <a:lnTo>
                        <a:pt x="3309" y="3253"/>
                      </a:lnTo>
                      <a:lnTo>
                        <a:pt x="3293" y="3258"/>
                      </a:lnTo>
                      <a:lnTo>
                        <a:pt x="3288" y="3262"/>
                      </a:lnTo>
                      <a:lnTo>
                        <a:pt x="3285" y="3262"/>
                      </a:lnTo>
                      <a:lnTo>
                        <a:pt x="3273" y="3270"/>
                      </a:lnTo>
                      <a:lnTo>
                        <a:pt x="3271" y="3270"/>
                      </a:lnTo>
                      <a:lnTo>
                        <a:pt x="3263" y="3272"/>
                      </a:lnTo>
                      <a:lnTo>
                        <a:pt x="3257" y="3275"/>
                      </a:lnTo>
                      <a:lnTo>
                        <a:pt x="3257" y="3278"/>
                      </a:lnTo>
                      <a:lnTo>
                        <a:pt x="3260" y="3281"/>
                      </a:lnTo>
                      <a:lnTo>
                        <a:pt x="3257" y="3283"/>
                      </a:lnTo>
                      <a:lnTo>
                        <a:pt x="3252" y="3291"/>
                      </a:lnTo>
                      <a:lnTo>
                        <a:pt x="3240" y="3294"/>
                      </a:lnTo>
                      <a:lnTo>
                        <a:pt x="3240" y="3291"/>
                      </a:lnTo>
                      <a:lnTo>
                        <a:pt x="3235" y="3291"/>
                      </a:lnTo>
                      <a:lnTo>
                        <a:pt x="3229" y="3291"/>
                      </a:lnTo>
                      <a:lnTo>
                        <a:pt x="3221" y="3294"/>
                      </a:lnTo>
                      <a:lnTo>
                        <a:pt x="3221" y="3300"/>
                      </a:lnTo>
                      <a:lnTo>
                        <a:pt x="3216" y="3303"/>
                      </a:lnTo>
                      <a:lnTo>
                        <a:pt x="3213" y="3298"/>
                      </a:lnTo>
                      <a:lnTo>
                        <a:pt x="3210" y="3289"/>
                      </a:lnTo>
                      <a:lnTo>
                        <a:pt x="3210" y="3286"/>
                      </a:lnTo>
                      <a:lnTo>
                        <a:pt x="3219" y="3281"/>
                      </a:lnTo>
                      <a:lnTo>
                        <a:pt x="3219" y="3275"/>
                      </a:lnTo>
                      <a:lnTo>
                        <a:pt x="3219" y="3270"/>
                      </a:lnTo>
                      <a:lnTo>
                        <a:pt x="3213" y="3270"/>
                      </a:lnTo>
                      <a:lnTo>
                        <a:pt x="3210" y="3270"/>
                      </a:lnTo>
                      <a:lnTo>
                        <a:pt x="3204" y="3267"/>
                      </a:lnTo>
                      <a:lnTo>
                        <a:pt x="3204" y="3264"/>
                      </a:lnTo>
                      <a:lnTo>
                        <a:pt x="3202" y="3264"/>
                      </a:lnTo>
                      <a:lnTo>
                        <a:pt x="3191" y="3272"/>
                      </a:lnTo>
                      <a:lnTo>
                        <a:pt x="3188" y="3270"/>
                      </a:lnTo>
                      <a:lnTo>
                        <a:pt x="3188" y="3267"/>
                      </a:lnTo>
                      <a:lnTo>
                        <a:pt x="3186" y="3270"/>
                      </a:lnTo>
                      <a:lnTo>
                        <a:pt x="3183" y="3270"/>
                      </a:lnTo>
                      <a:lnTo>
                        <a:pt x="3180" y="3267"/>
                      </a:lnTo>
                      <a:lnTo>
                        <a:pt x="3176" y="3267"/>
                      </a:lnTo>
                      <a:lnTo>
                        <a:pt x="3174" y="3264"/>
                      </a:lnTo>
                      <a:lnTo>
                        <a:pt x="3174" y="3262"/>
                      </a:lnTo>
                      <a:lnTo>
                        <a:pt x="3171" y="3258"/>
                      </a:lnTo>
                      <a:lnTo>
                        <a:pt x="3168" y="3262"/>
                      </a:lnTo>
                      <a:lnTo>
                        <a:pt x="3166" y="3258"/>
                      </a:lnTo>
                      <a:lnTo>
                        <a:pt x="3163" y="3262"/>
                      </a:lnTo>
                      <a:lnTo>
                        <a:pt x="3158" y="3262"/>
                      </a:lnTo>
                      <a:lnTo>
                        <a:pt x="3150" y="3264"/>
                      </a:lnTo>
                      <a:lnTo>
                        <a:pt x="3144" y="3262"/>
                      </a:lnTo>
                      <a:lnTo>
                        <a:pt x="3141" y="3258"/>
                      </a:lnTo>
                      <a:lnTo>
                        <a:pt x="3138" y="3262"/>
                      </a:lnTo>
                      <a:lnTo>
                        <a:pt x="3133" y="3262"/>
                      </a:lnTo>
                      <a:lnTo>
                        <a:pt x="3130" y="3258"/>
                      </a:lnTo>
                      <a:lnTo>
                        <a:pt x="3127" y="3258"/>
                      </a:lnTo>
                      <a:lnTo>
                        <a:pt x="3122" y="3262"/>
                      </a:lnTo>
                      <a:lnTo>
                        <a:pt x="3122" y="3264"/>
                      </a:lnTo>
                      <a:lnTo>
                        <a:pt x="3114" y="3270"/>
                      </a:lnTo>
                      <a:lnTo>
                        <a:pt x="3102" y="3278"/>
                      </a:lnTo>
                      <a:lnTo>
                        <a:pt x="3097" y="3278"/>
                      </a:lnTo>
                      <a:lnTo>
                        <a:pt x="3094" y="3281"/>
                      </a:lnTo>
                      <a:lnTo>
                        <a:pt x="3083" y="3286"/>
                      </a:lnTo>
                      <a:lnTo>
                        <a:pt x="3078" y="3286"/>
                      </a:lnTo>
                      <a:lnTo>
                        <a:pt x="3072" y="3286"/>
                      </a:lnTo>
                      <a:lnTo>
                        <a:pt x="3066" y="3286"/>
                      </a:lnTo>
                      <a:lnTo>
                        <a:pt x="3066" y="3283"/>
                      </a:lnTo>
                      <a:lnTo>
                        <a:pt x="3064" y="3281"/>
                      </a:lnTo>
                      <a:lnTo>
                        <a:pt x="3061" y="3281"/>
                      </a:lnTo>
                      <a:lnTo>
                        <a:pt x="3058" y="3286"/>
                      </a:lnTo>
                      <a:lnTo>
                        <a:pt x="3045" y="3289"/>
                      </a:lnTo>
                      <a:lnTo>
                        <a:pt x="3042" y="3291"/>
                      </a:lnTo>
                      <a:lnTo>
                        <a:pt x="3039" y="3289"/>
                      </a:lnTo>
                      <a:lnTo>
                        <a:pt x="3033" y="3286"/>
                      </a:lnTo>
                      <a:lnTo>
                        <a:pt x="3033" y="3278"/>
                      </a:lnTo>
                      <a:lnTo>
                        <a:pt x="3030" y="3281"/>
                      </a:lnTo>
                      <a:lnTo>
                        <a:pt x="3028" y="3281"/>
                      </a:lnTo>
                      <a:lnTo>
                        <a:pt x="3025" y="3286"/>
                      </a:lnTo>
                      <a:lnTo>
                        <a:pt x="3022" y="3286"/>
                      </a:lnTo>
                      <a:lnTo>
                        <a:pt x="3022" y="3289"/>
                      </a:lnTo>
                      <a:lnTo>
                        <a:pt x="3022" y="3291"/>
                      </a:lnTo>
                      <a:lnTo>
                        <a:pt x="3020" y="3291"/>
                      </a:lnTo>
                      <a:lnTo>
                        <a:pt x="3020" y="3286"/>
                      </a:lnTo>
                      <a:lnTo>
                        <a:pt x="3017" y="3289"/>
                      </a:lnTo>
                      <a:lnTo>
                        <a:pt x="3012" y="3283"/>
                      </a:lnTo>
                      <a:lnTo>
                        <a:pt x="3009" y="3283"/>
                      </a:lnTo>
                      <a:lnTo>
                        <a:pt x="3005" y="3283"/>
                      </a:lnTo>
                      <a:lnTo>
                        <a:pt x="3005" y="3286"/>
                      </a:lnTo>
                      <a:lnTo>
                        <a:pt x="3000" y="3286"/>
                      </a:lnTo>
                      <a:lnTo>
                        <a:pt x="3000" y="3291"/>
                      </a:lnTo>
                      <a:lnTo>
                        <a:pt x="2997" y="3294"/>
                      </a:lnTo>
                      <a:lnTo>
                        <a:pt x="2997" y="3291"/>
                      </a:lnTo>
                      <a:lnTo>
                        <a:pt x="2995" y="3286"/>
                      </a:lnTo>
                      <a:lnTo>
                        <a:pt x="2989" y="3286"/>
                      </a:lnTo>
                      <a:lnTo>
                        <a:pt x="2987" y="3289"/>
                      </a:lnTo>
                      <a:lnTo>
                        <a:pt x="2984" y="3289"/>
                      </a:lnTo>
                      <a:lnTo>
                        <a:pt x="2979" y="3289"/>
                      </a:lnTo>
                      <a:lnTo>
                        <a:pt x="2973" y="3298"/>
                      </a:lnTo>
                      <a:lnTo>
                        <a:pt x="2970" y="3294"/>
                      </a:lnTo>
                      <a:lnTo>
                        <a:pt x="2967" y="3294"/>
                      </a:lnTo>
                      <a:lnTo>
                        <a:pt x="2967" y="3291"/>
                      </a:lnTo>
                      <a:lnTo>
                        <a:pt x="2962" y="3289"/>
                      </a:lnTo>
                      <a:lnTo>
                        <a:pt x="2964" y="3289"/>
                      </a:lnTo>
                      <a:lnTo>
                        <a:pt x="2962" y="3286"/>
                      </a:lnTo>
                      <a:lnTo>
                        <a:pt x="2962" y="3283"/>
                      </a:lnTo>
                      <a:lnTo>
                        <a:pt x="2959" y="3283"/>
                      </a:lnTo>
                      <a:lnTo>
                        <a:pt x="2956" y="3283"/>
                      </a:lnTo>
                      <a:lnTo>
                        <a:pt x="2945" y="3291"/>
                      </a:lnTo>
                      <a:lnTo>
                        <a:pt x="2943" y="3291"/>
                      </a:lnTo>
                      <a:lnTo>
                        <a:pt x="2940" y="3291"/>
                      </a:lnTo>
                      <a:lnTo>
                        <a:pt x="2934" y="3294"/>
                      </a:lnTo>
                      <a:lnTo>
                        <a:pt x="2928" y="3298"/>
                      </a:lnTo>
                      <a:lnTo>
                        <a:pt x="2923" y="3294"/>
                      </a:lnTo>
                      <a:lnTo>
                        <a:pt x="2920" y="3298"/>
                      </a:lnTo>
                      <a:lnTo>
                        <a:pt x="2918" y="3298"/>
                      </a:lnTo>
                      <a:lnTo>
                        <a:pt x="2918" y="3300"/>
                      </a:lnTo>
                      <a:lnTo>
                        <a:pt x="2915" y="3298"/>
                      </a:lnTo>
                      <a:lnTo>
                        <a:pt x="2915" y="3303"/>
                      </a:lnTo>
                      <a:lnTo>
                        <a:pt x="2910" y="3303"/>
                      </a:lnTo>
                      <a:lnTo>
                        <a:pt x="2907" y="3306"/>
                      </a:lnTo>
                      <a:lnTo>
                        <a:pt x="2890" y="3311"/>
                      </a:lnTo>
                      <a:lnTo>
                        <a:pt x="2884" y="3314"/>
                      </a:lnTo>
                      <a:lnTo>
                        <a:pt x="2882" y="3314"/>
                      </a:lnTo>
                      <a:lnTo>
                        <a:pt x="2874" y="3316"/>
                      </a:lnTo>
                      <a:lnTo>
                        <a:pt x="2874" y="3319"/>
                      </a:lnTo>
                      <a:lnTo>
                        <a:pt x="2871" y="3319"/>
                      </a:lnTo>
                      <a:lnTo>
                        <a:pt x="2867" y="3322"/>
                      </a:lnTo>
                      <a:lnTo>
                        <a:pt x="2865" y="3322"/>
                      </a:lnTo>
                      <a:lnTo>
                        <a:pt x="2862" y="3324"/>
                      </a:lnTo>
                      <a:lnTo>
                        <a:pt x="2857" y="3319"/>
                      </a:lnTo>
                      <a:lnTo>
                        <a:pt x="2849" y="3319"/>
                      </a:lnTo>
                      <a:lnTo>
                        <a:pt x="2849" y="3322"/>
                      </a:lnTo>
                      <a:lnTo>
                        <a:pt x="2838" y="3324"/>
                      </a:lnTo>
                      <a:lnTo>
                        <a:pt x="2835" y="3324"/>
                      </a:lnTo>
                      <a:lnTo>
                        <a:pt x="2835" y="3330"/>
                      </a:lnTo>
                      <a:lnTo>
                        <a:pt x="2831" y="3330"/>
                      </a:lnTo>
                      <a:lnTo>
                        <a:pt x="2829" y="3333"/>
                      </a:lnTo>
                      <a:lnTo>
                        <a:pt x="2829" y="3330"/>
                      </a:lnTo>
                      <a:lnTo>
                        <a:pt x="2823" y="3327"/>
                      </a:lnTo>
                      <a:lnTo>
                        <a:pt x="2823" y="3330"/>
                      </a:lnTo>
                      <a:lnTo>
                        <a:pt x="2823" y="3333"/>
                      </a:lnTo>
                      <a:lnTo>
                        <a:pt x="2818" y="3336"/>
                      </a:lnTo>
                      <a:lnTo>
                        <a:pt x="2815" y="3333"/>
                      </a:lnTo>
                      <a:lnTo>
                        <a:pt x="2815" y="3336"/>
                      </a:lnTo>
                      <a:lnTo>
                        <a:pt x="2815" y="3339"/>
                      </a:lnTo>
                      <a:lnTo>
                        <a:pt x="2815" y="3344"/>
                      </a:lnTo>
                      <a:lnTo>
                        <a:pt x="2813" y="3344"/>
                      </a:lnTo>
                      <a:lnTo>
                        <a:pt x="2810" y="3344"/>
                      </a:lnTo>
                      <a:lnTo>
                        <a:pt x="2807" y="3347"/>
                      </a:lnTo>
                      <a:lnTo>
                        <a:pt x="2805" y="3344"/>
                      </a:lnTo>
                      <a:lnTo>
                        <a:pt x="2802" y="3349"/>
                      </a:lnTo>
                      <a:lnTo>
                        <a:pt x="2798" y="3352"/>
                      </a:lnTo>
                      <a:lnTo>
                        <a:pt x="2796" y="3352"/>
                      </a:lnTo>
                      <a:lnTo>
                        <a:pt x="2793" y="3352"/>
                      </a:lnTo>
                      <a:lnTo>
                        <a:pt x="2790" y="3352"/>
                      </a:lnTo>
                      <a:lnTo>
                        <a:pt x="2788" y="3358"/>
                      </a:lnTo>
                      <a:lnTo>
                        <a:pt x="2782" y="3360"/>
                      </a:lnTo>
                      <a:lnTo>
                        <a:pt x="2780" y="3360"/>
                      </a:lnTo>
                      <a:lnTo>
                        <a:pt x="2780" y="3358"/>
                      </a:lnTo>
                      <a:lnTo>
                        <a:pt x="2774" y="3360"/>
                      </a:lnTo>
                      <a:lnTo>
                        <a:pt x="2774" y="3363"/>
                      </a:lnTo>
                      <a:lnTo>
                        <a:pt x="2769" y="3367"/>
                      </a:lnTo>
                      <a:lnTo>
                        <a:pt x="2766" y="3369"/>
                      </a:lnTo>
                      <a:lnTo>
                        <a:pt x="2762" y="3367"/>
                      </a:lnTo>
                      <a:lnTo>
                        <a:pt x="2760" y="3369"/>
                      </a:lnTo>
                      <a:lnTo>
                        <a:pt x="2757" y="3358"/>
                      </a:lnTo>
                      <a:lnTo>
                        <a:pt x="2757" y="3360"/>
                      </a:lnTo>
                      <a:lnTo>
                        <a:pt x="2754" y="3358"/>
                      </a:lnTo>
                      <a:lnTo>
                        <a:pt x="2752" y="3358"/>
                      </a:lnTo>
                      <a:lnTo>
                        <a:pt x="2749" y="3358"/>
                      </a:lnTo>
                      <a:lnTo>
                        <a:pt x="2746" y="3360"/>
                      </a:lnTo>
                      <a:lnTo>
                        <a:pt x="2746" y="3358"/>
                      </a:lnTo>
                      <a:lnTo>
                        <a:pt x="2744" y="3363"/>
                      </a:lnTo>
                      <a:lnTo>
                        <a:pt x="2738" y="3363"/>
                      </a:lnTo>
                      <a:lnTo>
                        <a:pt x="2736" y="3367"/>
                      </a:lnTo>
                      <a:lnTo>
                        <a:pt x="2733" y="3363"/>
                      </a:lnTo>
                      <a:lnTo>
                        <a:pt x="2727" y="3363"/>
                      </a:lnTo>
                      <a:lnTo>
                        <a:pt x="2721" y="3363"/>
                      </a:lnTo>
                      <a:lnTo>
                        <a:pt x="2719" y="3360"/>
                      </a:lnTo>
                      <a:lnTo>
                        <a:pt x="2713" y="3367"/>
                      </a:lnTo>
                      <a:lnTo>
                        <a:pt x="2711" y="3369"/>
                      </a:lnTo>
                      <a:lnTo>
                        <a:pt x="2708" y="3369"/>
                      </a:lnTo>
                      <a:lnTo>
                        <a:pt x="2705" y="3369"/>
                      </a:lnTo>
                      <a:lnTo>
                        <a:pt x="2705" y="3363"/>
                      </a:lnTo>
                      <a:lnTo>
                        <a:pt x="2697" y="3363"/>
                      </a:lnTo>
                      <a:lnTo>
                        <a:pt x="2694" y="3363"/>
                      </a:lnTo>
                      <a:lnTo>
                        <a:pt x="2688" y="3360"/>
                      </a:lnTo>
                      <a:lnTo>
                        <a:pt x="2685" y="3363"/>
                      </a:lnTo>
                      <a:lnTo>
                        <a:pt x="2683" y="3363"/>
                      </a:lnTo>
                      <a:lnTo>
                        <a:pt x="2680" y="3363"/>
                      </a:lnTo>
                      <a:lnTo>
                        <a:pt x="2677" y="3369"/>
                      </a:lnTo>
                      <a:lnTo>
                        <a:pt x="2677" y="3372"/>
                      </a:lnTo>
                      <a:lnTo>
                        <a:pt x="2677" y="3375"/>
                      </a:lnTo>
                      <a:lnTo>
                        <a:pt x="2675" y="3372"/>
                      </a:lnTo>
                      <a:lnTo>
                        <a:pt x="2664" y="3383"/>
                      </a:lnTo>
                      <a:lnTo>
                        <a:pt x="2655" y="3385"/>
                      </a:lnTo>
                      <a:lnTo>
                        <a:pt x="2655" y="3388"/>
                      </a:lnTo>
                      <a:lnTo>
                        <a:pt x="2650" y="3391"/>
                      </a:lnTo>
                      <a:lnTo>
                        <a:pt x="2650" y="3393"/>
                      </a:lnTo>
                      <a:lnTo>
                        <a:pt x="2644" y="3393"/>
                      </a:lnTo>
                      <a:lnTo>
                        <a:pt x="2644" y="3391"/>
                      </a:lnTo>
                      <a:lnTo>
                        <a:pt x="2636" y="3393"/>
                      </a:lnTo>
                      <a:lnTo>
                        <a:pt x="2634" y="3391"/>
                      </a:lnTo>
                      <a:lnTo>
                        <a:pt x="2627" y="3393"/>
                      </a:lnTo>
                      <a:lnTo>
                        <a:pt x="2625" y="3391"/>
                      </a:lnTo>
                      <a:lnTo>
                        <a:pt x="2622" y="3391"/>
                      </a:lnTo>
                      <a:lnTo>
                        <a:pt x="2614" y="3393"/>
                      </a:lnTo>
                      <a:lnTo>
                        <a:pt x="2611" y="3396"/>
                      </a:lnTo>
                      <a:lnTo>
                        <a:pt x="2611" y="3402"/>
                      </a:lnTo>
                      <a:lnTo>
                        <a:pt x="2603" y="3405"/>
                      </a:lnTo>
                      <a:lnTo>
                        <a:pt x="2603" y="3408"/>
                      </a:lnTo>
                      <a:lnTo>
                        <a:pt x="2598" y="3413"/>
                      </a:lnTo>
                      <a:lnTo>
                        <a:pt x="2598" y="3416"/>
                      </a:lnTo>
                      <a:lnTo>
                        <a:pt x="2595" y="3413"/>
                      </a:lnTo>
                      <a:lnTo>
                        <a:pt x="2589" y="3413"/>
                      </a:lnTo>
                      <a:lnTo>
                        <a:pt x="2583" y="3410"/>
                      </a:lnTo>
                      <a:lnTo>
                        <a:pt x="2578" y="3413"/>
                      </a:lnTo>
                      <a:lnTo>
                        <a:pt x="2570" y="3408"/>
                      </a:lnTo>
                      <a:lnTo>
                        <a:pt x="2567" y="3408"/>
                      </a:lnTo>
                      <a:lnTo>
                        <a:pt x="2562" y="3413"/>
                      </a:lnTo>
                      <a:lnTo>
                        <a:pt x="2556" y="3413"/>
                      </a:lnTo>
                      <a:lnTo>
                        <a:pt x="2550" y="3416"/>
                      </a:lnTo>
                      <a:lnTo>
                        <a:pt x="2547" y="3416"/>
                      </a:lnTo>
                      <a:lnTo>
                        <a:pt x="2545" y="3418"/>
                      </a:lnTo>
                      <a:lnTo>
                        <a:pt x="2542" y="3418"/>
                      </a:lnTo>
                      <a:lnTo>
                        <a:pt x="2539" y="3421"/>
                      </a:lnTo>
                      <a:lnTo>
                        <a:pt x="2537" y="3427"/>
                      </a:lnTo>
                      <a:lnTo>
                        <a:pt x="2537" y="3429"/>
                      </a:lnTo>
                      <a:lnTo>
                        <a:pt x="2531" y="3432"/>
                      </a:lnTo>
                      <a:lnTo>
                        <a:pt x="2526" y="3436"/>
                      </a:lnTo>
                      <a:lnTo>
                        <a:pt x="2522" y="3436"/>
                      </a:lnTo>
                      <a:lnTo>
                        <a:pt x="2517" y="3436"/>
                      </a:lnTo>
                      <a:lnTo>
                        <a:pt x="2514" y="3432"/>
                      </a:lnTo>
                      <a:lnTo>
                        <a:pt x="2512" y="3432"/>
                      </a:lnTo>
                      <a:lnTo>
                        <a:pt x="2509" y="3436"/>
                      </a:lnTo>
                      <a:lnTo>
                        <a:pt x="2504" y="3438"/>
                      </a:lnTo>
                      <a:lnTo>
                        <a:pt x="2501" y="3446"/>
                      </a:lnTo>
                      <a:lnTo>
                        <a:pt x="2496" y="3446"/>
                      </a:lnTo>
                      <a:lnTo>
                        <a:pt x="2484" y="3446"/>
                      </a:lnTo>
                      <a:lnTo>
                        <a:pt x="2476" y="3452"/>
                      </a:lnTo>
                      <a:lnTo>
                        <a:pt x="2473" y="3454"/>
                      </a:lnTo>
                      <a:lnTo>
                        <a:pt x="2462" y="3452"/>
                      </a:lnTo>
                      <a:lnTo>
                        <a:pt x="2460" y="3452"/>
                      </a:lnTo>
                      <a:lnTo>
                        <a:pt x="2453" y="3452"/>
                      </a:lnTo>
                      <a:lnTo>
                        <a:pt x="2448" y="3452"/>
                      </a:lnTo>
                      <a:lnTo>
                        <a:pt x="2448" y="3449"/>
                      </a:lnTo>
                      <a:lnTo>
                        <a:pt x="2443" y="3452"/>
                      </a:lnTo>
                      <a:lnTo>
                        <a:pt x="2435" y="3454"/>
                      </a:lnTo>
                      <a:lnTo>
                        <a:pt x="2427" y="3460"/>
                      </a:lnTo>
                      <a:lnTo>
                        <a:pt x="2420" y="3457"/>
                      </a:lnTo>
                      <a:lnTo>
                        <a:pt x="2417" y="3460"/>
                      </a:lnTo>
                      <a:lnTo>
                        <a:pt x="2412" y="3462"/>
                      </a:lnTo>
                      <a:lnTo>
                        <a:pt x="2410" y="3462"/>
                      </a:lnTo>
                      <a:lnTo>
                        <a:pt x="2407" y="3465"/>
                      </a:lnTo>
                      <a:lnTo>
                        <a:pt x="2401" y="3468"/>
                      </a:lnTo>
                      <a:lnTo>
                        <a:pt x="2399" y="3468"/>
                      </a:lnTo>
                      <a:lnTo>
                        <a:pt x="2393" y="3474"/>
                      </a:lnTo>
                      <a:lnTo>
                        <a:pt x="2391" y="3477"/>
                      </a:lnTo>
                      <a:lnTo>
                        <a:pt x="2391" y="3479"/>
                      </a:lnTo>
                      <a:lnTo>
                        <a:pt x="2393" y="3482"/>
                      </a:lnTo>
                      <a:lnTo>
                        <a:pt x="2388" y="3487"/>
                      </a:lnTo>
                      <a:lnTo>
                        <a:pt x="2376" y="3490"/>
                      </a:lnTo>
                      <a:lnTo>
                        <a:pt x="2374" y="3490"/>
                      </a:lnTo>
                      <a:lnTo>
                        <a:pt x="2368" y="3493"/>
                      </a:lnTo>
                      <a:lnTo>
                        <a:pt x="2366" y="3493"/>
                      </a:lnTo>
                      <a:lnTo>
                        <a:pt x="2351" y="3501"/>
                      </a:lnTo>
                      <a:lnTo>
                        <a:pt x="2355" y="3504"/>
                      </a:lnTo>
                      <a:lnTo>
                        <a:pt x="2351" y="3510"/>
                      </a:lnTo>
                      <a:lnTo>
                        <a:pt x="2351" y="3513"/>
                      </a:lnTo>
                      <a:lnTo>
                        <a:pt x="2349" y="3513"/>
                      </a:lnTo>
                      <a:lnTo>
                        <a:pt x="2346" y="3515"/>
                      </a:lnTo>
                      <a:lnTo>
                        <a:pt x="2338" y="3513"/>
                      </a:lnTo>
                      <a:lnTo>
                        <a:pt x="2324" y="3515"/>
                      </a:lnTo>
                      <a:lnTo>
                        <a:pt x="2322" y="3518"/>
                      </a:lnTo>
                      <a:lnTo>
                        <a:pt x="2315" y="3518"/>
                      </a:lnTo>
                      <a:lnTo>
                        <a:pt x="2313" y="3523"/>
                      </a:lnTo>
                      <a:lnTo>
                        <a:pt x="2307" y="3523"/>
                      </a:lnTo>
                      <a:lnTo>
                        <a:pt x="2299" y="3529"/>
                      </a:lnTo>
                      <a:lnTo>
                        <a:pt x="2297" y="3529"/>
                      </a:lnTo>
                      <a:lnTo>
                        <a:pt x="2291" y="3529"/>
                      </a:lnTo>
                      <a:lnTo>
                        <a:pt x="2294" y="3521"/>
                      </a:lnTo>
                      <a:lnTo>
                        <a:pt x="2291" y="3518"/>
                      </a:lnTo>
                      <a:lnTo>
                        <a:pt x="2289" y="3515"/>
                      </a:lnTo>
                      <a:lnTo>
                        <a:pt x="2282" y="3515"/>
                      </a:lnTo>
                      <a:lnTo>
                        <a:pt x="2280" y="3513"/>
                      </a:lnTo>
                      <a:lnTo>
                        <a:pt x="2277" y="3510"/>
                      </a:lnTo>
                      <a:lnTo>
                        <a:pt x="2274" y="3510"/>
                      </a:lnTo>
                      <a:lnTo>
                        <a:pt x="2266" y="3504"/>
                      </a:lnTo>
                      <a:lnTo>
                        <a:pt x="2263" y="3504"/>
                      </a:lnTo>
                      <a:lnTo>
                        <a:pt x="2266" y="3507"/>
                      </a:lnTo>
                      <a:lnTo>
                        <a:pt x="2261" y="3521"/>
                      </a:lnTo>
                      <a:lnTo>
                        <a:pt x="2255" y="3518"/>
                      </a:lnTo>
                      <a:lnTo>
                        <a:pt x="2244" y="3526"/>
                      </a:lnTo>
                      <a:lnTo>
                        <a:pt x="2241" y="3526"/>
                      </a:lnTo>
                      <a:lnTo>
                        <a:pt x="2238" y="3529"/>
                      </a:lnTo>
                      <a:lnTo>
                        <a:pt x="2236" y="3529"/>
                      </a:lnTo>
                      <a:lnTo>
                        <a:pt x="2225" y="3531"/>
                      </a:lnTo>
                      <a:lnTo>
                        <a:pt x="2222" y="3529"/>
                      </a:lnTo>
                      <a:lnTo>
                        <a:pt x="2222" y="3526"/>
                      </a:lnTo>
                      <a:lnTo>
                        <a:pt x="2225" y="3523"/>
                      </a:lnTo>
                      <a:lnTo>
                        <a:pt x="2233" y="3518"/>
                      </a:lnTo>
                      <a:lnTo>
                        <a:pt x="2230" y="3513"/>
                      </a:lnTo>
                      <a:lnTo>
                        <a:pt x="2225" y="3513"/>
                      </a:lnTo>
                      <a:lnTo>
                        <a:pt x="2225" y="3507"/>
                      </a:lnTo>
                      <a:lnTo>
                        <a:pt x="2220" y="3513"/>
                      </a:lnTo>
                      <a:lnTo>
                        <a:pt x="2222" y="3513"/>
                      </a:lnTo>
                      <a:lnTo>
                        <a:pt x="2220" y="3515"/>
                      </a:lnTo>
                      <a:lnTo>
                        <a:pt x="2213" y="3515"/>
                      </a:lnTo>
                      <a:lnTo>
                        <a:pt x="2208" y="3523"/>
                      </a:lnTo>
                      <a:lnTo>
                        <a:pt x="2194" y="3526"/>
                      </a:lnTo>
                      <a:lnTo>
                        <a:pt x="2189" y="3529"/>
                      </a:lnTo>
                      <a:lnTo>
                        <a:pt x="2186" y="3529"/>
                      </a:lnTo>
                      <a:lnTo>
                        <a:pt x="2180" y="3523"/>
                      </a:lnTo>
                      <a:lnTo>
                        <a:pt x="2184" y="3521"/>
                      </a:lnTo>
                      <a:lnTo>
                        <a:pt x="2184" y="3518"/>
                      </a:lnTo>
                      <a:lnTo>
                        <a:pt x="2189" y="3513"/>
                      </a:lnTo>
                      <a:lnTo>
                        <a:pt x="2186" y="3513"/>
                      </a:lnTo>
                      <a:lnTo>
                        <a:pt x="2189" y="3507"/>
                      </a:lnTo>
                      <a:lnTo>
                        <a:pt x="2192" y="3507"/>
                      </a:lnTo>
                      <a:lnTo>
                        <a:pt x="2189" y="3501"/>
                      </a:lnTo>
                      <a:lnTo>
                        <a:pt x="2189" y="3498"/>
                      </a:lnTo>
                      <a:lnTo>
                        <a:pt x="2184" y="3496"/>
                      </a:lnTo>
                      <a:lnTo>
                        <a:pt x="2175" y="3501"/>
                      </a:lnTo>
                      <a:lnTo>
                        <a:pt x="2167" y="3498"/>
                      </a:lnTo>
                      <a:lnTo>
                        <a:pt x="2164" y="3501"/>
                      </a:lnTo>
                      <a:lnTo>
                        <a:pt x="2164" y="3504"/>
                      </a:lnTo>
                      <a:lnTo>
                        <a:pt x="2161" y="3507"/>
                      </a:lnTo>
                      <a:lnTo>
                        <a:pt x="2159" y="3510"/>
                      </a:lnTo>
                      <a:lnTo>
                        <a:pt x="2161" y="3513"/>
                      </a:lnTo>
                      <a:lnTo>
                        <a:pt x="2161" y="3515"/>
                      </a:lnTo>
                      <a:lnTo>
                        <a:pt x="2167" y="3515"/>
                      </a:lnTo>
                      <a:lnTo>
                        <a:pt x="2169" y="3523"/>
                      </a:lnTo>
                      <a:lnTo>
                        <a:pt x="2175" y="3526"/>
                      </a:lnTo>
                      <a:lnTo>
                        <a:pt x="2175" y="3529"/>
                      </a:lnTo>
                      <a:lnTo>
                        <a:pt x="2177" y="3529"/>
                      </a:lnTo>
                      <a:lnTo>
                        <a:pt x="2169" y="3531"/>
                      </a:lnTo>
                      <a:lnTo>
                        <a:pt x="2167" y="3534"/>
                      </a:lnTo>
                      <a:lnTo>
                        <a:pt x="2161" y="3531"/>
                      </a:lnTo>
                      <a:lnTo>
                        <a:pt x="2156" y="3531"/>
                      </a:lnTo>
                      <a:lnTo>
                        <a:pt x="2156" y="3534"/>
                      </a:lnTo>
                      <a:lnTo>
                        <a:pt x="2153" y="3537"/>
                      </a:lnTo>
                      <a:lnTo>
                        <a:pt x="2151" y="3537"/>
                      </a:lnTo>
                      <a:lnTo>
                        <a:pt x="2151" y="3539"/>
                      </a:lnTo>
                      <a:lnTo>
                        <a:pt x="2142" y="3543"/>
                      </a:lnTo>
                      <a:lnTo>
                        <a:pt x="2139" y="3546"/>
                      </a:lnTo>
                      <a:lnTo>
                        <a:pt x="2128" y="3548"/>
                      </a:lnTo>
                      <a:lnTo>
                        <a:pt x="2125" y="3559"/>
                      </a:lnTo>
                      <a:lnTo>
                        <a:pt x="2131" y="3565"/>
                      </a:lnTo>
                      <a:lnTo>
                        <a:pt x="2134" y="3565"/>
                      </a:lnTo>
                      <a:lnTo>
                        <a:pt x="2142" y="3562"/>
                      </a:lnTo>
                      <a:lnTo>
                        <a:pt x="2151" y="3559"/>
                      </a:lnTo>
                      <a:lnTo>
                        <a:pt x="2153" y="3559"/>
                      </a:lnTo>
                      <a:lnTo>
                        <a:pt x="2161" y="3559"/>
                      </a:lnTo>
                      <a:lnTo>
                        <a:pt x="2164" y="3559"/>
                      </a:lnTo>
                      <a:lnTo>
                        <a:pt x="2161" y="3559"/>
                      </a:lnTo>
                      <a:lnTo>
                        <a:pt x="2167" y="3567"/>
                      </a:lnTo>
                      <a:lnTo>
                        <a:pt x="2167" y="3573"/>
                      </a:lnTo>
                      <a:lnTo>
                        <a:pt x="2169" y="3573"/>
                      </a:lnTo>
                      <a:lnTo>
                        <a:pt x="2169" y="3579"/>
                      </a:lnTo>
                      <a:lnTo>
                        <a:pt x="2167" y="3582"/>
                      </a:lnTo>
                      <a:lnTo>
                        <a:pt x="2164" y="3582"/>
                      </a:lnTo>
                      <a:lnTo>
                        <a:pt x="2161" y="3587"/>
                      </a:lnTo>
                      <a:lnTo>
                        <a:pt x="2161" y="3590"/>
                      </a:lnTo>
                      <a:lnTo>
                        <a:pt x="2164" y="3592"/>
                      </a:lnTo>
                      <a:lnTo>
                        <a:pt x="2167" y="3595"/>
                      </a:lnTo>
                      <a:lnTo>
                        <a:pt x="2169" y="3595"/>
                      </a:lnTo>
                      <a:lnTo>
                        <a:pt x="2169" y="3598"/>
                      </a:lnTo>
                      <a:lnTo>
                        <a:pt x="2164" y="3598"/>
                      </a:lnTo>
                      <a:lnTo>
                        <a:pt x="2161" y="3595"/>
                      </a:lnTo>
                      <a:lnTo>
                        <a:pt x="2159" y="3595"/>
                      </a:lnTo>
                      <a:lnTo>
                        <a:pt x="2156" y="3590"/>
                      </a:lnTo>
                      <a:lnTo>
                        <a:pt x="2153" y="3587"/>
                      </a:lnTo>
                      <a:lnTo>
                        <a:pt x="2151" y="3592"/>
                      </a:lnTo>
                      <a:lnTo>
                        <a:pt x="2144" y="3592"/>
                      </a:lnTo>
                      <a:lnTo>
                        <a:pt x="2148" y="3606"/>
                      </a:lnTo>
                      <a:lnTo>
                        <a:pt x="2148" y="3608"/>
                      </a:lnTo>
                      <a:lnTo>
                        <a:pt x="2144" y="3612"/>
                      </a:lnTo>
                      <a:lnTo>
                        <a:pt x="2139" y="3615"/>
                      </a:lnTo>
                      <a:lnTo>
                        <a:pt x="2136" y="3615"/>
                      </a:lnTo>
                      <a:lnTo>
                        <a:pt x="2134" y="3612"/>
                      </a:lnTo>
                      <a:lnTo>
                        <a:pt x="2134" y="3606"/>
                      </a:lnTo>
                      <a:lnTo>
                        <a:pt x="2128" y="3603"/>
                      </a:lnTo>
                      <a:lnTo>
                        <a:pt x="2128" y="3606"/>
                      </a:lnTo>
                      <a:lnTo>
                        <a:pt x="2123" y="3603"/>
                      </a:lnTo>
                      <a:lnTo>
                        <a:pt x="2123" y="3606"/>
                      </a:lnTo>
                      <a:lnTo>
                        <a:pt x="2117" y="3606"/>
                      </a:lnTo>
                      <a:lnTo>
                        <a:pt x="2115" y="3606"/>
                      </a:lnTo>
                      <a:lnTo>
                        <a:pt x="2111" y="3612"/>
                      </a:lnTo>
                      <a:lnTo>
                        <a:pt x="2108" y="3612"/>
                      </a:lnTo>
                      <a:lnTo>
                        <a:pt x="2108" y="3617"/>
                      </a:lnTo>
                      <a:lnTo>
                        <a:pt x="2108" y="3620"/>
                      </a:lnTo>
                      <a:lnTo>
                        <a:pt x="2106" y="3620"/>
                      </a:lnTo>
                      <a:lnTo>
                        <a:pt x="2100" y="3623"/>
                      </a:lnTo>
                      <a:lnTo>
                        <a:pt x="2098" y="3623"/>
                      </a:lnTo>
                      <a:lnTo>
                        <a:pt x="2098" y="3617"/>
                      </a:lnTo>
                      <a:lnTo>
                        <a:pt x="2098" y="3615"/>
                      </a:lnTo>
                      <a:lnTo>
                        <a:pt x="2095" y="3615"/>
                      </a:lnTo>
                      <a:lnTo>
                        <a:pt x="2095" y="3608"/>
                      </a:lnTo>
                      <a:lnTo>
                        <a:pt x="2095" y="3606"/>
                      </a:lnTo>
                      <a:lnTo>
                        <a:pt x="2090" y="3606"/>
                      </a:lnTo>
                      <a:lnTo>
                        <a:pt x="2090" y="3603"/>
                      </a:lnTo>
                      <a:lnTo>
                        <a:pt x="2092" y="3598"/>
                      </a:lnTo>
                      <a:lnTo>
                        <a:pt x="2090" y="3598"/>
                      </a:lnTo>
                      <a:lnTo>
                        <a:pt x="2084" y="3600"/>
                      </a:lnTo>
                      <a:lnTo>
                        <a:pt x="2084" y="3603"/>
                      </a:lnTo>
                      <a:lnTo>
                        <a:pt x="2079" y="3608"/>
                      </a:lnTo>
                      <a:lnTo>
                        <a:pt x="2073" y="3608"/>
                      </a:lnTo>
                      <a:lnTo>
                        <a:pt x="2070" y="3612"/>
                      </a:lnTo>
                      <a:lnTo>
                        <a:pt x="2067" y="3615"/>
                      </a:lnTo>
                      <a:lnTo>
                        <a:pt x="2062" y="3617"/>
                      </a:lnTo>
                      <a:lnTo>
                        <a:pt x="2056" y="3620"/>
                      </a:lnTo>
                      <a:lnTo>
                        <a:pt x="2056" y="3623"/>
                      </a:lnTo>
                      <a:lnTo>
                        <a:pt x="2051" y="3626"/>
                      </a:lnTo>
                      <a:lnTo>
                        <a:pt x="2048" y="3628"/>
                      </a:lnTo>
                      <a:lnTo>
                        <a:pt x="2039" y="3626"/>
                      </a:lnTo>
                      <a:lnTo>
                        <a:pt x="2031" y="3631"/>
                      </a:lnTo>
                      <a:lnTo>
                        <a:pt x="2021" y="3628"/>
                      </a:lnTo>
                      <a:lnTo>
                        <a:pt x="2013" y="3631"/>
                      </a:lnTo>
                      <a:lnTo>
                        <a:pt x="2006" y="3636"/>
                      </a:lnTo>
                      <a:lnTo>
                        <a:pt x="2001" y="3636"/>
                      </a:lnTo>
                      <a:lnTo>
                        <a:pt x="1996" y="3642"/>
                      </a:lnTo>
                      <a:lnTo>
                        <a:pt x="1990" y="3639"/>
                      </a:lnTo>
                      <a:lnTo>
                        <a:pt x="1993" y="3636"/>
                      </a:lnTo>
                      <a:lnTo>
                        <a:pt x="1996" y="3628"/>
                      </a:lnTo>
                      <a:lnTo>
                        <a:pt x="1996" y="3626"/>
                      </a:lnTo>
                      <a:lnTo>
                        <a:pt x="1993" y="3617"/>
                      </a:lnTo>
                      <a:lnTo>
                        <a:pt x="1993" y="3615"/>
                      </a:lnTo>
                      <a:lnTo>
                        <a:pt x="1990" y="3617"/>
                      </a:lnTo>
                      <a:lnTo>
                        <a:pt x="1977" y="3620"/>
                      </a:lnTo>
                      <a:lnTo>
                        <a:pt x="1973" y="3617"/>
                      </a:lnTo>
                      <a:lnTo>
                        <a:pt x="1970" y="3620"/>
                      </a:lnTo>
                      <a:lnTo>
                        <a:pt x="1957" y="3626"/>
                      </a:lnTo>
                      <a:lnTo>
                        <a:pt x="1954" y="3631"/>
                      </a:lnTo>
                      <a:lnTo>
                        <a:pt x="1952" y="3628"/>
                      </a:lnTo>
                      <a:lnTo>
                        <a:pt x="1946" y="3628"/>
                      </a:lnTo>
                      <a:lnTo>
                        <a:pt x="1946" y="3623"/>
                      </a:lnTo>
                      <a:lnTo>
                        <a:pt x="1944" y="3623"/>
                      </a:lnTo>
                      <a:lnTo>
                        <a:pt x="1937" y="3623"/>
                      </a:lnTo>
                      <a:lnTo>
                        <a:pt x="1932" y="3631"/>
                      </a:lnTo>
                      <a:lnTo>
                        <a:pt x="1924" y="3628"/>
                      </a:lnTo>
                      <a:lnTo>
                        <a:pt x="1916" y="3631"/>
                      </a:lnTo>
                      <a:lnTo>
                        <a:pt x="1913" y="3634"/>
                      </a:lnTo>
                      <a:lnTo>
                        <a:pt x="1904" y="3631"/>
                      </a:lnTo>
                      <a:lnTo>
                        <a:pt x="1901" y="3626"/>
                      </a:lnTo>
                      <a:lnTo>
                        <a:pt x="1899" y="3623"/>
                      </a:lnTo>
                      <a:lnTo>
                        <a:pt x="1899" y="3620"/>
                      </a:lnTo>
                      <a:lnTo>
                        <a:pt x="1896" y="3620"/>
                      </a:lnTo>
                      <a:lnTo>
                        <a:pt x="1896" y="3617"/>
                      </a:lnTo>
                      <a:lnTo>
                        <a:pt x="1901" y="3617"/>
                      </a:lnTo>
                      <a:lnTo>
                        <a:pt x="1899" y="3608"/>
                      </a:lnTo>
                      <a:lnTo>
                        <a:pt x="1901" y="3606"/>
                      </a:lnTo>
                      <a:lnTo>
                        <a:pt x="1899" y="3603"/>
                      </a:lnTo>
                      <a:lnTo>
                        <a:pt x="1899" y="3598"/>
                      </a:lnTo>
                      <a:lnTo>
                        <a:pt x="1904" y="3587"/>
                      </a:lnTo>
                      <a:lnTo>
                        <a:pt x="1910" y="3584"/>
                      </a:lnTo>
                      <a:lnTo>
                        <a:pt x="1910" y="3582"/>
                      </a:lnTo>
                      <a:lnTo>
                        <a:pt x="1913" y="3582"/>
                      </a:lnTo>
                      <a:lnTo>
                        <a:pt x="1913" y="3579"/>
                      </a:lnTo>
                      <a:lnTo>
                        <a:pt x="1916" y="3576"/>
                      </a:lnTo>
                      <a:lnTo>
                        <a:pt x="1916" y="3573"/>
                      </a:lnTo>
                      <a:lnTo>
                        <a:pt x="1908" y="3573"/>
                      </a:lnTo>
                      <a:lnTo>
                        <a:pt x="1904" y="3576"/>
                      </a:lnTo>
                      <a:lnTo>
                        <a:pt x="1899" y="3567"/>
                      </a:lnTo>
                      <a:lnTo>
                        <a:pt x="1896" y="3567"/>
                      </a:lnTo>
                      <a:lnTo>
                        <a:pt x="1896" y="3565"/>
                      </a:lnTo>
                      <a:lnTo>
                        <a:pt x="1893" y="3567"/>
                      </a:lnTo>
                      <a:lnTo>
                        <a:pt x="1888" y="3567"/>
                      </a:lnTo>
                      <a:lnTo>
                        <a:pt x="1880" y="3562"/>
                      </a:lnTo>
                      <a:lnTo>
                        <a:pt x="1880" y="3565"/>
                      </a:lnTo>
                      <a:lnTo>
                        <a:pt x="1875" y="3562"/>
                      </a:lnTo>
                      <a:lnTo>
                        <a:pt x="1875" y="3559"/>
                      </a:lnTo>
                      <a:lnTo>
                        <a:pt x="1868" y="3559"/>
                      </a:lnTo>
                      <a:lnTo>
                        <a:pt x="1866" y="3551"/>
                      </a:lnTo>
                      <a:lnTo>
                        <a:pt x="1860" y="3551"/>
                      </a:lnTo>
                      <a:lnTo>
                        <a:pt x="1857" y="3548"/>
                      </a:lnTo>
                      <a:lnTo>
                        <a:pt x="1860" y="3546"/>
                      </a:lnTo>
                      <a:lnTo>
                        <a:pt x="1857" y="3543"/>
                      </a:lnTo>
                      <a:lnTo>
                        <a:pt x="1857" y="3539"/>
                      </a:lnTo>
                      <a:lnTo>
                        <a:pt x="1860" y="3537"/>
                      </a:lnTo>
                      <a:lnTo>
                        <a:pt x="1866" y="3539"/>
                      </a:lnTo>
                      <a:lnTo>
                        <a:pt x="1866" y="3537"/>
                      </a:lnTo>
                      <a:lnTo>
                        <a:pt x="1875" y="3534"/>
                      </a:lnTo>
                      <a:lnTo>
                        <a:pt x="1877" y="3531"/>
                      </a:lnTo>
                      <a:lnTo>
                        <a:pt x="1883" y="3534"/>
                      </a:lnTo>
                      <a:lnTo>
                        <a:pt x="1885" y="3531"/>
                      </a:lnTo>
                      <a:lnTo>
                        <a:pt x="1888" y="3534"/>
                      </a:lnTo>
                      <a:lnTo>
                        <a:pt x="1885" y="3537"/>
                      </a:lnTo>
                      <a:lnTo>
                        <a:pt x="1888" y="3537"/>
                      </a:lnTo>
                      <a:lnTo>
                        <a:pt x="1893" y="3534"/>
                      </a:lnTo>
                      <a:lnTo>
                        <a:pt x="1893" y="3529"/>
                      </a:lnTo>
                      <a:lnTo>
                        <a:pt x="1891" y="3526"/>
                      </a:lnTo>
                      <a:lnTo>
                        <a:pt x="1888" y="3523"/>
                      </a:lnTo>
                      <a:lnTo>
                        <a:pt x="1883" y="3523"/>
                      </a:lnTo>
                      <a:lnTo>
                        <a:pt x="1880" y="3521"/>
                      </a:lnTo>
                      <a:lnTo>
                        <a:pt x="1880" y="3518"/>
                      </a:lnTo>
                      <a:lnTo>
                        <a:pt x="1888" y="3515"/>
                      </a:lnTo>
                      <a:lnTo>
                        <a:pt x="1880" y="3507"/>
                      </a:lnTo>
                      <a:lnTo>
                        <a:pt x="1885" y="3501"/>
                      </a:lnTo>
                      <a:lnTo>
                        <a:pt x="1877" y="3501"/>
                      </a:lnTo>
                      <a:lnTo>
                        <a:pt x="1877" y="3496"/>
                      </a:lnTo>
                      <a:lnTo>
                        <a:pt x="1885" y="3487"/>
                      </a:lnTo>
                      <a:lnTo>
                        <a:pt x="1885" y="3482"/>
                      </a:lnTo>
                      <a:lnTo>
                        <a:pt x="1883" y="3485"/>
                      </a:lnTo>
                      <a:lnTo>
                        <a:pt x="1880" y="3485"/>
                      </a:lnTo>
                      <a:lnTo>
                        <a:pt x="1875" y="3482"/>
                      </a:lnTo>
                      <a:lnTo>
                        <a:pt x="1875" y="3479"/>
                      </a:lnTo>
                      <a:lnTo>
                        <a:pt x="1868" y="3479"/>
                      </a:lnTo>
                      <a:lnTo>
                        <a:pt x="1868" y="3474"/>
                      </a:lnTo>
                      <a:lnTo>
                        <a:pt x="1863" y="3474"/>
                      </a:lnTo>
                      <a:lnTo>
                        <a:pt x="1855" y="3474"/>
                      </a:lnTo>
                      <a:lnTo>
                        <a:pt x="1852" y="3471"/>
                      </a:lnTo>
                      <a:lnTo>
                        <a:pt x="1847" y="3474"/>
                      </a:lnTo>
                      <a:lnTo>
                        <a:pt x="1847" y="3468"/>
                      </a:lnTo>
                      <a:lnTo>
                        <a:pt x="1832" y="3462"/>
                      </a:lnTo>
                      <a:lnTo>
                        <a:pt x="1835" y="3460"/>
                      </a:lnTo>
                      <a:lnTo>
                        <a:pt x="1835" y="3454"/>
                      </a:lnTo>
                      <a:lnTo>
                        <a:pt x="1830" y="3452"/>
                      </a:lnTo>
                      <a:lnTo>
                        <a:pt x="1827" y="3452"/>
                      </a:lnTo>
                      <a:lnTo>
                        <a:pt x="1827" y="3449"/>
                      </a:lnTo>
                      <a:lnTo>
                        <a:pt x="1830" y="3446"/>
                      </a:lnTo>
                      <a:lnTo>
                        <a:pt x="1827" y="3444"/>
                      </a:lnTo>
                      <a:lnTo>
                        <a:pt x="1822" y="3444"/>
                      </a:lnTo>
                      <a:lnTo>
                        <a:pt x="1819" y="3446"/>
                      </a:lnTo>
                      <a:lnTo>
                        <a:pt x="1819" y="3444"/>
                      </a:lnTo>
                      <a:lnTo>
                        <a:pt x="1816" y="3441"/>
                      </a:lnTo>
                      <a:lnTo>
                        <a:pt x="1811" y="3441"/>
                      </a:lnTo>
                      <a:lnTo>
                        <a:pt x="1808" y="3441"/>
                      </a:lnTo>
                      <a:lnTo>
                        <a:pt x="1802" y="3438"/>
                      </a:lnTo>
                      <a:lnTo>
                        <a:pt x="1802" y="3441"/>
                      </a:lnTo>
                      <a:lnTo>
                        <a:pt x="1794" y="3438"/>
                      </a:lnTo>
                      <a:lnTo>
                        <a:pt x="1791" y="3436"/>
                      </a:lnTo>
                      <a:lnTo>
                        <a:pt x="1788" y="3436"/>
                      </a:lnTo>
                      <a:lnTo>
                        <a:pt x="1788" y="3432"/>
                      </a:lnTo>
                      <a:lnTo>
                        <a:pt x="1780" y="3429"/>
                      </a:lnTo>
                      <a:lnTo>
                        <a:pt x="1780" y="3427"/>
                      </a:lnTo>
                      <a:lnTo>
                        <a:pt x="1783" y="3418"/>
                      </a:lnTo>
                      <a:lnTo>
                        <a:pt x="1780" y="3416"/>
                      </a:lnTo>
                      <a:lnTo>
                        <a:pt x="1783" y="3410"/>
                      </a:lnTo>
                      <a:lnTo>
                        <a:pt x="1778" y="3410"/>
                      </a:lnTo>
                      <a:lnTo>
                        <a:pt x="1775" y="3405"/>
                      </a:lnTo>
                      <a:lnTo>
                        <a:pt x="1772" y="3405"/>
                      </a:lnTo>
                      <a:lnTo>
                        <a:pt x="1772" y="3402"/>
                      </a:lnTo>
                      <a:lnTo>
                        <a:pt x="1770" y="3402"/>
                      </a:lnTo>
                      <a:lnTo>
                        <a:pt x="1770" y="3399"/>
                      </a:lnTo>
                      <a:lnTo>
                        <a:pt x="1770" y="3396"/>
                      </a:lnTo>
                      <a:lnTo>
                        <a:pt x="1766" y="3393"/>
                      </a:lnTo>
                      <a:lnTo>
                        <a:pt x="1766" y="3391"/>
                      </a:lnTo>
                      <a:lnTo>
                        <a:pt x="1763" y="3391"/>
                      </a:lnTo>
                      <a:lnTo>
                        <a:pt x="1763" y="3388"/>
                      </a:lnTo>
                      <a:lnTo>
                        <a:pt x="1761" y="3388"/>
                      </a:lnTo>
                      <a:lnTo>
                        <a:pt x="1758" y="3385"/>
                      </a:lnTo>
                      <a:lnTo>
                        <a:pt x="1761" y="3385"/>
                      </a:lnTo>
                      <a:lnTo>
                        <a:pt x="1766" y="3380"/>
                      </a:lnTo>
                      <a:lnTo>
                        <a:pt x="1763" y="3375"/>
                      </a:lnTo>
                      <a:lnTo>
                        <a:pt x="1766" y="3372"/>
                      </a:lnTo>
                      <a:lnTo>
                        <a:pt x="1763" y="3369"/>
                      </a:lnTo>
                      <a:lnTo>
                        <a:pt x="1763" y="3367"/>
                      </a:lnTo>
                      <a:lnTo>
                        <a:pt x="1766" y="3363"/>
                      </a:lnTo>
                      <a:lnTo>
                        <a:pt x="1770" y="3358"/>
                      </a:lnTo>
                      <a:lnTo>
                        <a:pt x="1772" y="3360"/>
                      </a:lnTo>
                      <a:lnTo>
                        <a:pt x="1770" y="3355"/>
                      </a:lnTo>
                      <a:lnTo>
                        <a:pt x="1778" y="3349"/>
                      </a:lnTo>
                      <a:lnTo>
                        <a:pt x="1775" y="3347"/>
                      </a:lnTo>
                      <a:lnTo>
                        <a:pt x="1780" y="3333"/>
                      </a:lnTo>
                      <a:lnTo>
                        <a:pt x="1778" y="3330"/>
                      </a:lnTo>
                      <a:lnTo>
                        <a:pt x="1780" y="3330"/>
                      </a:lnTo>
                      <a:lnTo>
                        <a:pt x="1783" y="3330"/>
                      </a:lnTo>
                      <a:lnTo>
                        <a:pt x="1788" y="3330"/>
                      </a:lnTo>
                      <a:lnTo>
                        <a:pt x="1791" y="3322"/>
                      </a:lnTo>
                      <a:lnTo>
                        <a:pt x="1802" y="3319"/>
                      </a:lnTo>
                      <a:lnTo>
                        <a:pt x="1808" y="3314"/>
                      </a:lnTo>
                      <a:lnTo>
                        <a:pt x="1808" y="3311"/>
                      </a:lnTo>
                      <a:lnTo>
                        <a:pt x="1802" y="3311"/>
                      </a:lnTo>
                      <a:lnTo>
                        <a:pt x="1799" y="3303"/>
                      </a:lnTo>
                      <a:lnTo>
                        <a:pt x="1794" y="3300"/>
                      </a:lnTo>
                      <a:lnTo>
                        <a:pt x="1788" y="3294"/>
                      </a:lnTo>
                      <a:lnTo>
                        <a:pt x="1780" y="3298"/>
                      </a:lnTo>
                      <a:lnTo>
                        <a:pt x="1775" y="3294"/>
                      </a:lnTo>
                      <a:lnTo>
                        <a:pt x="1772" y="3294"/>
                      </a:lnTo>
                      <a:lnTo>
                        <a:pt x="1770" y="3294"/>
                      </a:lnTo>
                      <a:lnTo>
                        <a:pt x="1766" y="3294"/>
                      </a:lnTo>
                      <a:lnTo>
                        <a:pt x="1763" y="3294"/>
                      </a:lnTo>
                      <a:lnTo>
                        <a:pt x="1761" y="3294"/>
                      </a:lnTo>
                      <a:lnTo>
                        <a:pt x="1758" y="3291"/>
                      </a:lnTo>
                      <a:lnTo>
                        <a:pt x="1758" y="3289"/>
                      </a:lnTo>
                      <a:lnTo>
                        <a:pt x="1758" y="3286"/>
                      </a:lnTo>
                      <a:lnTo>
                        <a:pt x="1761" y="3286"/>
                      </a:lnTo>
                      <a:lnTo>
                        <a:pt x="1763" y="3289"/>
                      </a:lnTo>
                      <a:lnTo>
                        <a:pt x="1770" y="3286"/>
                      </a:lnTo>
                      <a:lnTo>
                        <a:pt x="1775" y="3286"/>
                      </a:lnTo>
                      <a:lnTo>
                        <a:pt x="1783" y="3283"/>
                      </a:lnTo>
                      <a:lnTo>
                        <a:pt x="1783" y="3281"/>
                      </a:lnTo>
                      <a:lnTo>
                        <a:pt x="1778" y="3278"/>
                      </a:lnTo>
                      <a:lnTo>
                        <a:pt x="1772" y="3272"/>
                      </a:lnTo>
                      <a:lnTo>
                        <a:pt x="1775" y="3267"/>
                      </a:lnTo>
                      <a:lnTo>
                        <a:pt x="1778" y="3267"/>
                      </a:lnTo>
                      <a:lnTo>
                        <a:pt x="1778" y="3264"/>
                      </a:lnTo>
                      <a:lnTo>
                        <a:pt x="1783" y="3267"/>
                      </a:lnTo>
                      <a:lnTo>
                        <a:pt x="1786" y="3264"/>
                      </a:lnTo>
                      <a:lnTo>
                        <a:pt x="1786" y="3262"/>
                      </a:lnTo>
                      <a:lnTo>
                        <a:pt x="1788" y="3262"/>
                      </a:lnTo>
                      <a:lnTo>
                        <a:pt x="1791" y="3258"/>
                      </a:lnTo>
                      <a:lnTo>
                        <a:pt x="1799" y="3264"/>
                      </a:lnTo>
                      <a:lnTo>
                        <a:pt x="1802" y="3264"/>
                      </a:lnTo>
                      <a:lnTo>
                        <a:pt x="1802" y="3262"/>
                      </a:lnTo>
                      <a:lnTo>
                        <a:pt x="1802" y="3258"/>
                      </a:lnTo>
                      <a:lnTo>
                        <a:pt x="1802" y="3255"/>
                      </a:lnTo>
                      <a:lnTo>
                        <a:pt x="1799" y="3253"/>
                      </a:lnTo>
                      <a:lnTo>
                        <a:pt x="1797" y="3247"/>
                      </a:lnTo>
                      <a:lnTo>
                        <a:pt x="1794" y="3247"/>
                      </a:lnTo>
                      <a:lnTo>
                        <a:pt x="1791" y="3245"/>
                      </a:lnTo>
                      <a:lnTo>
                        <a:pt x="1786" y="3237"/>
                      </a:lnTo>
                      <a:lnTo>
                        <a:pt x="1786" y="3231"/>
                      </a:lnTo>
                      <a:lnTo>
                        <a:pt x="1780" y="3229"/>
                      </a:lnTo>
                      <a:lnTo>
                        <a:pt x="1783" y="3222"/>
                      </a:lnTo>
                      <a:lnTo>
                        <a:pt x="1778" y="3217"/>
                      </a:lnTo>
                      <a:lnTo>
                        <a:pt x="1780" y="3214"/>
                      </a:lnTo>
                      <a:lnTo>
                        <a:pt x="1783" y="3214"/>
                      </a:lnTo>
                      <a:lnTo>
                        <a:pt x="1786" y="3212"/>
                      </a:lnTo>
                      <a:lnTo>
                        <a:pt x="1788" y="3206"/>
                      </a:lnTo>
                      <a:lnTo>
                        <a:pt x="1786" y="3203"/>
                      </a:lnTo>
                      <a:lnTo>
                        <a:pt x="1786" y="3201"/>
                      </a:lnTo>
                      <a:lnTo>
                        <a:pt x="1780" y="3193"/>
                      </a:lnTo>
                      <a:lnTo>
                        <a:pt x="1778" y="3193"/>
                      </a:lnTo>
                      <a:lnTo>
                        <a:pt x="1775" y="3193"/>
                      </a:lnTo>
                      <a:lnTo>
                        <a:pt x="1772" y="3186"/>
                      </a:lnTo>
                      <a:lnTo>
                        <a:pt x="1775" y="3181"/>
                      </a:lnTo>
                      <a:lnTo>
                        <a:pt x="1780" y="3178"/>
                      </a:lnTo>
                      <a:lnTo>
                        <a:pt x="1780" y="3176"/>
                      </a:lnTo>
                      <a:lnTo>
                        <a:pt x="1788" y="3168"/>
                      </a:lnTo>
                      <a:lnTo>
                        <a:pt x="1786" y="3162"/>
                      </a:lnTo>
                      <a:lnTo>
                        <a:pt x="1788" y="3162"/>
                      </a:lnTo>
                      <a:lnTo>
                        <a:pt x="1791" y="3160"/>
                      </a:lnTo>
                      <a:lnTo>
                        <a:pt x="1797" y="3160"/>
                      </a:lnTo>
                      <a:lnTo>
                        <a:pt x="1797" y="3157"/>
                      </a:lnTo>
                      <a:lnTo>
                        <a:pt x="1797" y="3148"/>
                      </a:lnTo>
                      <a:lnTo>
                        <a:pt x="1797" y="3145"/>
                      </a:lnTo>
                      <a:lnTo>
                        <a:pt x="1797" y="3143"/>
                      </a:lnTo>
                      <a:lnTo>
                        <a:pt x="1799" y="3137"/>
                      </a:lnTo>
                      <a:lnTo>
                        <a:pt x="1797" y="3132"/>
                      </a:lnTo>
                      <a:lnTo>
                        <a:pt x="1797" y="3129"/>
                      </a:lnTo>
                      <a:lnTo>
                        <a:pt x="1799" y="3126"/>
                      </a:lnTo>
                      <a:lnTo>
                        <a:pt x="1799" y="3120"/>
                      </a:lnTo>
                      <a:lnTo>
                        <a:pt x="1816" y="3124"/>
                      </a:lnTo>
                      <a:lnTo>
                        <a:pt x="1822" y="3120"/>
                      </a:lnTo>
                      <a:lnTo>
                        <a:pt x="1822" y="3112"/>
                      </a:lnTo>
                      <a:lnTo>
                        <a:pt x="1827" y="3109"/>
                      </a:lnTo>
                      <a:lnTo>
                        <a:pt x="1830" y="3109"/>
                      </a:lnTo>
                      <a:lnTo>
                        <a:pt x="1827" y="3104"/>
                      </a:lnTo>
                      <a:lnTo>
                        <a:pt x="1830" y="3101"/>
                      </a:lnTo>
                      <a:lnTo>
                        <a:pt x="1835" y="3101"/>
                      </a:lnTo>
                      <a:lnTo>
                        <a:pt x="1835" y="3096"/>
                      </a:lnTo>
                      <a:lnTo>
                        <a:pt x="1841" y="3093"/>
                      </a:lnTo>
                      <a:lnTo>
                        <a:pt x="1841" y="3091"/>
                      </a:lnTo>
                      <a:lnTo>
                        <a:pt x="1839" y="3088"/>
                      </a:lnTo>
                      <a:lnTo>
                        <a:pt x="1841" y="3084"/>
                      </a:lnTo>
                      <a:lnTo>
                        <a:pt x="1841" y="3082"/>
                      </a:lnTo>
                      <a:lnTo>
                        <a:pt x="1844" y="3076"/>
                      </a:lnTo>
                      <a:lnTo>
                        <a:pt x="1844" y="3073"/>
                      </a:lnTo>
                      <a:lnTo>
                        <a:pt x="1847" y="3071"/>
                      </a:lnTo>
                      <a:lnTo>
                        <a:pt x="1849" y="3071"/>
                      </a:lnTo>
                      <a:lnTo>
                        <a:pt x="1849" y="3068"/>
                      </a:lnTo>
                      <a:lnTo>
                        <a:pt x="1844" y="3063"/>
                      </a:lnTo>
                      <a:lnTo>
                        <a:pt x="1841" y="3060"/>
                      </a:lnTo>
                      <a:lnTo>
                        <a:pt x="1839" y="3055"/>
                      </a:lnTo>
                      <a:lnTo>
                        <a:pt x="1841" y="3052"/>
                      </a:lnTo>
                      <a:lnTo>
                        <a:pt x="1841" y="3046"/>
                      </a:lnTo>
                      <a:lnTo>
                        <a:pt x="1847" y="3040"/>
                      </a:lnTo>
                      <a:lnTo>
                        <a:pt x="1844" y="3038"/>
                      </a:lnTo>
                      <a:lnTo>
                        <a:pt x="1844" y="3032"/>
                      </a:lnTo>
                      <a:lnTo>
                        <a:pt x="1841" y="3030"/>
                      </a:lnTo>
                      <a:lnTo>
                        <a:pt x="1841" y="3027"/>
                      </a:lnTo>
                      <a:lnTo>
                        <a:pt x="1841" y="3024"/>
                      </a:lnTo>
                      <a:lnTo>
                        <a:pt x="1839" y="3024"/>
                      </a:lnTo>
                      <a:lnTo>
                        <a:pt x="1835" y="3024"/>
                      </a:lnTo>
                      <a:lnTo>
                        <a:pt x="1830" y="3022"/>
                      </a:lnTo>
                      <a:lnTo>
                        <a:pt x="1824" y="3022"/>
                      </a:lnTo>
                      <a:lnTo>
                        <a:pt x="1819" y="3019"/>
                      </a:lnTo>
                      <a:lnTo>
                        <a:pt x="1819" y="3015"/>
                      </a:lnTo>
                      <a:lnTo>
                        <a:pt x="1808" y="3022"/>
                      </a:lnTo>
                      <a:lnTo>
                        <a:pt x="1808" y="3024"/>
                      </a:lnTo>
                      <a:lnTo>
                        <a:pt x="1802" y="3022"/>
                      </a:lnTo>
                      <a:lnTo>
                        <a:pt x="1799" y="3019"/>
                      </a:lnTo>
                      <a:lnTo>
                        <a:pt x="1802" y="3015"/>
                      </a:lnTo>
                      <a:lnTo>
                        <a:pt x="1799" y="3015"/>
                      </a:lnTo>
                      <a:lnTo>
                        <a:pt x="1799" y="3013"/>
                      </a:lnTo>
                      <a:lnTo>
                        <a:pt x="1797" y="3010"/>
                      </a:lnTo>
                      <a:lnTo>
                        <a:pt x="1794" y="3010"/>
                      </a:lnTo>
                      <a:lnTo>
                        <a:pt x="1791" y="3004"/>
                      </a:lnTo>
                      <a:lnTo>
                        <a:pt x="1788" y="3002"/>
                      </a:lnTo>
                      <a:lnTo>
                        <a:pt x="1788" y="2999"/>
                      </a:lnTo>
                      <a:lnTo>
                        <a:pt x="1788" y="2996"/>
                      </a:lnTo>
                      <a:lnTo>
                        <a:pt x="1788" y="2994"/>
                      </a:lnTo>
                      <a:lnTo>
                        <a:pt x="1788" y="2988"/>
                      </a:lnTo>
                      <a:lnTo>
                        <a:pt x="1783" y="2988"/>
                      </a:lnTo>
                      <a:lnTo>
                        <a:pt x="1780" y="2988"/>
                      </a:lnTo>
                      <a:lnTo>
                        <a:pt x="1778" y="2994"/>
                      </a:lnTo>
                      <a:lnTo>
                        <a:pt x="1775" y="2994"/>
                      </a:lnTo>
                      <a:lnTo>
                        <a:pt x="1772" y="2996"/>
                      </a:lnTo>
                      <a:lnTo>
                        <a:pt x="1770" y="2999"/>
                      </a:lnTo>
                      <a:lnTo>
                        <a:pt x="1763" y="3007"/>
                      </a:lnTo>
                      <a:lnTo>
                        <a:pt x="1761" y="3002"/>
                      </a:lnTo>
                      <a:lnTo>
                        <a:pt x="1758" y="2999"/>
                      </a:lnTo>
                      <a:lnTo>
                        <a:pt x="1758" y="3002"/>
                      </a:lnTo>
                      <a:lnTo>
                        <a:pt x="1753" y="3002"/>
                      </a:lnTo>
                      <a:lnTo>
                        <a:pt x="1745" y="2996"/>
                      </a:lnTo>
                      <a:lnTo>
                        <a:pt x="1742" y="2994"/>
                      </a:lnTo>
                      <a:lnTo>
                        <a:pt x="1745" y="2988"/>
                      </a:lnTo>
                      <a:lnTo>
                        <a:pt x="1742" y="2988"/>
                      </a:lnTo>
                      <a:lnTo>
                        <a:pt x="1737" y="2988"/>
                      </a:lnTo>
                      <a:lnTo>
                        <a:pt x="1733" y="2991"/>
                      </a:lnTo>
                      <a:lnTo>
                        <a:pt x="1730" y="2994"/>
                      </a:lnTo>
                      <a:lnTo>
                        <a:pt x="1720" y="2991"/>
                      </a:lnTo>
                      <a:lnTo>
                        <a:pt x="1714" y="2991"/>
                      </a:lnTo>
                      <a:lnTo>
                        <a:pt x="1711" y="2994"/>
                      </a:lnTo>
                      <a:lnTo>
                        <a:pt x="1711" y="2996"/>
                      </a:lnTo>
                      <a:lnTo>
                        <a:pt x="1709" y="2999"/>
                      </a:lnTo>
                      <a:lnTo>
                        <a:pt x="1703" y="2999"/>
                      </a:lnTo>
                      <a:lnTo>
                        <a:pt x="1703" y="3002"/>
                      </a:lnTo>
                      <a:lnTo>
                        <a:pt x="1701" y="3002"/>
                      </a:lnTo>
                      <a:lnTo>
                        <a:pt x="1701" y="3004"/>
                      </a:lnTo>
                      <a:lnTo>
                        <a:pt x="1692" y="3007"/>
                      </a:lnTo>
                      <a:lnTo>
                        <a:pt x="1689" y="3010"/>
                      </a:lnTo>
                      <a:lnTo>
                        <a:pt x="1686" y="3010"/>
                      </a:lnTo>
                      <a:lnTo>
                        <a:pt x="1684" y="3013"/>
                      </a:lnTo>
                      <a:lnTo>
                        <a:pt x="1678" y="3013"/>
                      </a:lnTo>
                      <a:lnTo>
                        <a:pt x="1678" y="3015"/>
                      </a:lnTo>
                      <a:lnTo>
                        <a:pt x="1676" y="3013"/>
                      </a:lnTo>
                      <a:lnTo>
                        <a:pt x="1673" y="3015"/>
                      </a:lnTo>
                      <a:lnTo>
                        <a:pt x="1668" y="3013"/>
                      </a:lnTo>
                      <a:lnTo>
                        <a:pt x="1664" y="3015"/>
                      </a:lnTo>
                      <a:lnTo>
                        <a:pt x="1661" y="3013"/>
                      </a:lnTo>
                      <a:lnTo>
                        <a:pt x="1659" y="3013"/>
                      </a:lnTo>
                      <a:lnTo>
                        <a:pt x="1656" y="3013"/>
                      </a:lnTo>
                      <a:lnTo>
                        <a:pt x="1651" y="3015"/>
                      </a:lnTo>
                      <a:lnTo>
                        <a:pt x="1651" y="3013"/>
                      </a:lnTo>
                      <a:lnTo>
                        <a:pt x="1648" y="3015"/>
                      </a:lnTo>
                      <a:lnTo>
                        <a:pt x="1645" y="3013"/>
                      </a:lnTo>
                      <a:lnTo>
                        <a:pt x="1642" y="3013"/>
                      </a:lnTo>
                      <a:lnTo>
                        <a:pt x="1640" y="3010"/>
                      </a:lnTo>
                      <a:lnTo>
                        <a:pt x="1642" y="3010"/>
                      </a:lnTo>
                      <a:lnTo>
                        <a:pt x="1642" y="3007"/>
                      </a:lnTo>
                      <a:lnTo>
                        <a:pt x="1640" y="3002"/>
                      </a:lnTo>
                      <a:lnTo>
                        <a:pt x="1642" y="3002"/>
                      </a:lnTo>
                      <a:lnTo>
                        <a:pt x="1645" y="2996"/>
                      </a:lnTo>
                      <a:lnTo>
                        <a:pt x="1642" y="2991"/>
                      </a:lnTo>
                      <a:lnTo>
                        <a:pt x="1645" y="2988"/>
                      </a:lnTo>
                      <a:lnTo>
                        <a:pt x="1648" y="2986"/>
                      </a:lnTo>
                      <a:lnTo>
                        <a:pt x="1645" y="2983"/>
                      </a:lnTo>
                      <a:lnTo>
                        <a:pt x="1640" y="2979"/>
                      </a:lnTo>
                      <a:lnTo>
                        <a:pt x="1637" y="2974"/>
                      </a:lnTo>
                      <a:lnTo>
                        <a:pt x="1637" y="2971"/>
                      </a:lnTo>
                      <a:lnTo>
                        <a:pt x="1634" y="2966"/>
                      </a:lnTo>
                      <a:lnTo>
                        <a:pt x="1632" y="2966"/>
                      </a:lnTo>
                      <a:lnTo>
                        <a:pt x="1634" y="2963"/>
                      </a:lnTo>
                      <a:lnTo>
                        <a:pt x="1628" y="2958"/>
                      </a:lnTo>
                      <a:lnTo>
                        <a:pt x="1628" y="2955"/>
                      </a:lnTo>
                      <a:lnTo>
                        <a:pt x="1628" y="2950"/>
                      </a:lnTo>
                      <a:lnTo>
                        <a:pt x="1625" y="2944"/>
                      </a:lnTo>
                      <a:lnTo>
                        <a:pt x="1625" y="2941"/>
                      </a:lnTo>
                      <a:lnTo>
                        <a:pt x="1623" y="2941"/>
                      </a:lnTo>
                      <a:lnTo>
                        <a:pt x="1620" y="2935"/>
                      </a:lnTo>
                      <a:lnTo>
                        <a:pt x="1615" y="2938"/>
                      </a:lnTo>
                      <a:lnTo>
                        <a:pt x="1615" y="2933"/>
                      </a:lnTo>
                      <a:lnTo>
                        <a:pt x="1617" y="2930"/>
                      </a:lnTo>
                      <a:lnTo>
                        <a:pt x="1617" y="2927"/>
                      </a:lnTo>
                      <a:lnTo>
                        <a:pt x="1620" y="2925"/>
                      </a:lnTo>
                      <a:lnTo>
                        <a:pt x="1617" y="2925"/>
                      </a:lnTo>
                      <a:lnTo>
                        <a:pt x="1609" y="2925"/>
                      </a:lnTo>
                      <a:lnTo>
                        <a:pt x="1607" y="2925"/>
                      </a:lnTo>
                      <a:lnTo>
                        <a:pt x="1607" y="2927"/>
                      </a:lnTo>
                      <a:lnTo>
                        <a:pt x="1604" y="2922"/>
                      </a:lnTo>
                      <a:lnTo>
                        <a:pt x="1599" y="2914"/>
                      </a:lnTo>
                      <a:lnTo>
                        <a:pt x="1599" y="2910"/>
                      </a:lnTo>
                      <a:lnTo>
                        <a:pt x="1595" y="2908"/>
                      </a:lnTo>
                      <a:lnTo>
                        <a:pt x="1599" y="2900"/>
                      </a:lnTo>
                      <a:lnTo>
                        <a:pt x="1590" y="2892"/>
                      </a:lnTo>
                      <a:lnTo>
                        <a:pt x="1595" y="2889"/>
                      </a:lnTo>
                      <a:lnTo>
                        <a:pt x="1595" y="2886"/>
                      </a:lnTo>
                      <a:lnTo>
                        <a:pt x="1595" y="2884"/>
                      </a:lnTo>
                      <a:lnTo>
                        <a:pt x="1601" y="2884"/>
                      </a:lnTo>
                      <a:lnTo>
                        <a:pt x="1601" y="2881"/>
                      </a:lnTo>
                      <a:lnTo>
                        <a:pt x="1592" y="2878"/>
                      </a:lnTo>
                      <a:lnTo>
                        <a:pt x="1590" y="2875"/>
                      </a:lnTo>
                      <a:lnTo>
                        <a:pt x="1587" y="2875"/>
                      </a:lnTo>
                      <a:lnTo>
                        <a:pt x="1590" y="2867"/>
                      </a:lnTo>
                      <a:lnTo>
                        <a:pt x="1587" y="2861"/>
                      </a:lnTo>
                      <a:lnTo>
                        <a:pt x="1584" y="2853"/>
                      </a:lnTo>
                      <a:lnTo>
                        <a:pt x="1582" y="2845"/>
                      </a:lnTo>
                      <a:lnTo>
                        <a:pt x="1584" y="2841"/>
                      </a:lnTo>
                      <a:lnTo>
                        <a:pt x="1584" y="2836"/>
                      </a:lnTo>
                      <a:lnTo>
                        <a:pt x="1587" y="2828"/>
                      </a:lnTo>
                      <a:lnTo>
                        <a:pt x="1584" y="2825"/>
                      </a:lnTo>
                      <a:lnTo>
                        <a:pt x="1579" y="2823"/>
                      </a:lnTo>
                      <a:lnTo>
                        <a:pt x="1576" y="2817"/>
                      </a:lnTo>
                      <a:lnTo>
                        <a:pt x="1571" y="2817"/>
                      </a:lnTo>
                      <a:lnTo>
                        <a:pt x="1568" y="2812"/>
                      </a:lnTo>
                      <a:lnTo>
                        <a:pt x="1568" y="2806"/>
                      </a:lnTo>
                      <a:lnTo>
                        <a:pt x="1559" y="2806"/>
                      </a:lnTo>
                      <a:lnTo>
                        <a:pt x="1554" y="2800"/>
                      </a:lnTo>
                      <a:lnTo>
                        <a:pt x="1548" y="2789"/>
                      </a:lnTo>
                      <a:lnTo>
                        <a:pt x="1554" y="2776"/>
                      </a:lnTo>
                      <a:lnTo>
                        <a:pt x="1559" y="2764"/>
                      </a:lnTo>
                      <a:lnTo>
                        <a:pt x="1554" y="2754"/>
                      </a:lnTo>
                      <a:lnTo>
                        <a:pt x="1559" y="2751"/>
                      </a:lnTo>
                      <a:lnTo>
                        <a:pt x="1563" y="2743"/>
                      </a:lnTo>
                      <a:lnTo>
                        <a:pt x="1565" y="2743"/>
                      </a:lnTo>
                      <a:lnTo>
                        <a:pt x="1568" y="2740"/>
                      </a:lnTo>
                      <a:lnTo>
                        <a:pt x="1571" y="2729"/>
                      </a:lnTo>
                      <a:lnTo>
                        <a:pt x="1573" y="2729"/>
                      </a:lnTo>
                      <a:lnTo>
                        <a:pt x="1571" y="2723"/>
                      </a:lnTo>
                      <a:lnTo>
                        <a:pt x="1576" y="2718"/>
                      </a:lnTo>
                      <a:lnTo>
                        <a:pt x="1576" y="2715"/>
                      </a:lnTo>
                      <a:lnTo>
                        <a:pt x="1579" y="2712"/>
                      </a:lnTo>
                      <a:lnTo>
                        <a:pt x="1584" y="2715"/>
                      </a:lnTo>
                      <a:lnTo>
                        <a:pt x="1599" y="2715"/>
                      </a:lnTo>
                      <a:lnTo>
                        <a:pt x="1599" y="2712"/>
                      </a:lnTo>
                      <a:lnTo>
                        <a:pt x="1601" y="2710"/>
                      </a:lnTo>
                      <a:lnTo>
                        <a:pt x="1604" y="2704"/>
                      </a:lnTo>
                      <a:lnTo>
                        <a:pt x="1604" y="2698"/>
                      </a:lnTo>
                      <a:lnTo>
                        <a:pt x="1607" y="2693"/>
                      </a:lnTo>
                      <a:lnTo>
                        <a:pt x="1607" y="2690"/>
                      </a:lnTo>
                      <a:lnTo>
                        <a:pt x="1607" y="2687"/>
                      </a:lnTo>
                      <a:lnTo>
                        <a:pt x="1601" y="2685"/>
                      </a:lnTo>
                      <a:lnTo>
                        <a:pt x="1601" y="2679"/>
                      </a:lnTo>
                      <a:lnTo>
                        <a:pt x="1601" y="2677"/>
                      </a:lnTo>
                      <a:lnTo>
                        <a:pt x="1595" y="2674"/>
                      </a:lnTo>
                      <a:lnTo>
                        <a:pt x="1595" y="2671"/>
                      </a:lnTo>
                      <a:lnTo>
                        <a:pt x="1595" y="2669"/>
                      </a:lnTo>
                      <a:lnTo>
                        <a:pt x="1595" y="2665"/>
                      </a:lnTo>
                      <a:lnTo>
                        <a:pt x="1592" y="2665"/>
                      </a:lnTo>
                      <a:lnTo>
                        <a:pt x="1587" y="2654"/>
                      </a:lnTo>
                      <a:lnTo>
                        <a:pt x="1590" y="2652"/>
                      </a:lnTo>
                      <a:lnTo>
                        <a:pt x="1587" y="2646"/>
                      </a:lnTo>
                      <a:lnTo>
                        <a:pt x="1587" y="2641"/>
                      </a:lnTo>
                      <a:lnTo>
                        <a:pt x="1584" y="2641"/>
                      </a:lnTo>
                      <a:lnTo>
                        <a:pt x="1582" y="2635"/>
                      </a:lnTo>
                      <a:lnTo>
                        <a:pt x="1571" y="2632"/>
                      </a:lnTo>
                      <a:lnTo>
                        <a:pt x="1565" y="2629"/>
                      </a:lnTo>
                      <a:lnTo>
                        <a:pt x="1559" y="2629"/>
                      </a:lnTo>
                      <a:lnTo>
                        <a:pt x="1551" y="2621"/>
                      </a:lnTo>
                      <a:lnTo>
                        <a:pt x="1543" y="2618"/>
                      </a:lnTo>
                      <a:lnTo>
                        <a:pt x="1540" y="2613"/>
                      </a:lnTo>
                      <a:lnTo>
                        <a:pt x="1535" y="2613"/>
                      </a:lnTo>
                      <a:lnTo>
                        <a:pt x="1526" y="2608"/>
                      </a:lnTo>
                      <a:lnTo>
                        <a:pt x="1526" y="2605"/>
                      </a:lnTo>
                      <a:lnTo>
                        <a:pt x="1530" y="2602"/>
                      </a:lnTo>
                      <a:lnTo>
                        <a:pt x="1530" y="2600"/>
                      </a:lnTo>
                      <a:lnTo>
                        <a:pt x="1526" y="2600"/>
                      </a:lnTo>
                      <a:lnTo>
                        <a:pt x="1526" y="2596"/>
                      </a:lnTo>
                      <a:lnTo>
                        <a:pt x="1530" y="2593"/>
                      </a:lnTo>
                      <a:lnTo>
                        <a:pt x="1526" y="2593"/>
                      </a:lnTo>
                      <a:lnTo>
                        <a:pt x="1530" y="2590"/>
                      </a:lnTo>
                      <a:lnTo>
                        <a:pt x="1526" y="2590"/>
                      </a:lnTo>
                      <a:lnTo>
                        <a:pt x="1530" y="2588"/>
                      </a:lnTo>
                      <a:lnTo>
                        <a:pt x="1526" y="2585"/>
                      </a:lnTo>
                      <a:lnTo>
                        <a:pt x="1530" y="2580"/>
                      </a:lnTo>
                      <a:lnTo>
                        <a:pt x="1526" y="2580"/>
                      </a:lnTo>
                      <a:lnTo>
                        <a:pt x="1526" y="2577"/>
                      </a:lnTo>
                      <a:lnTo>
                        <a:pt x="1526" y="2574"/>
                      </a:lnTo>
                      <a:lnTo>
                        <a:pt x="1526" y="2572"/>
                      </a:lnTo>
                      <a:lnTo>
                        <a:pt x="1523" y="2564"/>
                      </a:lnTo>
                      <a:lnTo>
                        <a:pt x="1530" y="2560"/>
                      </a:lnTo>
                      <a:lnTo>
                        <a:pt x="1526" y="2557"/>
                      </a:lnTo>
                      <a:lnTo>
                        <a:pt x="1530" y="2557"/>
                      </a:lnTo>
                      <a:lnTo>
                        <a:pt x="1530" y="2555"/>
                      </a:lnTo>
                      <a:lnTo>
                        <a:pt x="1530" y="2549"/>
                      </a:lnTo>
                      <a:lnTo>
                        <a:pt x="1532" y="2549"/>
                      </a:lnTo>
                      <a:lnTo>
                        <a:pt x="1532" y="2541"/>
                      </a:lnTo>
                      <a:lnTo>
                        <a:pt x="1535" y="2536"/>
                      </a:lnTo>
                      <a:lnTo>
                        <a:pt x="1538" y="2536"/>
                      </a:lnTo>
                      <a:lnTo>
                        <a:pt x="1543" y="2527"/>
                      </a:lnTo>
                      <a:lnTo>
                        <a:pt x="1546" y="2527"/>
                      </a:lnTo>
                      <a:lnTo>
                        <a:pt x="1551" y="2513"/>
                      </a:lnTo>
                      <a:lnTo>
                        <a:pt x="1551" y="2511"/>
                      </a:lnTo>
                      <a:lnTo>
                        <a:pt x="1546" y="2503"/>
                      </a:lnTo>
                      <a:lnTo>
                        <a:pt x="1543" y="2497"/>
                      </a:lnTo>
                      <a:lnTo>
                        <a:pt x="1540" y="2497"/>
                      </a:lnTo>
                      <a:lnTo>
                        <a:pt x="1540" y="2488"/>
                      </a:lnTo>
                      <a:lnTo>
                        <a:pt x="1538" y="2483"/>
                      </a:lnTo>
                      <a:lnTo>
                        <a:pt x="1535" y="2483"/>
                      </a:lnTo>
                      <a:lnTo>
                        <a:pt x="1526" y="2480"/>
                      </a:lnTo>
                      <a:lnTo>
                        <a:pt x="1521" y="2470"/>
                      </a:lnTo>
                      <a:lnTo>
                        <a:pt x="1510" y="2467"/>
                      </a:lnTo>
                      <a:lnTo>
                        <a:pt x="1505" y="2462"/>
                      </a:lnTo>
                      <a:lnTo>
                        <a:pt x="1499" y="2462"/>
                      </a:lnTo>
                      <a:lnTo>
                        <a:pt x="1493" y="2453"/>
                      </a:lnTo>
                      <a:lnTo>
                        <a:pt x="1482" y="2453"/>
                      </a:lnTo>
                      <a:lnTo>
                        <a:pt x="1479" y="2453"/>
                      </a:lnTo>
                      <a:lnTo>
                        <a:pt x="1477" y="2444"/>
                      </a:lnTo>
                      <a:lnTo>
                        <a:pt x="1466" y="2439"/>
                      </a:lnTo>
                      <a:lnTo>
                        <a:pt x="1466" y="2434"/>
                      </a:lnTo>
                      <a:lnTo>
                        <a:pt x="1466" y="2431"/>
                      </a:lnTo>
                      <a:lnTo>
                        <a:pt x="1471" y="2428"/>
                      </a:lnTo>
                      <a:lnTo>
                        <a:pt x="1471" y="2426"/>
                      </a:lnTo>
                      <a:lnTo>
                        <a:pt x="1471" y="2422"/>
                      </a:lnTo>
                      <a:lnTo>
                        <a:pt x="1469" y="2417"/>
                      </a:lnTo>
                      <a:lnTo>
                        <a:pt x="1463" y="2411"/>
                      </a:lnTo>
                      <a:lnTo>
                        <a:pt x="1454" y="2403"/>
                      </a:lnTo>
                      <a:lnTo>
                        <a:pt x="1454" y="2401"/>
                      </a:lnTo>
                      <a:lnTo>
                        <a:pt x="1452" y="2403"/>
                      </a:lnTo>
                      <a:lnTo>
                        <a:pt x="1449" y="2406"/>
                      </a:lnTo>
                      <a:lnTo>
                        <a:pt x="1443" y="2406"/>
                      </a:lnTo>
                      <a:lnTo>
                        <a:pt x="1438" y="2411"/>
                      </a:lnTo>
                      <a:lnTo>
                        <a:pt x="1427" y="2411"/>
                      </a:lnTo>
                      <a:lnTo>
                        <a:pt x="1421" y="2414"/>
                      </a:lnTo>
                      <a:lnTo>
                        <a:pt x="1421" y="2417"/>
                      </a:lnTo>
                      <a:lnTo>
                        <a:pt x="1410" y="2417"/>
                      </a:lnTo>
                      <a:lnTo>
                        <a:pt x="1405" y="2419"/>
                      </a:lnTo>
                      <a:lnTo>
                        <a:pt x="1405" y="2428"/>
                      </a:lnTo>
                      <a:lnTo>
                        <a:pt x="1397" y="2436"/>
                      </a:lnTo>
                      <a:lnTo>
                        <a:pt x="1392" y="2436"/>
                      </a:lnTo>
                      <a:lnTo>
                        <a:pt x="1385" y="2439"/>
                      </a:lnTo>
                      <a:lnTo>
                        <a:pt x="1380" y="2434"/>
                      </a:lnTo>
                      <a:lnTo>
                        <a:pt x="1377" y="2431"/>
                      </a:lnTo>
                      <a:lnTo>
                        <a:pt x="1372" y="2426"/>
                      </a:lnTo>
                      <a:lnTo>
                        <a:pt x="1372" y="2422"/>
                      </a:lnTo>
                      <a:lnTo>
                        <a:pt x="1372" y="2419"/>
                      </a:lnTo>
                      <a:lnTo>
                        <a:pt x="1358" y="2409"/>
                      </a:lnTo>
                      <a:lnTo>
                        <a:pt x="1355" y="2409"/>
                      </a:lnTo>
                      <a:lnTo>
                        <a:pt x="1347" y="2411"/>
                      </a:lnTo>
                      <a:lnTo>
                        <a:pt x="1341" y="2414"/>
                      </a:lnTo>
                      <a:lnTo>
                        <a:pt x="1333" y="2411"/>
                      </a:lnTo>
                      <a:lnTo>
                        <a:pt x="1319" y="2411"/>
                      </a:lnTo>
                      <a:lnTo>
                        <a:pt x="1306" y="2417"/>
                      </a:lnTo>
                      <a:lnTo>
                        <a:pt x="1300" y="2414"/>
                      </a:lnTo>
                      <a:lnTo>
                        <a:pt x="1297" y="2414"/>
                      </a:lnTo>
                      <a:lnTo>
                        <a:pt x="1292" y="2422"/>
                      </a:lnTo>
                      <a:lnTo>
                        <a:pt x="1289" y="2426"/>
                      </a:lnTo>
                      <a:lnTo>
                        <a:pt x="1289" y="2428"/>
                      </a:lnTo>
                      <a:lnTo>
                        <a:pt x="1289" y="2431"/>
                      </a:lnTo>
                      <a:lnTo>
                        <a:pt x="1289" y="2434"/>
                      </a:lnTo>
                      <a:lnTo>
                        <a:pt x="1292" y="2434"/>
                      </a:lnTo>
                      <a:lnTo>
                        <a:pt x="1295" y="2436"/>
                      </a:lnTo>
                      <a:lnTo>
                        <a:pt x="1295" y="2439"/>
                      </a:lnTo>
                      <a:lnTo>
                        <a:pt x="1292" y="2444"/>
                      </a:lnTo>
                      <a:lnTo>
                        <a:pt x="1292" y="2450"/>
                      </a:lnTo>
                      <a:lnTo>
                        <a:pt x="1292" y="2455"/>
                      </a:lnTo>
                      <a:lnTo>
                        <a:pt x="1289" y="2462"/>
                      </a:lnTo>
                      <a:lnTo>
                        <a:pt x="1280" y="2470"/>
                      </a:lnTo>
                      <a:lnTo>
                        <a:pt x="1278" y="2470"/>
                      </a:lnTo>
                      <a:lnTo>
                        <a:pt x="1267" y="2464"/>
                      </a:lnTo>
                      <a:lnTo>
                        <a:pt x="1262" y="2455"/>
                      </a:lnTo>
                      <a:lnTo>
                        <a:pt x="1259" y="2442"/>
                      </a:lnTo>
                      <a:lnTo>
                        <a:pt x="1247" y="2434"/>
                      </a:lnTo>
                      <a:lnTo>
                        <a:pt x="1245" y="2434"/>
                      </a:lnTo>
                      <a:lnTo>
                        <a:pt x="1242" y="2436"/>
                      </a:lnTo>
                      <a:lnTo>
                        <a:pt x="1242" y="2450"/>
                      </a:lnTo>
                      <a:lnTo>
                        <a:pt x="1239" y="2455"/>
                      </a:lnTo>
                      <a:lnTo>
                        <a:pt x="1237" y="2462"/>
                      </a:lnTo>
                      <a:lnTo>
                        <a:pt x="1231" y="2470"/>
                      </a:lnTo>
                      <a:lnTo>
                        <a:pt x="1223" y="2467"/>
                      </a:lnTo>
                      <a:lnTo>
                        <a:pt x="1220" y="2475"/>
                      </a:lnTo>
                      <a:lnTo>
                        <a:pt x="1209" y="2480"/>
                      </a:lnTo>
                      <a:lnTo>
                        <a:pt x="1201" y="2480"/>
                      </a:lnTo>
                      <a:lnTo>
                        <a:pt x="1193" y="2478"/>
                      </a:lnTo>
                      <a:lnTo>
                        <a:pt x="1187" y="2472"/>
                      </a:lnTo>
                      <a:lnTo>
                        <a:pt x="1178" y="2470"/>
                      </a:lnTo>
                      <a:lnTo>
                        <a:pt x="1176" y="2462"/>
                      </a:lnTo>
                      <a:lnTo>
                        <a:pt x="1173" y="2462"/>
                      </a:lnTo>
                      <a:lnTo>
                        <a:pt x="1170" y="2462"/>
                      </a:lnTo>
                      <a:lnTo>
                        <a:pt x="1168" y="2459"/>
                      </a:lnTo>
                      <a:lnTo>
                        <a:pt x="1165" y="2450"/>
                      </a:lnTo>
                      <a:lnTo>
                        <a:pt x="1157" y="2436"/>
                      </a:lnTo>
                      <a:lnTo>
                        <a:pt x="1151" y="2434"/>
                      </a:lnTo>
                      <a:lnTo>
                        <a:pt x="1148" y="2431"/>
                      </a:lnTo>
                      <a:lnTo>
                        <a:pt x="1140" y="2431"/>
                      </a:lnTo>
                      <a:lnTo>
                        <a:pt x="1137" y="2434"/>
                      </a:lnTo>
                      <a:lnTo>
                        <a:pt x="1140" y="2436"/>
                      </a:lnTo>
                      <a:lnTo>
                        <a:pt x="1137" y="2450"/>
                      </a:lnTo>
                      <a:lnTo>
                        <a:pt x="1137" y="2453"/>
                      </a:lnTo>
                      <a:lnTo>
                        <a:pt x="1151" y="2467"/>
                      </a:lnTo>
                      <a:lnTo>
                        <a:pt x="1151" y="2470"/>
                      </a:lnTo>
                      <a:lnTo>
                        <a:pt x="1148" y="2475"/>
                      </a:lnTo>
                      <a:lnTo>
                        <a:pt x="1145" y="2475"/>
                      </a:lnTo>
                      <a:lnTo>
                        <a:pt x="1140" y="2478"/>
                      </a:lnTo>
                      <a:lnTo>
                        <a:pt x="1132" y="2478"/>
                      </a:lnTo>
                      <a:lnTo>
                        <a:pt x="1129" y="2478"/>
                      </a:lnTo>
                      <a:lnTo>
                        <a:pt x="1126" y="2478"/>
                      </a:lnTo>
                      <a:lnTo>
                        <a:pt x="1124" y="2475"/>
                      </a:lnTo>
                      <a:lnTo>
                        <a:pt x="1118" y="2470"/>
                      </a:lnTo>
                      <a:lnTo>
                        <a:pt x="1109" y="2467"/>
                      </a:lnTo>
                      <a:lnTo>
                        <a:pt x="1101" y="2467"/>
                      </a:lnTo>
                      <a:lnTo>
                        <a:pt x="1096" y="2470"/>
                      </a:lnTo>
                      <a:lnTo>
                        <a:pt x="1093" y="2470"/>
                      </a:lnTo>
                      <a:lnTo>
                        <a:pt x="1088" y="2470"/>
                      </a:lnTo>
                      <a:lnTo>
                        <a:pt x="1085" y="2470"/>
                      </a:lnTo>
                      <a:lnTo>
                        <a:pt x="1073" y="2467"/>
                      </a:lnTo>
                      <a:lnTo>
                        <a:pt x="1060" y="2470"/>
                      </a:lnTo>
                      <a:lnTo>
                        <a:pt x="1055" y="2470"/>
                      </a:lnTo>
                      <a:lnTo>
                        <a:pt x="1040" y="2475"/>
                      </a:lnTo>
                      <a:lnTo>
                        <a:pt x="1030" y="2475"/>
                      </a:lnTo>
                      <a:lnTo>
                        <a:pt x="1022" y="2475"/>
                      </a:lnTo>
                      <a:lnTo>
                        <a:pt x="1012" y="2472"/>
                      </a:lnTo>
                      <a:lnTo>
                        <a:pt x="1002" y="2472"/>
                      </a:lnTo>
                      <a:lnTo>
                        <a:pt x="996" y="2475"/>
                      </a:lnTo>
                      <a:lnTo>
                        <a:pt x="986" y="2486"/>
                      </a:lnTo>
                      <a:lnTo>
                        <a:pt x="977" y="2488"/>
                      </a:lnTo>
                      <a:lnTo>
                        <a:pt x="969" y="2488"/>
                      </a:lnTo>
                      <a:lnTo>
                        <a:pt x="966" y="2486"/>
                      </a:lnTo>
                      <a:lnTo>
                        <a:pt x="958" y="2486"/>
                      </a:lnTo>
                      <a:lnTo>
                        <a:pt x="943" y="2480"/>
                      </a:lnTo>
                      <a:lnTo>
                        <a:pt x="941" y="2480"/>
                      </a:lnTo>
                      <a:lnTo>
                        <a:pt x="933" y="2483"/>
                      </a:lnTo>
                      <a:lnTo>
                        <a:pt x="922" y="2486"/>
                      </a:lnTo>
                      <a:lnTo>
                        <a:pt x="905" y="2486"/>
                      </a:lnTo>
                      <a:lnTo>
                        <a:pt x="902" y="2486"/>
                      </a:lnTo>
                      <a:lnTo>
                        <a:pt x="894" y="2491"/>
                      </a:lnTo>
                      <a:lnTo>
                        <a:pt x="892" y="2495"/>
                      </a:lnTo>
                      <a:lnTo>
                        <a:pt x="889" y="2503"/>
                      </a:lnTo>
                      <a:lnTo>
                        <a:pt x="892" y="2508"/>
                      </a:lnTo>
                      <a:lnTo>
                        <a:pt x="892" y="2511"/>
                      </a:lnTo>
                      <a:lnTo>
                        <a:pt x="889" y="2513"/>
                      </a:lnTo>
                      <a:lnTo>
                        <a:pt x="883" y="2519"/>
                      </a:lnTo>
                      <a:lnTo>
                        <a:pt x="878" y="2531"/>
                      </a:lnTo>
                      <a:lnTo>
                        <a:pt x="878" y="2539"/>
                      </a:lnTo>
                      <a:lnTo>
                        <a:pt x="878" y="2541"/>
                      </a:lnTo>
                      <a:lnTo>
                        <a:pt x="883" y="2549"/>
                      </a:lnTo>
                      <a:lnTo>
                        <a:pt x="881" y="2564"/>
                      </a:lnTo>
                      <a:lnTo>
                        <a:pt x="886" y="2577"/>
                      </a:lnTo>
                      <a:lnTo>
                        <a:pt x="886" y="2580"/>
                      </a:lnTo>
                      <a:lnTo>
                        <a:pt x="886" y="2585"/>
                      </a:lnTo>
                      <a:lnTo>
                        <a:pt x="886" y="2588"/>
                      </a:lnTo>
                      <a:lnTo>
                        <a:pt x="881" y="2600"/>
                      </a:lnTo>
                      <a:lnTo>
                        <a:pt x="878" y="2602"/>
                      </a:lnTo>
                      <a:lnTo>
                        <a:pt x="872" y="2602"/>
                      </a:lnTo>
                      <a:lnTo>
                        <a:pt x="848" y="2585"/>
                      </a:lnTo>
                      <a:lnTo>
                        <a:pt x="845" y="2582"/>
                      </a:lnTo>
                      <a:lnTo>
                        <a:pt x="848" y="2536"/>
                      </a:lnTo>
                      <a:lnTo>
                        <a:pt x="848" y="2527"/>
                      </a:lnTo>
                      <a:lnTo>
                        <a:pt x="845" y="2505"/>
                      </a:lnTo>
                      <a:lnTo>
                        <a:pt x="839" y="2491"/>
                      </a:lnTo>
                      <a:lnTo>
                        <a:pt x="836" y="2486"/>
                      </a:lnTo>
                      <a:lnTo>
                        <a:pt x="825" y="2483"/>
                      </a:lnTo>
                      <a:lnTo>
                        <a:pt x="820" y="2480"/>
                      </a:lnTo>
                      <a:lnTo>
                        <a:pt x="809" y="2480"/>
                      </a:lnTo>
                      <a:lnTo>
                        <a:pt x="805" y="2483"/>
                      </a:lnTo>
                      <a:lnTo>
                        <a:pt x="795" y="2505"/>
                      </a:lnTo>
                      <a:lnTo>
                        <a:pt x="784" y="2531"/>
                      </a:lnTo>
                      <a:lnTo>
                        <a:pt x="779" y="2536"/>
                      </a:lnTo>
                      <a:lnTo>
                        <a:pt x="762" y="2547"/>
                      </a:lnTo>
                      <a:lnTo>
                        <a:pt x="762" y="2549"/>
                      </a:lnTo>
                      <a:lnTo>
                        <a:pt x="759" y="2549"/>
                      </a:lnTo>
                      <a:lnTo>
                        <a:pt x="754" y="2547"/>
                      </a:lnTo>
                      <a:lnTo>
                        <a:pt x="740" y="2544"/>
                      </a:lnTo>
                      <a:lnTo>
                        <a:pt x="736" y="2544"/>
                      </a:lnTo>
                      <a:lnTo>
                        <a:pt x="726" y="2527"/>
                      </a:lnTo>
                      <a:lnTo>
                        <a:pt x="726" y="2522"/>
                      </a:lnTo>
                      <a:lnTo>
                        <a:pt x="723" y="2513"/>
                      </a:lnTo>
                      <a:lnTo>
                        <a:pt x="710" y="2488"/>
                      </a:lnTo>
                      <a:lnTo>
                        <a:pt x="710" y="2467"/>
                      </a:lnTo>
                      <a:lnTo>
                        <a:pt x="707" y="2462"/>
                      </a:lnTo>
                      <a:lnTo>
                        <a:pt x="707" y="2459"/>
                      </a:lnTo>
                      <a:lnTo>
                        <a:pt x="707" y="2447"/>
                      </a:lnTo>
                      <a:lnTo>
                        <a:pt x="712" y="2426"/>
                      </a:lnTo>
                      <a:lnTo>
                        <a:pt x="718" y="2419"/>
                      </a:lnTo>
                      <a:lnTo>
                        <a:pt x="726" y="2419"/>
                      </a:lnTo>
                      <a:lnTo>
                        <a:pt x="731" y="2417"/>
                      </a:lnTo>
                      <a:lnTo>
                        <a:pt x="731" y="2411"/>
                      </a:lnTo>
                      <a:lnTo>
                        <a:pt x="731" y="2406"/>
                      </a:lnTo>
                      <a:lnTo>
                        <a:pt x="728" y="2403"/>
                      </a:lnTo>
                      <a:lnTo>
                        <a:pt x="726" y="2403"/>
                      </a:lnTo>
                      <a:lnTo>
                        <a:pt x="712" y="2401"/>
                      </a:lnTo>
                      <a:lnTo>
                        <a:pt x="704" y="2403"/>
                      </a:lnTo>
                      <a:lnTo>
                        <a:pt x="695" y="2409"/>
                      </a:lnTo>
                      <a:lnTo>
                        <a:pt x="687" y="2411"/>
                      </a:lnTo>
                      <a:lnTo>
                        <a:pt x="654" y="2409"/>
                      </a:lnTo>
                      <a:lnTo>
                        <a:pt x="646" y="2409"/>
                      </a:lnTo>
                      <a:lnTo>
                        <a:pt x="634" y="2398"/>
                      </a:lnTo>
                      <a:lnTo>
                        <a:pt x="632" y="2395"/>
                      </a:lnTo>
                      <a:lnTo>
                        <a:pt x="626" y="2384"/>
                      </a:lnTo>
                      <a:lnTo>
                        <a:pt x="618" y="2381"/>
                      </a:lnTo>
                      <a:lnTo>
                        <a:pt x="608" y="2378"/>
                      </a:lnTo>
                      <a:lnTo>
                        <a:pt x="605" y="2381"/>
                      </a:lnTo>
                      <a:lnTo>
                        <a:pt x="596" y="2381"/>
                      </a:lnTo>
                      <a:lnTo>
                        <a:pt x="585" y="2384"/>
                      </a:lnTo>
                      <a:lnTo>
                        <a:pt x="577" y="2386"/>
                      </a:lnTo>
                      <a:lnTo>
                        <a:pt x="577" y="2390"/>
                      </a:lnTo>
                      <a:lnTo>
                        <a:pt x="572" y="2390"/>
                      </a:lnTo>
                      <a:lnTo>
                        <a:pt x="544" y="2390"/>
                      </a:lnTo>
                      <a:lnTo>
                        <a:pt x="529" y="2386"/>
                      </a:lnTo>
                      <a:lnTo>
                        <a:pt x="527" y="2386"/>
                      </a:lnTo>
                      <a:lnTo>
                        <a:pt x="513" y="2386"/>
                      </a:lnTo>
                      <a:lnTo>
                        <a:pt x="511" y="2386"/>
                      </a:lnTo>
                      <a:lnTo>
                        <a:pt x="494" y="2390"/>
                      </a:lnTo>
                      <a:lnTo>
                        <a:pt x="486" y="2395"/>
                      </a:lnTo>
                      <a:lnTo>
                        <a:pt x="478" y="2395"/>
                      </a:lnTo>
                      <a:lnTo>
                        <a:pt x="469" y="2395"/>
                      </a:lnTo>
                      <a:lnTo>
                        <a:pt x="464" y="2393"/>
                      </a:lnTo>
                      <a:lnTo>
                        <a:pt x="442" y="2384"/>
                      </a:lnTo>
                      <a:lnTo>
                        <a:pt x="419" y="2386"/>
                      </a:lnTo>
                      <a:lnTo>
                        <a:pt x="414" y="2384"/>
                      </a:lnTo>
                      <a:lnTo>
                        <a:pt x="409" y="2384"/>
                      </a:lnTo>
                      <a:lnTo>
                        <a:pt x="406" y="2381"/>
                      </a:lnTo>
                      <a:lnTo>
                        <a:pt x="395" y="2370"/>
                      </a:lnTo>
                      <a:lnTo>
                        <a:pt x="389" y="2367"/>
                      </a:lnTo>
                      <a:lnTo>
                        <a:pt x="386" y="2365"/>
                      </a:lnTo>
                      <a:lnTo>
                        <a:pt x="383" y="2365"/>
                      </a:lnTo>
                      <a:lnTo>
                        <a:pt x="370" y="2365"/>
                      </a:lnTo>
                      <a:lnTo>
                        <a:pt x="362" y="2367"/>
                      </a:lnTo>
                      <a:lnTo>
                        <a:pt x="358" y="2367"/>
                      </a:lnTo>
                      <a:lnTo>
                        <a:pt x="356" y="2365"/>
                      </a:lnTo>
                      <a:lnTo>
                        <a:pt x="345" y="2362"/>
                      </a:lnTo>
                      <a:lnTo>
                        <a:pt x="337" y="2362"/>
                      </a:lnTo>
                      <a:lnTo>
                        <a:pt x="326" y="2367"/>
                      </a:lnTo>
                      <a:lnTo>
                        <a:pt x="309" y="2362"/>
                      </a:lnTo>
                      <a:lnTo>
                        <a:pt x="298" y="2365"/>
                      </a:lnTo>
                      <a:lnTo>
                        <a:pt x="296" y="2365"/>
                      </a:lnTo>
                      <a:lnTo>
                        <a:pt x="289" y="2362"/>
                      </a:lnTo>
                      <a:lnTo>
                        <a:pt x="281" y="2362"/>
                      </a:lnTo>
                      <a:lnTo>
                        <a:pt x="281" y="2357"/>
                      </a:lnTo>
                      <a:lnTo>
                        <a:pt x="273" y="2353"/>
                      </a:lnTo>
                      <a:lnTo>
                        <a:pt x="256" y="2334"/>
                      </a:lnTo>
                      <a:lnTo>
                        <a:pt x="248" y="2332"/>
                      </a:lnTo>
                      <a:lnTo>
                        <a:pt x="240" y="2329"/>
                      </a:lnTo>
                      <a:lnTo>
                        <a:pt x="235" y="2326"/>
                      </a:lnTo>
                      <a:lnTo>
                        <a:pt x="229" y="2329"/>
                      </a:lnTo>
                      <a:lnTo>
                        <a:pt x="224" y="2332"/>
                      </a:lnTo>
                      <a:lnTo>
                        <a:pt x="215" y="2332"/>
                      </a:lnTo>
                      <a:lnTo>
                        <a:pt x="210" y="2334"/>
                      </a:lnTo>
                      <a:lnTo>
                        <a:pt x="204" y="2340"/>
                      </a:lnTo>
                      <a:lnTo>
                        <a:pt x="196" y="2340"/>
                      </a:lnTo>
                      <a:lnTo>
                        <a:pt x="191" y="2340"/>
                      </a:lnTo>
                      <a:lnTo>
                        <a:pt x="187" y="2345"/>
                      </a:lnTo>
                      <a:lnTo>
                        <a:pt x="179" y="2357"/>
                      </a:lnTo>
                      <a:lnTo>
                        <a:pt x="174" y="2359"/>
                      </a:lnTo>
                      <a:lnTo>
                        <a:pt x="168" y="2365"/>
                      </a:lnTo>
                      <a:lnTo>
                        <a:pt x="160" y="2378"/>
                      </a:lnTo>
                      <a:lnTo>
                        <a:pt x="158" y="2378"/>
                      </a:lnTo>
                      <a:lnTo>
                        <a:pt x="151" y="2381"/>
                      </a:lnTo>
                      <a:lnTo>
                        <a:pt x="149" y="2381"/>
                      </a:lnTo>
                      <a:lnTo>
                        <a:pt x="130" y="2386"/>
                      </a:lnTo>
                      <a:lnTo>
                        <a:pt x="107" y="2393"/>
                      </a:lnTo>
                      <a:lnTo>
                        <a:pt x="102" y="2393"/>
                      </a:lnTo>
                      <a:lnTo>
                        <a:pt x="102" y="2395"/>
                      </a:lnTo>
                      <a:lnTo>
                        <a:pt x="94" y="2401"/>
                      </a:lnTo>
                      <a:lnTo>
                        <a:pt x="82" y="2403"/>
                      </a:lnTo>
                      <a:lnTo>
                        <a:pt x="80" y="2406"/>
                      </a:lnTo>
                      <a:lnTo>
                        <a:pt x="72" y="2414"/>
                      </a:lnTo>
                      <a:lnTo>
                        <a:pt x="66" y="2414"/>
                      </a:lnTo>
                      <a:lnTo>
                        <a:pt x="61" y="2414"/>
                      </a:lnTo>
                      <a:lnTo>
                        <a:pt x="55" y="2414"/>
                      </a:lnTo>
                      <a:lnTo>
                        <a:pt x="55" y="2419"/>
                      </a:lnTo>
                      <a:lnTo>
                        <a:pt x="46" y="2426"/>
                      </a:lnTo>
                      <a:lnTo>
                        <a:pt x="41" y="2431"/>
                      </a:lnTo>
                      <a:lnTo>
                        <a:pt x="38" y="2431"/>
                      </a:lnTo>
                      <a:lnTo>
                        <a:pt x="33" y="2431"/>
                      </a:lnTo>
                      <a:lnTo>
                        <a:pt x="33" y="2434"/>
                      </a:lnTo>
                      <a:lnTo>
                        <a:pt x="20" y="2453"/>
                      </a:lnTo>
                      <a:lnTo>
                        <a:pt x="17" y="2447"/>
                      </a:lnTo>
                      <a:lnTo>
                        <a:pt x="11" y="2439"/>
                      </a:lnTo>
                      <a:lnTo>
                        <a:pt x="13" y="2436"/>
                      </a:lnTo>
                      <a:lnTo>
                        <a:pt x="17" y="2428"/>
                      </a:lnTo>
                      <a:lnTo>
                        <a:pt x="17" y="2417"/>
                      </a:lnTo>
                      <a:lnTo>
                        <a:pt x="11" y="2403"/>
                      </a:lnTo>
                      <a:lnTo>
                        <a:pt x="20" y="2384"/>
                      </a:lnTo>
                      <a:lnTo>
                        <a:pt x="20" y="2381"/>
                      </a:lnTo>
                      <a:lnTo>
                        <a:pt x="20" y="2378"/>
                      </a:lnTo>
                      <a:lnTo>
                        <a:pt x="20" y="2375"/>
                      </a:lnTo>
                      <a:lnTo>
                        <a:pt x="13" y="2367"/>
                      </a:lnTo>
                      <a:lnTo>
                        <a:pt x="11" y="2362"/>
                      </a:lnTo>
                      <a:lnTo>
                        <a:pt x="11" y="2350"/>
                      </a:lnTo>
                      <a:lnTo>
                        <a:pt x="11" y="2337"/>
                      </a:lnTo>
                      <a:lnTo>
                        <a:pt x="5" y="2332"/>
                      </a:lnTo>
                      <a:lnTo>
                        <a:pt x="5" y="2329"/>
                      </a:lnTo>
                      <a:lnTo>
                        <a:pt x="5" y="2329"/>
                      </a:lnTo>
                      <a:close/>
                    </a:path>
                  </a:pathLst>
                </a:custGeom>
                <a:grpFill/>
                <a:ln w="12700" cap="flat" cmpd="sng" algn="ctr">
                  <a:solidFill>
                    <a:schemeClr val="bg1">
                      <a:lumMod val="85000"/>
                    </a:schemeClr>
                  </a:solidFill>
                  <a:prstDash val="solid"/>
                  <a:round/>
                  <a:headEnd type="none" w="med" len="med"/>
                  <a:tailEnd type="none" w="med" len="med"/>
                </a:ln>
              </p:spPr>
            </p:sp>
            <p:sp>
              <p:nvSpPr>
                <p:cNvPr id="52" name="ee4p_BR_13"/>
                <p:cNvSpPr>
                  <a:spLocks noEditPoints="1"/>
                </p:cNvSpPr>
                <p:nvPr>
                  <p:custDataLst>
                    <p:tags r:id="rId14"/>
                  </p:custDataLst>
                </p:nvPr>
              </p:nvSpPr>
              <p:spPr bwMode="auto">
                <a:xfrm>
                  <a:off x="4096162" y="1858381"/>
                  <a:ext cx="1348832" cy="1461233"/>
                </a:xfrm>
                <a:custGeom>
                  <a:avLst/>
                  <a:gdLst/>
                  <a:ahLst/>
                  <a:cxnLst>
                    <a:cxn ang="0">
                      <a:pos x="169" y="542"/>
                    </a:cxn>
                    <a:cxn ang="0">
                      <a:pos x="284" y="430"/>
                    </a:cxn>
                    <a:cxn ang="0">
                      <a:pos x="426" y="384"/>
                    </a:cxn>
                    <a:cxn ang="0">
                      <a:pos x="566" y="351"/>
                    </a:cxn>
                    <a:cxn ang="0">
                      <a:pos x="731" y="240"/>
                    </a:cxn>
                    <a:cxn ang="0">
                      <a:pos x="900" y="284"/>
                    </a:cxn>
                    <a:cxn ang="0">
                      <a:pos x="1124" y="309"/>
                    </a:cxn>
                    <a:cxn ang="0">
                      <a:pos x="1178" y="191"/>
                    </a:cxn>
                    <a:cxn ang="0">
                      <a:pos x="1173" y="80"/>
                    </a:cxn>
                    <a:cxn ang="0">
                      <a:pos x="1369" y="69"/>
                    </a:cxn>
                    <a:cxn ang="0">
                      <a:pos x="1662" y="227"/>
                    </a:cxn>
                    <a:cxn ang="0">
                      <a:pos x="1800" y="353"/>
                    </a:cxn>
                    <a:cxn ang="0">
                      <a:pos x="1941" y="414"/>
                    </a:cxn>
                    <a:cxn ang="0">
                      <a:pos x="2049" y="499"/>
                    </a:cxn>
                    <a:cxn ang="0">
                      <a:pos x="2172" y="550"/>
                    </a:cxn>
                    <a:cxn ang="0">
                      <a:pos x="2338" y="795"/>
                    </a:cxn>
                    <a:cxn ang="0">
                      <a:pos x="2465" y="1164"/>
                    </a:cxn>
                    <a:cxn ang="0">
                      <a:pos x="2642" y="1460"/>
                    </a:cxn>
                    <a:cxn ang="0">
                      <a:pos x="2821" y="1575"/>
                    </a:cxn>
                    <a:cxn ang="0">
                      <a:pos x="3219" y="1074"/>
                    </a:cxn>
                    <a:cxn ang="0">
                      <a:pos x="3699" y="946"/>
                    </a:cxn>
                    <a:cxn ang="0">
                      <a:pos x="4075" y="1179"/>
                    </a:cxn>
                    <a:cxn ang="0">
                      <a:pos x="4450" y="1350"/>
                    </a:cxn>
                    <a:cxn ang="0">
                      <a:pos x="4522" y="1335"/>
                    </a:cxn>
                    <a:cxn ang="0">
                      <a:pos x="4621" y="1360"/>
                    </a:cxn>
                    <a:cxn ang="0">
                      <a:pos x="4717" y="1358"/>
                    </a:cxn>
                    <a:cxn ang="0">
                      <a:pos x="4778" y="1391"/>
                    </a:cxn>
                    <a:cxn ang="0">
                      <a:pos x="4826" y="1396"/>
                    </a:cxn>
                    <a:cxn ang="0">
                      <a:pos x="4883" y="1419"/>
                    </a:cxn>
                    <a:cxn ang="0">
                      <a:pos x="4924" y="1457"/>
                    </a:cxn>
                    <a:cxn ang="0">
                      <a:pos x="4980" y="1424"/>
                    </a:cxn>
                    <a:cxn ang="0">
                      <a:pos x="5015" y="1471"/>
                    </a:cxn>
                    <a:cxn ang="0">
                      <a:pos x="5051" y="1488"/>
                    </a:cxn>
                    <a:cxn ang="0">
                      <a:pos x="5090" y="1515"/>
                    </a:cxn>
                    <a:cxn ang="0">
                      <a:pos x="5140" y="1468"/>
                    </a:cxn>
                    <a:cxn ang="0">
                      <a:pos x="5179" y="1504"/>
                    </a:cxn>
                    <a:cxn ang="0">
                      <a:pos x="5176" y="1623"/>
                    </a:cxn>
                    <a:cxn ang="0">
                      <a:pos x="5159" y="1854"/>
                    </a:cxn>
                    <a:cxn ang="0">
                      <a:pos x="5068" y="2133"/>
                    </a:cxn>
                    <a:cxn ang="0">
                      <a:pos x="4999" y="2268"/>
                    </a:cxn>
                    <a:cxn ang="0">
                      <a:pos x="4966" y="2368"/>
                    </a:cxn>
                    <a:cxn ang="0">
                      <a:pos x="4895" y="2486"/>
                    </a:cxn>
                    <a:cxn ang="0">
                      <a:pos x="4826" y="2580"/>
                    </a:cxn>
                    <a:cxn ang="0">
                      <a:pos x="4759" y="2748"/>
                    </a:cxn>
                    <a:cxn ang="0">
                      <a:pos x="4654" y="2889"/>
                    </a:cxn>
                    <a:cxn ang="0">
                      <a:pos x="4165" y="3344"/>
                    </a:cxn>
                    <a:cxn ang="0">
                      <a:pos x="4312" y="3534"/>
                    </a:cxn>
                    <a:cxn ang="0">
                      <a:pos x="4168" y="3822"/>
                    </a:cxn>
                    <a:cxn ang="0">
                      <a:pos x="3870" y="4227"/>
                    </a:cxn>
                    <a:cxn ang="0">
                      <a:pos x="3837" y="4705"/>
                    </a:cxn>
                    <a:cxn ang="0">
                      <a:pos x="3556" y="5140"/>
                    </a:cxn>
                    <a:cxn ang="0">
                      <a:pos x="746" y="4930"/>
                    </a:cxn>
                    <a:cxn ang="0">
                      <a:pos x="491" y="4613"/>
                    </a:cxn>
                    <a:cxn ang="0">
                      <a:pos x="255" y="4053"/>
                    </a:cxn>
                    <a:cxn ang="0">
                      <a:pos x="1007" y="2067"/>
                    </a:cxn>
                    <a:cxn ang="0">
                      <a:pos x="920" y="2012"/>
                    </a:cxn>
                    <a:cxn ang="0">
                      <a:pos x="693" y="1810"/>
                    </a:cxn>
                    <a:cxn ang="0">
                      <a:pos x="503" y="1749"/>
                    </a:cxn>
                    <a:cxn ang="0">
                      <a:pos x="360" y="1559"/>
                    </a:cxn>
                    <a:cxn ang="0">
                      <a:pos x="166" y="1447"/>
                    </a:cxn>
                    <a:cxn ang="0">
                      <a:pos x="8" y="1212"/>
                    </a:cxn>
                    <a:cxn ang="0">
                      <a:pos x="5112" y="1485"/>
                    </a:cxn>
                  </a:cxnLst>
                  <a:rect l="0" t="0" r="r" b="b"/>
                  <a:pathLst>
                    <a:path w="5217" h="5209">
                      <a:moveTo>
                        <a:pt x="0" y="571"/>
                      </a:moveTo>
                      <a:lnTo>
                        <a:pt x="5" y="571"/>
                      </a:lnTo>
                      <a:lnTo>
                        <a:pt x="8" y="575"/>
                      </a:lnTo>
                      <a:lnTo>
                        <a:pt x="12" y="583"/>
                      </a:lnTo>
                      <a:lnTo>
                        <a:pt x="14" y="583"/>
                      </a:lnTo>
                      <a:lnTo>
                        <a:pt x="17" y="591"/>
                      </a:lnTo>
                      <a:lnTo>
                        <a:pt x="20" y="591"/>
                      </a:lnTo>
                      <a:lnTo>
                        <a:pt x="25" y="588"/>
                      </a:lnTo>
                      <a:lnTo>
                        <a:pt x="28" y="591"/>
                      </a:lnTo>
                      <a:lnTo>
                        <a:pt x="28" y="596"/>
                      </a:lnTo>
                      <a:lnTo>
                        <a:pt x="31" y="596"/>
                      </a:lnTo>
                      <a:lnTo>
                        <a:pt x="36" y="591"/>
                      </a:lnTo>
                      <a:lnTo>
                        <a:pt x="39" y="593"/>
                      </a:lnTo>
                      <a:lnTo>
                        <a:pt x="41" y="588"/>
                      </a:lnTo>
                      <a:lnTo>
                        <a:pt x="48" y="588"/>
                      </a:lnTo>
                      <a:lnTo>
                        <a:pt x="50" y="591"/>
                      </a:lnTo>
                      <a:lnTo>
                        <a:pt x="53" y="585"/>
                      </a:lnTo>
                      <a:lnTo>
                        <a:pt x="58" y="580"/>
                      </a:lnTo>
                      <a:lnTo>
                        <a:pt x="64" y="585"/>
                      </a:lnTo>
                      <a:lnTo>
                        <a:pt x="74" y="568"/>
                      </a:lnTo>
                      <a:lnTo>
                        <a:pt x="72" y="566"/>
                      </a:lnTo>
                      <a:lnTo>
                        <a:pt x="72" y="560"/>
                      </a:lnTo>
                      <a:lnTo>
                        <a:pt x="74" y="550"/>
                      </a:lnTo>
                      <a:lnTo>
                        <a:pt x="74" y="547"/>
                      </a:lnTo>
                      <a:lnTo>
                        <a:pt x="77" y="544"/>
                      </a:lnTo>
                      <a:lnTo>
                        <a:pt x="83" y="544"/>
                      </a:lnTo>
                      <a:lnTo>
                        <a:pt x="89" y="544"/>
                      </a:lnTo>
                      <a:lnTo>
                        <a:pt x="89" y="550"/>
                      </a:lnTo>
                      <a:lnTo>
                        <a:pt x="94" y="552"/>
                      </a:lnTo>
                      <a:lnTo>
                        <a:pt x="100" y="547"/>
                      </a:lnTo>
                      <a:lnTo>
                        <a:pt x="105" y="550"/>
                      </a:lnTo>
                      <a:lnTo>
                        <a:pt x="108" y="547"/>
                      </a:lnTo>
                      <a:lnTo>
                        <a:pt x="113" y="550"/>
                      </a:lnTo>
                      <a:lnTo>
                        <a:pt x="117" y="552"/>
                      </a:lnTo>
                      <a:lnTo>
                        <a:pt x="125" y="555"/>
                      </a:lnTo>
                      <a:lnTo>
                        <a:pt x="125" y="558"/>
                      </a:lnTo>
                      <a:lnTo>
                        <a:pt x="127" y="558"/>
                      </a:lnTo>
                      <a:lnTo>
                        <a:pt x="130" y="552"/>
                      </a:lnTo>
                      <a:lnTo>
                        <a:pt x="130" y="550"/>
                      </a:lnTo>
                      <a:lnTo>
                        <a:pt x="133" y="550"/>
                      </a:lnTo>
                      <a:lnTo>
                        <a:pt x="135" y="544"/>
                      </a:lnTo>
                      <a:lnTo>
                        <a:pt x="135" y="547"/>
                      </a:lnTo>
                      <a:lnTo>
                        <a:pt x="141" y="547"/>
                      </a:lnTo>
                      <a:lnTo>
                        <a:pt x="143" y="547"/>
                      </a:lnTo>
                      <a:lnTo>
                        <a:pt x="146" y="555"/>
                      </a:lnTo>
                      <a:lnTo>
                        <a:pt x="146" y="558"/>
                      </a:lnTo>
                      <a:lnTo>
                        <a:pt x="150" y="555"/>
                      </a:lnTo>
                      <a:lnTo>
                        <a:pt x="152" y="560"/>
                      </a:lnTo>
                      <a:lnTo>
                        <a:pt x="152" y="555"/>
                      </a:lnTo>
                      <a:lnTo>
                        <a:pt x="155" y="552"/>
                      </a:lnTo>
                      <a:lnTo>
                        <a:pt x="161" y="555"/>
                      </a:lnTo>
                      <a:lnTo>
                        <a:pt x="163" y="555"/>
                      </a:lnTo>
                      <a:lnTo>
                        <a:pt x="163" y="544"/>
                      </a:lnTo>
                      <a:lnTo>
                        <a:pt x="169" y="542"/>
                      </a:lnTo>
                      <a:lnTo>
                        <a:pt x="171" y="539"/>
                      </a:lnTo>
                      <a:lnTo>
                        <a:pt x="171" y="535"/>
                      </a:lnTo>
                      <a:lnTo>
                        <a:pt x="171" y="522"/>
                      </a:lnTo>
                      <a:lnTo>
                        <a:pt x="177" y="514"/>
                      </a:lnTo>
                      <a:lnTo>
                        <a:pt x="174" y="511"/>
                      </a:lnTo>
                      <a:lnTo>
                        <a:pt x="174" y="514"/>
                      </a:lnTo>
                      <a:lnTo>
                        <a:pt x="166" y="508"/>
                      </a:lnTo>
                      <a:lnTo>
                        <a:pt x="169" y="506"/>
                      </a:lnTo>
                      <a:lnTo>
                        <a:pt x="158" y="499"/>
                      </a:lnTo>
                      <a:lnTo>
                        <a:pt x="158" y="497"/>
                      </a:lnTo>
                      <a:lnTo>
                        <a:pt x="161" y="494"/>
                      </a:lnTo>
                      <a:lnTo>
                        <a:pt x="161" y="491"/>
                      </a:lnTo>
                      <a:lnTo>
                        <a:pt x="163" y="489"/>
                      </a:lnTo>
                      <a:lnTo>
                        <a:pt x="161" y="483"/>
                      </a:lnTo>
                      <a:lnTo>
                        <a:pt x="158" y="481"/>
                      </a:lnTo>
                      <a:lnTo>
                        <a:pt x="158" y="475"/>
                      </a:lnTo>
                      <a:lnTo>
                        <a:pt x="163" y="473"/>
                      </a:lnTo>
                      <a:lnTo>
                        <a:pt x="166" y="475"/>
                      </a:lnTo>
                      <a:lnTo>
                        <a:pt x="171" y="475"/>
                      </a:lnTo>
                      <a:lnTo>
                        <a:pt x="177" y="473"/>
                      </a:lnTo>
                      <a:lnTo>
                        <a:pt x="182" y="478"/>
                      </a:lnTo>
                      <a:lnTo>
                        <a:pt x="186" y="473"/>
                      </a:lnTo>
                      <a:lnTo>
                        <a:pt x="191" y="473"/>
                      </a:lnTo>
                      <a:lnTo>
                        <a:pt x="194" y="473"/>
                      </a:lnTo>
                      <a:lnTo>
                        <a:pt x="207" y="473"/>
                      </a:lnTo>
                      <a:lnTo>
                        <a:pt x="212" y="466"/>
                      </a:lnTo>
                      <a:lnTo>
                        <a:pt x="210" y="463"/>
                      </a:lnTo>
                      <a:lnTo>
                        <a:pt x="207" y="463"/>
                      </a:lnTo>
                      <a:lnTo>
                        <a:pt x="204" y="458"/>
                      </a:lnTo>
                      <a:lnTo>
                        <a:pt x="204" y="455"/>
                      </a:lnTo>
                      <a:lnTo>
                        <a:pt x="207" y="453"/>
                      </a:lnTo>
                      <a:lnTo>
                        <a:pt x="204" y="450"/>
                      </a:lnTo>
                      <a:lnTo>
                        <a:pt x="204" y="445"/>
                      </a:lnTo>
                      <a:lnTo>
                        <a:pt x="215" y="442"/>
                      </a:lnTo>
                      <a:lnTo>
                        <a:pt x="219" y="439"/>
                      </a:lnTo>
                      <a:lnTo>
                        <a:pt x="219" y="437"/>
                      </a:lnTo>
                      <a:lnTo>
                        <a:pt x="219" y="433"/>
                      </a:lnTo>
                      <a:lnTo>
                        <a:pt x="224" y="430"/>
                      </a:lnTo>
                      <a:lnTo>
                        <a:pt x="224" y="428"/>
                      </a:lnTo>
                      <a:lnTo>
                        <a:pt x="227" y="425"/>
                      </a:lnTo>
                      <a:lnTo>
                        <a:pt x="230" y="420"/>
                      </a:lnTo>
                      <a:lnTo>
                        <a:pt x="232" y="417"/>
                      </a:lnTo>
                      <a:lnTo>
                        <a:pt x="238" y="420"/>
                      </a:lnTo>
                      <a:lnTo>
                        <a:pt x="235" y="430"/>
                      </a:lnTo>
                      <a:lnTo>
                        <a:pt x="246" y="430"/>
                      </a:lnTo>
                      <a:lnTo>
                        <a:pt x="246" y="428"/>
                      </a:lnTo>
                      <a:lnTo>
                        <a:pt x="255" y="430"/>
                      </a:lnTo>
                      <a:lnTo>
                        <a:pt x="257" y="428"/>
                      </a:lnTo>
                      <a:lnTo>
                        <a:pt x="260" y="430"/>
                      </a:lnTo>
                      <a:lnTo>
                        <a:pt x="260" y="433"/>
                      </a:lnTo>
                      <a:lnTo>
                        <a:pt x="265" y="437"/>
                      </a:lnTo>
                      <a:lnTo>
                        <a:pt x="268" y="439"/>
                      </a:lnTo>
                      <a:lnTo>
                        <a:pt x="279" y="430"/>
                      </a:lnTo>
                      <a:lnTo>
                        <a:pt x="284" y="430"/>
                      </a:lnTo>
                      <a:lnTo>
                        <a:pt x="284" y="428"/>
                      </a:lnTo>
                      <a:lnTo>
                        <a:pt x="290" y="430"/>
                      </a:lnTo>
                      <a:lnTo>
                        <a:pt x="298" y="433"/>
                      </a:lnTo>
                      <a:lnTo>
                        <a:pt x="301" y="439"/>
                      </a:lnTo>
                      <a:lnTo>
                        <a:pt x="301" y="442"/>
                      </a:lnTo>
                      <a:lnTo>
                        <a:pt x="301" y="447"/>
                      </a:lnTo>
                      <a:lnTo>
                        <a:pt x="304" y="453"/>
                      </a:lnTo>
                      <a:lnTo>
                        <a:pt x="304" y="455"/>
                      </a:lnTo>
                      <a:lnTo>
                        <a:pt x="312" y="458"/>
                      </a:lnTo>
                      <a:lnTo>
                        <a:pt x="317" y="458"/>
                      </a:lnTo>
                      <a:lnTo>
                        <a:pt x="324" y="453"/>
                      </a:lnTo>
                      <a:lnTo>
                        <a:pt x="329" y="453"/>
                      </a:lnTo>
                      <a:lnTo>
                        <a:pt x="329" y="455"/>
                      </a:lnTo>
                      <a:lnTo>
                        <a:pt x="337" y="455"/>
                      </a:lnTo>
                      <a:lnTo>
                        <a:pt x="337" y="450"/>
                      </a:lnTo>
                      <a:lnTo>
                        <a:pt x="340" y="447"/>
                      </a:lnTo>
                      <a:lnTo>
                        <a:pt x="348" y="450"/>
                      </a:lnTo>
                      <a:lnTo>
                        <a:pt x="353" y="455"/>
                      </a:lnTo>
                      <a:lnTo>
                        <a:pt x="353" y="453"/>
                      </a:lnTo>
                      <a:lnTo>
                        <a:pt x="362" y="458"/>
                      </a:lnTo>
                      <a:lnTo>
                        <a:pt x="362" y="453"/>
                      </a:lnTo>
                      <a:lnTo>
                        <a:pt x="365" y="450"/>
                      </a:lnTo>
                      <a:lnTo>
                        <a:pt x="365" y="447"/>
                      </a:lnTo>
                      <a:lnTo>
                        <a:pt x="370" y="439"/>
                      </a:lnTo>
                      <a:lnTo>
                        <a:pt x="367" y="437"/>
                      </a:lnTo>
                      <a:lnTo>
                        <a:pt x="370" y="433"/>
                      </a:lnTo>
                      <a:lnTo>
                        <a:pt x="367" y="430"/>
                      </a:lnTo>
                      <a:lnTo>
                        <a:pt x="370" y="430"/>
                      </a:lnTo>
                      <a:lnTo>
                        <a:pt x="373" y="428"/>
                      </a:lnTo>
                      <a:lnTo>
                        <a:pt x="370" y="422"/>
                      </a:lnTo>
                      <a:lnTo>
                        <a:pt x="373" y="417"/>
                      </a:lnTo>
                      <a:lnTo>
                        <a:pt x="370" y="409"/>
                      </a:lnTo>
                      <a:lnTo>
                        <a:pt x="373" y="409"/>
                      </a:lnTo>
                      <a:lnTo>
                        <a:pt x="373" y="404"/>
                      </a:lnTo>
                      <a:lnTo>
                        <a:pt x="362" y="397"/>
                      </a:lnTo>
                      <a:lnTo>
                        <a:pt x="365" y="395"/>
                      </a:lnTo>
                      <a:lnTo>
                        <a:pt x="367" y="395"/>
                      </a:lnTo>
                      <a:lnTo>
                        <a:pt x="367" y="392"/>
                      </a:lnTo>
                      <a:lnTo>
                        <a:pt x="373" y="392"/>
                      </a:lnTo>
                      <a:lnTo>
                        <a:pt x="376" y="395"/>
                      </a:lnTo>
                      <a:lnTo>
                        <a:pt x="378" y="392"/>
                      </a:lnTo>
                      <a:lnTo>
                        <a:pt x="381" y="395"/>
                      </a:lnTo>
                      <a:lnTo>
                        <a:pt x="384" y="397"/>
                      </a:lnTo>
                      <a:lnTo>
                        <a:pt x="395" y="397"/>
                      </a:lnTo>
                      <a:lnTo>
                        <a:pt x="401" y="397"/>
                      </a:lnTo>
                      <a:lnTo>
                        <a:pt x="403" y="392"/>
                      </a:lnTo>
                      <a:lnTo>
                        <a:pt x="403" y="389"/>
                      </a:lnTo>
                      <a:lnTo>
                        <a:pt x="406" y="386"/>
                      </a:lnTo>
                      <a:lnTo>
                        <a:pt x="409" y="386"/>
                      </a:lnTo>
                      <a:lnTo>
                        <a:pt x="411" y="386"/>
                      </a:lnTo>
                      <a:lnTo>
                        <a:pt x="414" y="386"/>
                      </a:lnTo>
                      <a:lnTo>
                        <a:pt x="414" y="384"/>
                      </a:lnTo>
                      <a:lnTo>
                        <a:pt x="426" y="389"/>
                      </a:lnTo>
                      <a:lnTo>
                        <a:pt x="426" y="384"/>
                      </a:lnTo>
                      <a:lnTo>
                        <a:pt x="428" y="378"/>
                      </a:lnTo>
                      <a:lnTo>
                        <a:pt x="428" y="381"/>
                      </a:lnTo>
                      <a:lnTo>
                        <a:pt x="431" y="381"/>
                      </a:lnTo>
                      <a:lnTo>
                        <a:pt x="436" y="381"/>
                      </a:lnTo>
                      <a:lnTo>
                        <a:pt x="442" y="378"/>
                      </a:lnTo>
                      <a:lnTo>
                        <a:pt x="445" y="381"/>
                      </a:lnTo>
                      <a:lnTo>
                        <a:pt x="447" y="378"/>
                      </a:lnTo>
                      <a:lnTo>
                        <a:pt x="445" y="373"/>
                      </a:lnTo>
                      <a:lnTo>
                        <a:pt x="447" y="373"/>
                      </a:lnTo>
                      <a:lnTo>
                        <a:pt x="447" y="365"/>
                      </a:lnTo>
                      <a:lnTo>
                        <a:pt x="453" y="368"/>
                      </a:lnTo>
                      <a:lnTo>
                        <a:pt x="455" y="361"/>
                      </a:lnTo>
                      <a:lnTo>
                        <a:pt x="459" y="365"/>
                      </a:lnTo>
                      <a:lnTo>
                        <a:pt x="462" y="365"/>
                      </a:lnTo>
                      <a:lnTo>
                        <a:pt x="462" y="368"/>
                      </a:lnTo>
                      <a:lnTo>
                        <a:pt x="467" y="365"/>
                      </a:lnTo>
                      <a:lnTo>
                        <a:pt x="472" y="368"/>
                      </a:lnTo>
                      <a:lnTo>
                        <a:pt x="478" y="365"/>
                      </a:lnTo>
                      <a:lnTo>
                        <a:pt x="480" y="368"/>
                      </a:lnTo>
                      <a:lnTo>
                        <a:pt x="478" y="368"/>
                      </a:lnTo>
                      <a:lnTo>
                        <a:pt x="483" y="368"/>
                      </a:lnTo>
                      <a:lnTo>
                        <a:pt x="480" y="361"/>
                      </a:lnTo>
                      <a:lnTo>
                        <a:pt x="483" y="361"/>
                      </a:lnTo>
                      <a:lnTo>
                        <a:pt x="486" y="368"/>
                      </a:lnTo>
                      <a:lnTo>
                        <a:pt x="486" y="370"/>
                      </a:lnTo>
                      <a:lnTo>
                        <a:pt x="491" y="373"/>
                      </a:lnTo>
                      <a:lnTo>
                        <a:pt x="497" y="373"/>
                      </a:lnTo>
                      <a:lnTo>
                        <a:pt x="497" y="370"/>
                      </a:lnTo>
                      <a:lnTo>
                        <a:pt x="500" y="376"/>
                      </a:lnTo>
                      <a:lnTo>
                        <a:pt x="503" y="378"/>
                      </a:lnTo>
                      <a:lnTo>
                        <a:pt x="506" y="378"/>
                      </a:lnTo>
                      <a:lnTo>
                        <a:pt x="506" y="381"/>
                      </a:lnTo>
                      <a:lnTo>
                        <a:pt x="514" y="378"/>
                      </a:lnTo>
                      <a:lnTo>
                        <a:pt x="514" y="376"/>
                      </a:lnTo>
                      <a:lnTo>
                        <a:pt x="519" y="376"/>
                      </a:lnTo>
                      <a:lnTo>
                        <a:pt x="524" y="378"/>
                      </a:lnTo>
                      <a:lnTo>
                        <a:pt x="528" y="376"/>
                      </a:lnTo>
                      <a:lnTo>
                        <a:pt x="533" y="373"/>
                      </a:lnTo>
                      <a:lnTo>
                        <a:pt x="536" y="373"/>
                      </a:lnTo>
                      <a:lnTo>
                        <a:pt x="536" y="378"/>
                      </a:lnTo>
                      <a:lnTo>
                        <a:pt x="539" y="378"/>
                      </a:lnTo>
                      <a:lnTo>
                        <a:pt x="541" y="376"/>
                      </a:lnTo>
                      <a:lnTo>
                        <a:pt x="547" y="378"/>
                      </a:lnTo>
                      <a:lnTo>
                        <a:pt x="547" y="376"/>
                      </a:lnTo>
                      <a:lnTo>
                        <a:pt x="552" y="376"/>
                      </a:lnTo>
                      <a:lnTo>
                        <a:pt x="552" y="370"/>
                      </a:lnTo>
                      <a:lnTo>
                        <a:pt x="549" y="368"/>
                      </a:lnTo>
                      <a:lnTo>
                        <a:pt x="555" y="365"/>
                      </a:lnTo>
                      <a:lnTo>
                        <a:pt x="557" y="361"/>
                      </a:lnTo>
                      <a:lnTo>
                        <a:pt x="560" y="365"/>
                      </a:lnTo>
                      <a:lnTo>
                        <a:pt x="560" y="361"/>
                      </a:lnTo>
                      <a:lnTo>
                        <a:pt x="560" y="356"/>
                      </a:lnTo>
                      <a:lnTo>
                        <a:pt x="564" y="351"/>
                      </a:lnTo>
                      <a:lnTo>
                        <a:pt x="566" y="351"/>
                      </a:lnTo>
                      <a:lnTo>
                        <a:pt x="569" y="348"/>
                      </a:lnTo>
                      <a:lnTo>
                        <a:pt x="566" y="340"/>
                      </a:lnTo>
                      <a:lnTo>
                        <a:pt x="569" y="337"/>
                      </a:lnTo>
                      <a:lnTo>
                        <a:pt x="572" y="337"/>
                      </a:lnTo>
                      <a:lnTo>
                        <a:pt x="575" y="335"/>
                      </a:lnTo>
                      <a:lnTo>
                        <a:pt x="577" y="335"/>
                      </a:lnTo>
                      <a:lnTo>
                        <a:pt x="588" y="332"/>
                      </a:lnTo>
                      <a:lnTo>
                        <a:pt x="588" y="328"/>
                      </a:lnTo>
                      <a:lnTo>
                        <a:pt x="591" y="323"/>
                      </a:lnTo>
                      <a:lnTo>
                        <a:pt x="593" y="320"/>
                      </a:lnTo>
                      <a:lnTo>
                        <a:pt x="591" y="315"/>
                      </a:lnTo>
                      <a:lnTo>
                        <a:pt x="597" y="309"/>
                      </a:lnTo>
                      <a:lnTo>
                        <a:pt x="593" y="304"/>
                      </a:lnTo>
                      <a:lnTo>
                        <a:pt x="597" y="301"/>
                      </a:lnTo>
                      <a:lnTo>
                        <a:pt x="593" y="299"/>
                      </a:lnTo>
                      <a:lnTo>
                        <a:pt x="593" y="296"/>
                      </a:lnTo>
                      <a:lnTo>
                        <a:pt x="593" y="287"/>
                      </a:lnTo>
                      <a:lnTo>
                        <a:pt x="597" y="287"/>
                      </a:lnTo>
                      <a:lnTo>
                        <a:pt x="608" y="284"/>
                      </a:lnTo>
                      <a:lnTo>
                        <a:pt x="608" y="282"/>
                      </a:lnTo>
                      <a:lnTo>
                        <a:pt x="613" y="279"/>
                      </a:lnTo>
                      <a:lnTo>
                        <a:pt x="618" y="282"/>
                      </a:lnTo>
                      <a:lnTo>
                        <a:pt x="621" y="282"/>
                      </a:lnTo>
                      <a:lnTo>
                        <a:pt x="626" y="274"/>
                      </a:lnTo>
                      <a:lnTo>
                        <a:pt x="626" y="271"/>
                      </a:lnTo>
                      <a:lnTo>
                        <a:pt x="621" y="268"/>
                      </a:lnTo>
                      <a:lnTo>
                        <a:pt x="626" y="265"/>
                      </a:lnTo>
                      <a:lnTo>
                        <a:pt x="626" y="263"/>
                      </a:lnTo>
                      <a:lnTo>
                        <a:pt x="629" y="256"/>
                      </a:lnTo>
                      <a:lnTo>
                        <a:pt x="633" y="260"/>
                      </a:lnTo>
                      <a:lnTo>
                        <a:pt x="638" y="256"/>
                      </a:lnTo>
                      <a:lnTo>
                        <a:pt x="644" y="260"/>
                      </a:lnTo>
                      <a:lnTo>
                        <a:pt x="646" y="251"/>
                      </a:lnTo>
                      <a:lnTo>
                        <a:pt x="657" y="256"/>
                      </a:lnTo>
                      <a:lnTo>
                        <a:pt x="662" y="256"/>
                      </a:lnTo>
                      <a:lnTo>
                        <a:pt x="660" y="260"/>
                      </a:lnTo>
                      <a:lnTo>
                        <a:pt x="666" y="265"/>
                      </a:lnTo>
                      <a:lnTo>
                        <a:pt x="669" y="271"/>
                      </a:lnTo>
                      <a:lnTo>
                        <a:pt x="671" y="271"/>
                      </a:lnTo>
                      <a:lnTo>
                        <a:pt x="674" y="274"/>
                      </a:lnTo>
                      <a:lnTo>
                        <a:pt x="677" y="276"/>
                      </a:lnTo>
                      <a:lnTo>
                        <a:pt x="677" y="268"/>
                      </a:lnTo>
                      <a:lnTo>
                        <a:pt x="685" y="265"/>
                      </a:lnTo>
                      <a:lnTo>
                        <a:pt x="690" y="256"/>
                      </a:lnTo>
                      <a:lnTo>
                        <a:pt x="695" y="256"/>
                      </a:lnTo>
                      <a:lnTo>
                        <a:pt x="698" y="254"/>
                      </a:lnTo>
                      <a:lnTo>
                        <a:pt x="702" y="251"/>
                      </a:lnTo>
                      <a:lnTo>
                        <a:pt x="710" y="254"/>
                      </a:lnTo>
                      <a:lnTo>
                        <a:pt x="712" y="248"/>
                      </a:lnTo>
                      <a:lnTo>
                        <a:pt x="723" y="246"/>
                      </a:lnTo>
                      <a:lnTo>
                        <a:pt x="723" y="243"/>
                      </a:lnTo>
                      <a:lnTo>
                        <a:pt x="723" y="238"/>
                      </a:lnTo>
                      <a:lnTo>
                        <a:pt x="726" y="238"/>
                      </a:lnTo>
                      <a:lnTo>
                        <a:pt x="731" y="240"/>
                      </a:lnTo>
                      <a:lnTo>
                        <a:pt x="735" y="238"/>
                      </a:lnTo>
                      <a:lnTo>
                        <a:pt x="738" y="240"/>
                      </a:lnTo>
                      <a:lnTo>
                        <a:pt x="738" y="246"/>
                      </a:lnTo>
                      <a:lnTo>
                        <a:pt x="740" y="248"/>
                      </a:lnTo>
                      <a:lnTo>
                        <a:pt x="743" y="251"/>
                      </a:lnTo>
                      <a:lnTo>
                        <a:pt x="743" y="263"/>
                      </a:lnTo>
                      <a:lnTo>
                        <a:pt x="746" y="268"/>
                      </a:lnTo>
                      <a:lnTo>
                        <a:pt x="748" y="268"/>
                      </a:lnTo>
                      <a:lnTo>
                        <a:pt x="751" y="268"/>
                      </a:lnTo>
                      <a:lnTo>
                        <a:pt x="756" y="271"/>
                      </a:lnTo>
                      <a:lnTo>
                        <a:pt x="759" y="274"/>
                      </a:lnTo>
                      <a:lnTo>
                        <a:pt x="762" y="279"/>
                      </a:lnTo>
                      <a:lnTo>
                        <a:pt x="764" y="284"/>
                      </a:lnTo>
                      <a:lnTo>
                        <a:pt x="768" y="284"/>
                      </a:lnTo>
                      <a:lnTo>
                        <a:pt x="771" y="287"/>
                      </a:lnTo>
                      <a:lnTo>
                        <a:pt x="779" y="287"/>
                      </a:lnTo>
                      <a:lnTo>
                        <a:pt x="781" y="290"/>
                      </a:lnTo>
                      <a:lnTo>
                        <a:pt x="784" y="284"/>
                      </a:lnTo>
                      <a:lnTo>
                        <a:pt x="787" y="282"/>
                      </a:lnTo>
                      <a:lnTo>
                        <a:pt x="790" y="282"/>
                      </a:lnTo>
                      <a:lnTo>
                        <a:pt x="792" y="282"/>
                      </a:lnTo>
                      <a:lnTo>
                        <a:pt x="804" y="279"/>
                      </a:lnTo>
                      <a:lnTo>
                        <a:pt x="809" y="284"/>
                      </a:lnTo>
                      <a:lnTo>
                        <a:pt x="809" y="287"/>
                      </a:lnTo>
                      <a:lnTo>
                        <a:pt x="815" y="290"/>
                      </a:lnTo>
                      <a:lnTo>
                        <a:pt x="817" y="292"/>
                      </a:lnTo>
                      <a:lnTo>
                        <a:pt x="825" y="292"/>
                      </a:lnTo>
                      <a:lnTo>
                        <a:pt x="828" y="292"/>
                      </a:lnTo>
                      <a:lnTo>
                        <a:pt x="828" y="296"/>
                      </a:lnTo>
                      <a:lnTo>
                        <a:pt x="833" y="292"/>
                      </a:lnTo>
                      <a:lnTo>
                        <a:pt x="837" y="296"/>
                      </a:lnTo>
                      <a:lnTo>
                        <a:pt x="840" y="296"/>
                      </a:lnTo>
                      <a:lnTo>
                        <a:pt x="840" y="299"/>
                      </a:lnTo>
                      <a:lnTo>
                        <a:pt x="842" y="299"/>
                      </a:lnTo>
                      <a:lnTo>
                        <a:pt x="845" y="301"/>
                      </a:lnTo>
                      <a:lnTo>
                        <a:pt x="848" y="301"/>
                      </a:lnTo>
                      <a:lnTo>
                        <a:pt x="853" y="304"/>
                      </a:lnTo>
                      <a:lnTo>
                        <a:pt x="850" y="304"/>
                      </a:lnTo>
                      <a:lnTo>
                        <a:pt x="853" y="307"/>
                      </a:lnTo>
                      <a:lnTo>
                        <a:pt x="853" y="309"/>
                      </a:lnTo>
                      <a:lnTo>
                        <a:pt x="856" y="312"/>
                      </a:lnTo>
                      <a:lnTo>
                        <a:pt x="856" y="309"/>
                      </a:lnTo>
                      <a:lnTo>
                        <a:pt x="856" y="307"/>
                      </a:lnTo>
                      <a:lnTo>
                        <a:pt x="861" y="304"/>
                      </a:lnTo>
                      <a:lnTo>
                        <a:pt x="864" y="301"/>
                      </a:lnTo>
                      <a:lnTo>
                        <a:pt x="867" y="296"/>
                      </a:lnTo>
                      <a:lnTo>
                        <a:pt x="869" y="292"/>
                      </a:lnTo>
                      <a:lnTo>
                        <a:pt x="873" y="290"/>
                      </a:lnTo>
                      <a:lnTo>
                        <a:pt x="878" y="287"/>
                      </a:lnTo>
                      <a:lnTo>
                        <a:pt x="878" y="284"/>
                      </a:lnTo>
                      <a:lnTo>
                        <a:pt x="881" y="284"/>
                      </a:lnTo>
                      <a:lnTo>
                        <a:pt x="884" y="279"/>
                      </a:lnTo>
                      <a:lnTo>
                        <a:pt x="892" y="282"/>
                      </a:lnTo>
                      <a:lnTo>
                        <a:pt x="900" y="284"/>
                      </a:lnTo>
                      <a:lnTo>
                        <a:pt x="900" y="282"/>
                      </a:lnTo>
                      <a:lnTo>
                        <a:pt x="902" y="284"/>
                      </a:lnTo>
                      <a:lnTo>
                        <a:pt x="914" y="284"/>
                      </a:lnTo>
                      <a:lnTo>
                        <a:pt x="914" y="279"/>
                      </a:lnTo>
                      <a:lnTo>
                        <a:pt x="917" y="279"/>
                      </a:lnTo>
                      <a:lnTo>
                        <a:pt x="922" y="274"/>
                      </a:lnTo>
                      <a:lnTo>
                        <a:pt x="925" y="271"/>
                      </a:lnTo>
                      <a:lnTo>
                        <a:pt x="930" y="276"/>
                      </a:lnTo>
                      <a:lnTo>
                        <a:pt x="933" y="276"/>
                      </a:lnTo>
                      <a:lnTo>
                        <a:pt x="936" y="279"/>
                      </a:lnTo>
                      <a:lnTo>
                        <a:pt x="942" y="287"/>
                      </a:lnTo>
                      <a:lnTo>
                        <a:pt x="950" y="287"/>
                      </a:lnTo>
                      <a:lnTo>
                        <a:pt x="953" y="284"/>
                      </a:lnTo>
                      <a:lnTo>
                        <a:pt x="958" y="284"/>
                      </a:lnTo>
                      <a:lnTo>
                        <a:pt x="963" y="282"/>
                      </a:lnTo>
                      <a:lnTo>
                        <a:pt x="966" y="276"/>
                      </a:lnTo>
                      <a:lnTo>
                        <a:pt x="975" y="276"/>
                      </a:lnTo>
                      <a:lnTo>
                        <a:pt x="980" y="268"/>
                      </a:lnTo>
                      <a:lnTo>
                        <a:pt x="986" y="271"/>
                      </a:lnTo>
                      <a:lnTo>
                        <a:pt x="994" y="268"/>
                      </a:lnTo>
                      <a:lnTo>
                        <a:pt x="997" y="271"/>
                      </a:lnTo>
                      <a:lnTo>
                        <a:pt x="999" y="271"/>
                      </a:lnTo>
                      <a:lnTo>
                        <a:pt x="1002" y="271"/>
                      </a:lnTo>
                      <a:lnTo>
                        <a:pt x="1005" y="271"/>
                      </a:lnTo>
                      <a:lnTo>
                        <a:pt x="1005" y="274"/>
                      </a:lnTo>
                      <a:lnTo>
                        <a:pt x="1011" y="279"/>
                      </a:lnTo>
                      <a:lnTo>
                        <a:pt x="1014" y="279"/>
                      </a:lnTo>
                      <a:lnTo>
                        <a:pt x="1016" y="282"/>
                      </a:lnTo>
                      <a:lnTo>
                        <a:pt x="1019" y="282"/>
                      </a:lnTo>
                      <a:lnTo>
                        <a:pt x="1019" y="276"/>
                      </a:lnTo>
                      <a:lnTo>
                        <a:pt x="1027" y="276"/>
                      </a:lnTo>
                      <a:lnTo>
                        <a:pt x="1032" y="274"/>
                      </a:lnTo>
                      <a:lnTo>
                        <a:pt x="1038" y="276"/>
                      </a:lnTo>
                      <a:lnTo>
                        <a:pt x="1040" y="276"/>
                      </a:lnTo>
                      <a:lnTo>
                        <a:pt x="1047" y="282"/>
                      </a:lnTo>
                      <a:lnTo>
                        <a:pt x="1052" y="282"/>
                      </a:lnTo>
                      <a:lnTo>
                        <a:pt x="1055" y="287"/>
                      </a:lnTo>
                      <a:lnTo>
                        <a:pt x="1058" y="287"/>
                      </a:lnTo>
                      <a:lnTo>
                        <a:pt x="1060" y="287"/>
                      </a:lnTo>
                      <a:lnTo>
                        <a:pt x="1066" y="292"/>
                      </a:lnTo>
                      <a:lnTo>
                        <a:pt x="1071" y="299"/>
                      </a:lnTo>
                      <a:lnTo>
                        <a:pt x="1080" y="301"/>
                      </a:lnTo>
                      <a:lnTo>
                        <a:pt x="1083" y="292"/>
                      </a:lnTo>
                      <a:lnTo>
                        <a:pt x="1091" y="290"/>
                      </a:lnTo>
                      <a:lnTo>
                        <a:pt x="1093" y="292"/>
                      </a:lnTo>
                      <a:lnTo>
                        <a:pt x="1096" y="292"/>
                      </a:lnTo>
                      <a:lnTo>
                        <a:pt x="1104" y="292"/>
                      </a:lnTo>
                      <a:lnTo>
                        <a:pt x="1107" y="290"/>
                      </a:lnTo>
                      <a:lnTo>
                        <a:pt x="1109" y="296"/>
                      </a:lnTo>
                      <a:lnTo>
                        <a:pt x="1113" y="296"/>
                      </a:lnTo>
                      <a:lnTo>
                        <a:pt x="1116" y="296"/>
                      </a:lnTo>
                      <a:lnTo>
                        <a:pt x="1121" y="301"/>
                      </a:lnTo>
                      <a:lnTo>
                        <a:pt x="1124" y="304"/>
                      </a:lnTo>
                      <a:lnTo>
                        <a:pt x="1124" y="309"/>
                      </a:lnTo>
                      <a:lnTo>
                        <a:pt x="1129" y="309"/>
                      </a:lnTo>
                      <a:lnTo>
                        <a:pt x="1129" y="312"/>
                      </a:lnTo>
                      <a:lnTo>
                        <a:pt x="1132" y="309"/>
                      </a:lnTo>
                      <a:lnTo>
                        <a:pt x="1137" y="312"/>
                      </a:lnTo>
                      <a:lnTo>
                        <a:pt x="1140" y="309"/>
                      </a:lnTo>
                      <a:lnTo>
                        <a:pt x="1143" y="309"/>
                      </a:lnTo>
                      <a:lnTo>
                        <a:pt x="1143" y="315"/>
                      </a:lnTo>
                      <a:lnTo>
                        <a:pt x="1146" y="315"/>
                      </a:lnTo>
                      <a:lnTo>
                        <a:pt x="1146" y="312"/>
                      </a:lnTo>
                      <a:lnTo>
                        <a:pt x="1152" y="312"/>
                      </a:lnTo>
                      <a:lnTo>
                        <a:pt x="1157" y="312"/>
                      </a:lnTo>
                      <a:lnTo>
                        <a:pt x="1160" y="312"/>
                      </a:lnTo>
                      <a:lnTo>
                        <a:pt x="1162" y="312"/>
                      </a:lnTo>
                      <a:lnTo>
                        <a:pt x="1165" y="315"/>
                      </a:lnTo>
                      <a:lnTo>
                        <a:pt x="1168" y="315"/>
                      </a:lnTo>
                      <a:lnTo>
                        <a:pt x="1178" y="320"/>
                      </a:lnTo>
                      <a:lnTo>
                        <a:pt x="1178" y="317"/>
                      </a:lnTo>
                      <a:lnTo>
                        <a:pt x="1185" y="317"/>
                      </a:lnTo>
                      <a:lnTo>
                        <a:pt x="1187" y="315"/>
                      </a:lnTo>
                      <a:lnTo>
                        <a:pt x="1190" y="312"/>
                      </a:lnTo>
                      <a:lnTo>
                        <a:pt x="1195" y="315"/>
                      </a:lnTo>
                      <a:lnTo>
                        <a:pt x="1204" y="304"/>
                      </a:lnTo>
                      <a:lnTo>
                        <a:pt x="1212" y="299"/>
                      </a:lnTo>
                      <a:lnTo>
                        <a:pt x="1218" y="296"/>
                      </a:lnTo>
                      <a:lnTo>
                        <a:pt x="1218" y="287"/>
                      </a:lnTo>
                      <a:lnTo>
                        <a:pt x="1209" y="282"/>
                      </a:lnTo>
                      <a:lnTo>
                        <a:pt x="1209" y="276"/>
                      </a:lnTo>
                      <a:lnTo>
                        <a:pt x="1206" y="274"/>
                      </a:lnTo>
                      <a:lnTo>
                        <a:pt x="1209" y="271"/>
                      </a:lnTo>
                      <a:lnTo>
                        <a:pt x="1204" y="254"/>
                      </a:lnTo>
                      <a:lnTo>
                        <a:pt x="1204" y="251"/>
                      </a:lnTo>
                      <a:lnTo>
                        <a:pt x="1206" y="251"/>
                      </a:lnTo>
                      <a:lnTo>
                        <a:pt x="1209" y="251"/>
                      </a:lnTo>
                      <a:lnTo>
                        <a:pt x="1212" y="254"/>
                      </a:lnTo>
                      <a:lnTo>
                        <a:pt x="1215" y="248"/>
                      </a:lnTo>
                      <a:lnTo>
                        <a:pt x="1215" y="246"/>
                      </a:lnTo>
                      <a:lnTo>
                        <a:pt x="1215" y="243"/>
                      </a:lnTo>
                      <a:lnTo>
                        <a:pt x="1215" y="240"/>
                      </a:lnTo>
                      <a:lnTo>
                        <a:pt x="1218" y="238"/>
                      </a:lnTo>
                      <a:lnTo>
                        <a:pt x="1218" y="232"/>
                      </a:lnTo>
                      <a:lnTo>
                        <a:pt x="1215" y="230"/>
                      </a:lnTo>
                      <a:lnTo>
                        <a:pt x="1204" y="223"/>
                      </a:lnTo>
                      <a:lnTo>
                        <a:pt x="1206" y="218"/>
                      </a:lnTo>
                      <a:lnTo>
                        <a:pt x="1206" y="215"/>
                      </a:lnTo>
                      <a:lnTo>
                        <a:pt x="1204" y="215"/>
                      </a:lnTo>
                      <a:lnTo>
                        <a:pt x="1198" y="210"/>
                      </a:lnTo>
                      <a:lnTo>
                        <a:pt x="1190" y="213"/>
                      </a:lnTo>
                      <a:lnTo>
                        <a:pt x="1187" y="205"/>
                      </a:lnTo>
                      <a:lnTo>
                        <a:pt x="1190" y="202"/>
                      </a:lnTo>
                      <a:lnTo>
                        <a:pt x="1187" y="202"/>
                      </a:lnTo>
                      <a:lnTo>
                        <a:pt x="1187" y="197"/>
                      </a:lnTo>
                      <a:lnTo>
                        <a:pt x="1185" y="194"/>
                      </a:lnTo>
                      <a:lnTo>
                        <a:pt x="1182" y="194"/>
                      </a:lnTo>
                      <a:lnTo>
                        <a:pt x="1178" y="191"/>
                      </a:lnTo>
                      <a:lnTo>
                        <a:pt x="1182" y="187"/>
                      </a:lnTo>
                      <a:lnTo>
                        <a:pt x="1176" y="179"/>
                      </a:lnTo>
                      <a:lnTo>
                        <a:pt x="1170" y="179"/>
                      </a:lnTo>
                      <a:lnTo>
                        <a:pt x="1162" y="179"/>
                      </a:lnTo>
                      <a:lnTo>
                        <a:pt x="1160" y="174"/>
                      </a:lnTo>
                      <a:lnTo>
                        <a:pt x="1157" y="171"/>
                      </a:lnTo>
                      <a:lnTo>
                        <a:pt x="1154" y="171"/>
                      </a:lnTo>
                      <a:lnTo>
                        <a:pt x="1154" y="169"/>
                      </a:lnTo>
                      <a:lnTo>
                        <a:pt x="1160" y="166"/>
                      </a:lnTo>
                      <a:lnTo>
                        <a:pt x="1162" y="161"/>
                      </a:lnTo>
                      <a:lnTo>
                        <a:pt x="1162" y="158"/>
                      </a:lnTo>
                      <a:lnTo>
                        <a:pt x="1160" y="158"/>
                      </a:lnTo>
                      <a:lnTo>
                        <a:pt x="1160" y="155"/>
                      </a:lnTo>
                      <a:lnTo>
                        <a:pt x="1157" y="152"/>
                      </a:lnTo>
                      <a:lnTo>
                        <a:pt x="1154" y="152"/>
                      </a:lnTo>
                      <a:lnTo>
                        <a:pt x="1149" y="146"/>
                      </a:lnTo>
                      <a:lnTo>
                        <a:pt x="1146" y="149"/>
                      </a:lnTo>
                      <a:lnTo>
                        <a:pt x="1143" y="144"/>
                      </a:lnTo>
                      <a:lnTo>
                        <a:pt x="1137" y="146"/>
                      </a:lnTo>
                      <a:lnTo>
                        <a:pt x="1132" y="146"/>
                      </a:lnTo>
                      <a:lnTo>
                        <a:pt x="1129" y="144"/>
                      </a:lnTo>
                      <a:lnTo>
                        <a:pt x="1126" y="141"/>
                      </a:lnTo>
                      <a:lnTo>
                        <a:pt x="1121" y="138"/>
                      </a:lnTo>
                      <a:lnTo>
                        <a:pt x="1121" y="136"/>
                      </a:lnTo>
                      <a:lnTo>
                        <a:pt x="1126" y="133"/>
                      </a:lnTo>
                      <a:lnTo>
                        <a:pt x="1126" y="130"/>
                      </a:lnTo>
                      <a:lnTo>
                        <a:pt x="1132" y="125"/>
                      </a:lnTo>
                      <a:lnTo>
                        <a:pt x="1132" y="118"/>
                      </a:lnTo>
                      <a:lnTo>
                        <a:pt x="1135" y="116"/>
                      </a:lnTo>
                      <a:lnTo>
                        <a:pt x="1140" y="113"/>
                      </a:lnTo>
                      <a:lnTo>
                        <a:pt x="1140" y="110"/>
                      </a:lnTo>
                      <a:lnTo>
                        <a:pt x="1137" y="108"/>
                      </a:lnTo>
                      <a:lnTo>
                        <a:pt x="1140" y="102"/>
                      </a:lnTo>
                      <a:lnTo>
                        <a:pt x="1140" y="97"/>
                      </a:lnTo>
                      <a:lnTo>
                        <a:pt x="1140" y="94"/>
                      </a:lnTo>
                      <a:lnTo>
                        <a:pt x="1143" y="92"/>
                      </a:lnTo>
                      <a:lnTo>
                        <a:pt x="1146" y="92"/>
                      </a:lnTo>
                      <a:lnTo>
                        <a:pt x="1146" y="94"/>
                      </a:lnTo>
                      <a:lnTo>
                        <a:pt x="1149" y="94"/>
                      </a:lnTo>
                      <a:lnTo>
                        <a:pt x="1152" y="100"/>
                      </a:lnTo>
                      <a:lnTo>
                        <a:pt x="1154" y="105"/>
                      </a:lnTo>
                      <a:lnTo>
                        <a:pt x="1157" y="108"/>
                      </a:lnTo>
                      <a:lnTo>
                        <a:pt x="1165" y="110"/>
                      </a:lnTo>
                      <a:lnTo>
                        <a:pt x="1165" y="108"/>
                      </a:lnTo>
                      <a:lnTo>
                        <a:pt x="1168" y="105"/>
                      </a:lnTo>
                      <a:lnTo>
                        <a:pt x="1168" y="102"/>
                      </a:lnTo>
                      <a:lnTo>
                        <a:pt x="1168" y="100"/>
                      </a:lnTo>
                      <a:lnTo>
                        <a:pt x="1165" y="97"/>
                      </a:lnTo>
                      <a:lnTo>
                        <a:pt x="1162" y="97"/>
                      </a:lnTo>
                      <a:lnTo>
                        <a:pt x="1162" y="92"/>
                      </a:lnTo>
                      <a:lnTo>
                        <a:pt x="1168" y="89"/>
                      </a:lnTo>
                      <a:lnTo>
                        <a:pt x="1168" y="86"/>
                      </a:lnTo>
                      <a:lnTo>
                        <a:pt x="1170" y="80"/>
                      </a:lnTo>
                      <a:lnTo>
                        <a:pt x="1173" y="80"/>
                      </a:lnTo>
                      <a:lnTo>
                        <a:pt x="1176" y="75"/>
                      </a:lnTo>
                      <a:lnTo>
                        <a:pt x="1182" y="72"/>
                      </a:lnTo>
                      <a:lnTo>
                        <a:pt x="1185" y="69"/>
                      </a:lnTo>
                      <a:lnTo>
                        <a:pt x="1185" y="67"/>
                      </a:lnTo>
                      <a:lnTo>
                        <a:pt x="1182" y="67"/>
                      </a:lnTo>
                      <a:lnTo>
                        <a:pt x="1178" y="67"/>
                      </a:lnTo>
                      <a:lnTo>
                        <a:pt x="1176" y="61"/>
                      </a:lnTo>
                      <a:lnTo>
                        <a:pt x="1173" y="64"/>
                      </a:lnTo>
                      <a:lnTo>
                        <a:pt x="1173" y="59"/>
                      </a:lnTo>
                      <a:lnTo>
                        <a:pt x="1182" y="53"/>
                      </a:lnTo>
                      <a:lnTo>
                        <a:pt x="1182" y="47"/>
                      </a:lnTo>
                      <a:lnTo>
                        <a:pt x="1185" y="44"/>
                      </a:lnTo>
                      <a:lnTo>
                        <a:pt x="1187" y="41"/>
                      </a:lnTo>
                      <a:lnTo>
                        <a:pt x="1182" y="39"/>
                      </a:lnTo>
                      <a:lnTo>
                        <a:pt x="1182" y="33"/>
                      </a:lnTo>
                      <a:lnTo>
                        <a:pt x="1185" y="31"/>
                      </a:lnTo>
                      <a:lnTo>
                        <a:pt x="1187" y="28"/>
                      </a:lnTo>
                      <a:lnTo>
                        <a:pt x="1190" y="28"/>
                      </a:lnTo>
                      <a:lnTo>
                        <a:pt x="1204" y="25"/>
                      </a:lnTo>
                      <a:lnTo>
                        <a:pt x="1209" y="28"/>
                      </a:lnTo>
                      <a:lnTo>
                        <a:pt x="1209" y="31"/>
                      </a:lnTo>
                      <a:lnTo>
                        <a:pt x="1215" y="31"/>
                      </a:lnTo>
                      <a:lnTo>
                        <a:pt x="1218" y="33"/>
                      </a:lnTo>
                      <a:lnTo>
                        <a:pt x="1221" y="36"/>
                      </a:lnTo>
                      <a:lnTo>
                        <a:pt x="1223" y="39"/>
                      </a:lnTo>
                      <a:lnTo>
                        <a:pt x="1226" y="44"/>
                      </a:lnTo>
                      <a:lnTo>
                        <a:pt x="1229" y="44"/>
                      </a:lnTo>
                      <a:lnTo>
                        <a:pt x="1231" y="47"/>
                      </a:lnTo>
                      <a:lnTo>
                        <a:pt x="1237" y="47"/>
                      </a:lnTo>
                      <a:lnTo>
                        <a:pt x="1237" y="53"/>
                      </a:lnTo>
                      <a:lnTo>
                        <a:pt x="1245" y="56"/>
                      </a:lnTo>
                      <a:lnTo>
                        <a:pt x="1264" y="59"/>
                      </a:lnTo>
                      <a:lnTo>
                        <a:pt x="1267" y="56"/>
                      </a:lnTo>
                      <a:lnTo>
                        <a:pt x="1272" y="59"/>
                      </a:lnTo>
                      <a:lnTo>
                        <a:pt x="1275" y="64"/>
                      </a:lnTo>
                      <a:lnTo>
                        <a:pt x="1272" y="67"/>
                      </a:lnTo>
                      <a:lnTo>
                        <a:pt x="1275" y="69"/>
                      </a:lnTo>
                      <a:lnTo>
                        <a:pt x="1281" y="77"/>
                      </a:lnTo>
                      <a:lnTo>
                        <a:pt x="1292" y="80"/>
                      </a:lnTo>
                      <a:lnTo>
                        <a:pt x="1298" y="80"/>
                      </a:lnTo>
                      <a:lnTo>
                        <a:pt x="1300" y="72"/>
                      </a:lnTo>
                      <a:lnTo>
                        <a:pt x="1308" y="75"/>
                      </a:lnTo>
                      <a:lnTo>
                        <a:pt x="1316" y="72"/>
                      </a:lnTo>
                      <a:lnTo>
                        <a:pt x="1323" y="75"/>
                      </a:lnTo>
                      <a:lnTo>
                        <a:pt x="1328" y="75"/>
                      </a:lnTo>
                      <a:lnTo>
                        <a:pt x="1333" y="72"/>
                      </a:lnTo>
                      <a:lnTo>
                        <a:pt x="1336" y="69"/>
                      </a:lnTo>
                      <a:lnTo>
                        <a:pt x="1339" y="69"/>
                      </a:lnTo>
                      <a:lnTo>
                        <a:pt x="1341" y="67"/>
                      </a:lnTo>
                      <a:lnTo>
                        <a:pt x="1344" y="69"/>
                      </a:lnTo>
                      <a:lnTo>
                        <a:pt x="1350" y="67"/>
                      </a:lnTo>
                      <a:lnTo>
                        <a:pt x="1353" y="72"/>
                      </a:lnTo>
                      <a:lnTo>
                        <a:pt x="1361" y="69"/>
                      </a:lnTo>
                      <a:lnTo>
                        <a:pt x="1369" y="69"/>
                      </a:lnTo>
                      <a:lnTo>
                        <a:pt x="1369" y="67"/>
                      </a:lnTo>
                      <a:lnTo>
                        <a:pt x="1380" y="64"/>
                      </a:lnTo>
                      <a:lnTo>
                        <a:pt x="1389" y="67"/>
                      </a:lnTo>
                      <a:lnTo>
                        <a:pt x="1410" y="67"/>
                      </a:lnTo>
                      <a:lnTo>
                        <a:pt x="1428" y="75"/>
                      </a:lnTo>
                      <a:lnTo>
                        <a:pt x="1444" y="61"/>
                      </a:lnTo>
                      <a:lnTo>
                        <a:pt x="1438" y="51"/>
                      </a:lnTo>
                      <a:lnTo>
                        <a:pt x="1454" y="33"/>
                      </a:lnTo>
                      <a:lnTo>
                        <a:pt x="1472" y="33"/>
                      </a:lnTo>
                      <a:lnTo>
                        <a:pt x="1488" y="39"/>
                      </a:lnTo>
                      <a:lnTo>
                        <a:pt x="1499" y="31"/>
                      </a:lnTo>
                      <a:lnTo>
                        <a:pt x="1513" y="14"/>
                      </a:lnTo>
                      <a:lnTo>
                        <a:pt x="1535" y="11"/>
                      </a:lnTo>
                      <a:lnTo>
                        <a:pt x="1543" y="28"/>
                      </a:lnTo>
                      <a:lnTo>
                        <a:pt x="1560" y="17"/>
                      </a:lnTo>
                      <a:lnTo>
                        <a:pt x="1582" y="0"/>
                      </a:lnTo>
                      <a:lnTo>
                        <a:pt x="1604" y="6"/>
                      </a:lnTo>
                      <a:lnTo>
                        <a:pt x="1609" y="31"/>
                      </a:lnTo>
                      <a:lnTo>
                        <a:pt x="1618" y="39"/>
                      </a:lnTo>
                      <a:lnTo>
                        <a:pt x="1637" y="67"/>
                      </a:lnTo>
                      <a:lnTo>
                        <a:pt x="1635" y="69"/>
                      </a:lnTo>
                      <a:lnTo>
                        <a:pt x="1635" y="75"/>
                      </a:lnTo>
                      <a:lnTo>
                        <a:pt x="1637" y="77"/>
                      </a:lnTo>
                      <a:lnTo>
                        <a:pt x="1640" y="80"/>
                      </a:lnTo>
                      <a:lnTo>
                        <a:pt x="1662" y="105"/>
                      </a:lnTo>
                      <a:lnTo>
                        <a:pt x="1665" y="110"/>
                      </a:lnTo>
                      <a:lnTo>
                        <a:pt x="1668" y="118"/>
                      </a:lnTo>
                      <a:lnTo>
                        <a:pt x="1665" y="118"/>
                      </a:lnTo>
                      <a:lnTo>
                        <a:pt x="1662" y="125"/>
                      </a:lnTo>
                      <a:lnTo>
                        <a:pt x="1665" y="128"/>
                      </a:lnTo>
                      <a:lnTo>
                        <a:pt x="1662" y="130"/>
                      </a:lnTo>
                      <a:lnTo>
                        <a:pt x="1662" y="138"/>
                      </a:lnTo>
                      <a:lnTo>
                        <a:pt x="1665" y="146"/>
                      </a:lnTo>
                      <a:lnTo>
                        <a:pt x="1673" y="155"/>
                      </a:lnTo>
                      <a:lnTo>
                        <a:pt x="1676" y="158"/>
                      </a:lnTo>
                      <a:lnTo>
                        <a:pt x="1678" y="163"/>
                      </a:lnTo>
                      <a:lnTo>
                        <a:pt x="1681" y="163"/>
                      </a:lnTo>
                      <a:lnTo>
                        <a:pt x="1681" y="169"/>
                      </a:lnTo>
                      <a:lnTo>
                        <a:pt x="1678" y="171"/>
                      </a:lnTo>
                      <a:lnTo>
                        <a:pt x="1678" y="174"/>
                      </a:lnTo>
                      <a:lnTo>
                        <a:pt x="1673" y="177"/>
                      </a:lnTo>
                      <a:lnTo>
                        <a:pt x="1673" y="179"/>
                      </a:lnTo>
                      <a:lnTo>
                        <a:pt x="1670" y="182"/>
                      </a:lnTo>
                      <a:lnTo>
                        <a:pt x="1665" y="185"/>
                      </a:lnTo>
                      <a:lnTo>
                        <a:pt x="1665" y="191"/>
                      </a:lnTo>
                      <a:lnTo>
                        <a:pt x="1662" y="191"/>
                      </a:lnTo>
                      <a:lnTo>
                        <a:pt x="1665" y="194"/>
                      </a:lnTo>
                      <a:lnTo>
                        <a:pt x="1662" y="199"/>
                      </a:lnTo>
                      <a:lnTo>
                        <a:pt x="1665" y="205"/>
                      </a:lnTo>
                      <a:lnTo>
                        <a:pt x="1659" y="207"/>
                      </a:lnTo>
                      <a:lnTo>
                        <a:pt x="1662" y="218"/>
                      </a:lnTo>
                      <a:lnTo>
                        <a:pt x="1659" y="218"/>
                      </a:lnTo>
                      <a:lnTo>
                        <a:pt x="1659" y="223"/>
                      </a:lnTo>
                      <a:lnTo>
                        <a:pt x="1662" y="227"/>
                      </a:lnTo>
                      <a:lnTo>
                        <a:pt x="1662" y="232"/>
                      </a:lnTo>
                      <a:lnTo>
                        <a:pt x="1665" y="238"/>
                      </a:lnTo>
                      <a:lnTo>
                        <a:pt x="1668" y="243"/>
                      </a:lnTo>
                      <a:lnTo>
                        <a:pt x="1670" y="246"/>
                      </a:lnTo>
                      <a:lnTo>
                        <a:pt x="1673" y="248"/>
                      </a:lnTo>
                      <a:lnTo>
                        <a:pt x="1678" y="251"/>
                      </a:lnTo>
                      <a:lnTo>
                        <a:pt x="1676" y="256"/>
                      </a:lnTo>
                      <a:lnTo>
                        <a:pt x="1681" y="256"/>
                      </a:lnTo>
                      <a:lnTo>
                        <a:pt x="1684" y="260"/>
                      </a:lnTo>
                      <a:lnTo>
                        <a:pt x="1684" y="263"/>
                      </a:lnTo>
                      <a:lnTo>
                        <a:pt x="1684" y="265"/>
                      </a:lnTo>
                      <a:lnTo>
                        <a:pt x="1681" y="265"/>
                      </a:lnTo>
                      <a:lnTo>
                        <a:pt x="1681" y="268"/>
                      </a:lnTo>
                      <a:lnTo>
                        <a:pt x="1678" y="274"/>
                      </a:lnTo>
                      <a:lnTo>
                        <a:pt x="1676" y="274"/>
                      </a:lnTo>
                      <a:lnTo>
                        <a:pt x="1678" y="287"/>
                      </a:lnTo>
                      <a:lnTo>
                        <a:pt x="1681" y="290"/>
                      </a:lnTo>
                      <a:lnTo>
                        <a:pt x="1681" y="292"/>
                      </a:lnTo>
                      <a:lnTo>
                        <a:pt x="1681" y="296"/>
                      </a:lnTo>
                      <a:lnTo>
                        <a:pt x="1684" y="301"/>
                      </a:lnTo>
                      <a:lnTo>
                        <a:pt x="1684" y="312"/>
                      </a:lnTo>
                      <a:lnTo>
                        <a:pt x="1686" y="315"/>
                      </a:lnTo>
                      <a:lnTo>
                        <a:pt x="1689" y="317"/>
                      </a:lnTo>
                      <a:lnTo>
                        <a:pt x="1689" y="320"/>
                      </a:lnTo>
                      <a:lnTo>
                        <a:pt x="1692" y="320"/>
                      </a:lnTo>
                      <a:lnTo>
                        <a:pt x="1684" y="326"/>
                      </a:lnTo>
                      <a:lnTo>
                        <a:pt x="1686" y="332"/>
                      </a:lnTo>
                      <a:lnTo>
                        <a:pt x="1684" y="335"/>
                      </a:lnTo>
                      <a:lnTo>
                        <a:pt x="1684" y="337"/>
                      </a:lnTo>
                      <a:lnTo>
                        <a:pt x="1686" y="340"/>
                      </a:lnTo>
                      <a:lnTo>
                        <a:pt x="1686" y="343"/>
                      </a:lnTo>
                      <a:lnTo>
                        <a:pt x="1698" y="345"/>
                      </a:lnTo>
                      <a:lnTo>
                        <a:pt x="1706" y="345"/>
                      </a:lnTo>
                      <a:lnTo>
                        <a:pt x="1706" y="343"/>
                      </a:lnTo>
                      <a:lnTo>
                        <a:pt x="1709" y="345"/>
                      </a:lnTo>
                      <a:lnTo>
                        <a:pt x="1714" y="345"/>
                      </a:lnTo>
                      <a:lnTo>
                        <a:pt x="1717" y="348"/>
                      </a:lnTo>
                      <a:lnTo>
                        <a:pt x="1725" y="345"/>
                      </a:lnTo>
                      <a:lnTo>
                        <a:pt x="1728" y="345"/>
                      </a:lnTo>
                      <a:lnTo>
                        <a:pt x="1737" y="340"/>
                      </a:lnTo>
                      <a:lnTo>
                        <a:pt x="1742" y="343"/>
                      </a:lnTo>
                      <a:lnTo>
                        <a:pt x="1745" y="340"/>
                      </a:lnTo>
                      <a:lnTo>
                        <a:pt x="1753" y="343"/>
                      </a:lnTo>
                      <a:lnTo>
                        <a:pt x="1758" y="340"/>
                      </a:lnTo>
                      <a:lnTo>
                        <a:pt x="1758" y="343"/>
                      </a:lnTo>
                      <a:lnTo>
                        <a:pt x="1773" y="345"/>
                      </a:lnTo>
                      <a:lnTo>
                        <a:pt x="1775" y="348"/>
                      </a:lnTo>
                      <a:lnTo>
                        <a:pt x="1778" y="351"/>
                      </a:lnTo>
                      <a:lnTo>
                        <a:pt x="1783" y="353"/>
                      </a:lnTo>
                      <a:lnTo>
                        <a:pt x="1786" y="353"/>
                      </a:lnTo>
                      <a:lnTo>
                        <a:pt x="1789" y="356"/>
                      </a:lnTo>
                      <a:lnTo>
                        <a:pt x="1794" y="353"/>
                      </a:lnTo>
                      <a:lnTo>
                        <a:pt x="1794" y="351"/>
                      </a:lnTo>
                      <a:lnTo>
                        <a:pt x="1800" y="353"/>
                      </a:lnTo>
                      <a:lnTo>
                        <a:pt x="1800" y="351"/>
                      </a:lnTo>
                      <a:lnTo>
                        <a:pt x="1803" y="351"/>
                      </a:lnTo>
                      <a:lnTo>
                        <a:pt x="1814" y="353"/>
                      </a:lnTo>
                      <a:lnTo>
                        <a:pt x="1819" y="351"/>
                      </a:lnTo>
                      <a:lnTo>
                        <a:pt x="1822" y="351"/>
                      </a:lnTo>
                      <a:lnTo>
                        <a:pt x="1827" y="351"/>
                      </a:lnTo>
                      <a:lnTo>
                        <a:pt x="1834" y="356"/>
                      </a:lnTo>
                      <a:lnTo>
                        <a:pt x="1836" y="348"/>
                      </a:lnTo>
                      <a:lnTo>
                        <a:pt x="1847" y="353"/>
                      </a:lnTo>
                      <a:lnTo>
                        <a:pt x="1847" y="356"/>
                      </a:lnTo>
                      <a:lnTo>
                        <a:pt x="1850" y="356"/>
                      </a:lnTo>
                      <a:lnTo>
                        <a:pt x="1850" y="359"/>
                      </a:lnTo>
                      <a:lnTo>
                        <a:pt x="1855" y="359"/>
                      </a:lnTo>
                      <a:lnTo>
                        <a:pt x="1858" y="356"/>
                      </a:lnTo>
                      <a:lnTo>
                        <a:pt x="1858" y="359"/>
                      </a:lnTo>
                      <a:lnTo>
                        <a:pt x="1860" y="359"/>
                      </a:lnTo>
                      <a:lnTo>
                        <a:pt x="1866" y="359"/>
                      </a:lnTo>
                      <a:lnTo>
                        <a:pt x="1863" y="361"/>
                      </a:lnTo>
                      <a:lnTo>
                        <a:pt x="1866" y="361"/>
                      </a:lnTo>
                      <a:lnTo>
                        <a:pt x="1869" y="365"/>
                      </a:lnTo>
                      <a:lnTo>
                        <a:pt x="1872" y="365"/>
                      </a:lnTo>
                      <a:lnTo>
                        <a:pt x="1872" y="368"/>
                      </a:lnTo>
                      <a:lnTo>
                        <a:pt x="1877" y="365"/>
                      </a:lnTo>
                      <a:lnTo>
                        <a:pt x="1875" y="368"/>
                      </a:lnTo>
                      <a:lnTo>
                        <a:pt x="1872" y="370"/>
                      </a:lnTo>
                      <a:lnTo>
                        <a:pt x="1877" y="373"/>
                      </a:lnTo>
                      <a:lnTo>
                        <a:pt x="1880" y="370"/>
                      </a:lnTo>
                      <a:lnTo>
                        <a:pt x="1883" y="373"/>
                      </a:lnTo>
                      <a:lnTo>
                        <a:pt x="1880" y="373"/>
                      </a:lnTo>
                      <a:lnTo>
                        <a:pt x="1883" y="376"/>
                      </a:lnTo>
                      <a:lnTo>
                        <a:pt x="1880" y="378"/>
                      </a:lnTo>
                      <a:lnTo>
                        <a:pt x="1883" y="381"/>
                      </a:lnTo>
                      <a:lnTo>
                        <a:pt x="1883" y="384"/>
                      </a:lnTo>
                      <a:lnTo>
                        <a:pt x="1888" y="381"/>
                      </a:lnTo>
                      <a:lnTo>
                        <a:pt x="1891" y="384"/>
                      </a:lnTo>
                      <a:lnTo>
                        <a:pt x="1896" y="384"/>
                      </a:lnTo>
                      <a:lnTo>
                        <a:pt x="1896" y="389"/>
                      </a:lnTo>
                      <a:lnTo>
                        <a:pt x="1902" y="392"/>
                      </a:lnTo>
                      <a:lnTo>
                        <a:pt x="1908" y="395"/>
                      </a:lnTo>
                      <a:lnTo>
                        <a:pt x="1911" y="404"/>
                      </a:lnTo>
                      <a:lnTo>
                        <a:pt x="1913" y="406"/>
                      </a:lnTo>
                      <a:lnTo>
                        <a:pt x="1913" y="397"/>
                      </a:lnTo>
                      <a:lnTo>
                        <a:pt x="1916" y="392"/>
                      </a:lnTo>
                      <a:lnTo>
                        <a:pt x="1919" y="392"/>
                      </a:lnTo>
                      <a:lnTo>
                        <a:pt x="1919" y="397"/>
                      </a:lnTo>
                      <a:lnTo>
                        <a:pt x="1921" y="397"/>
                      </a:lnTo>
                      <a:lnTo>
                        <a:pt x="1927" y="397"/>
                      </a:lnTo>
                      <a:lnTo>
                        <a:pt x="1929" y="401"/>
                      </a:lnTo>
                      <a:lnTo>
                        <a:pt x="1929" y="397"/>
                      </a:lnTo>
                      <a:lnTo>
                        <a:pt x="1932" y="401"/>
                      </a:lnTo>
                      <a:lnTo>
                        <a:pt x="1932" y="406"/>
                      </a:lnTo>
                      <a:lnTo>
                        <a:pt x="1938" y="406"/>
                      </a:lnTo>
                      <a:lnTo>
                        <a:pt x="1935" y="409"/>
                      </a:lnTo>
                      <a:lnTo>
                        <a:pt x="1941" y="414"/>
                      </a:lnTo>
                      <a:lnTo>
                        <a:pt x="1941" y="417"/>
                      </a:lnTo>
                      <a:lnTo>
                        <a:pt x="1938" y="417"/>
                      </a:lnTo>
                      <a:lnTo>
                        <a:pt x="1938" y="420"/>
                      </a:lnTo>
                      <a:lnTo>
                        <a:pt x="1941" y="420"/>
                      </a:lnTo>
                      <a:lnTo>
                        <a:pt x="1944" y="425"/>
                      </a:lnTo>
                      <a:lnTo>
                        <a:pt x="1946" y="422"/>
                      </a:lnTo>
                      <a:lnTo>
                        <a:pt x="1949" y="420"/>
                      </a:lnTo>
                      <a:lnTo>
                        <a:pt x="1949" y="422"/>
                      </a:lnTo>
                      <a:lnTo>
                        <a:pt x="1946" y="428"/>
                      </a:lnTo>
                      <a:lnTo>
                        <a:pt x="1944" y="433"/>
                      </a:lnTo>
                      <a:lnTo>
                        <a:pt x="1944" y="437"/>
                      </a:lnTo>
                      <a:lnTo>
                        <a:pt x="1952" y="437"/>
                      </a:lnTo>
                      <a:lnTo>
                        <a:pt x="1957" y="447"/>
                      </a:lnTo>
                      <a:lnTo>
                        <a:pt x="1954" y="453"/>
                      </a:lnTo>
                      <a:lnTo>
                        <a:pt x="1957" y="455"/>
                      </a:lnTo>
                      <a:lnTo>
                        <a:pt x="1954" y="461"/>
                      </a:lnTo>
                      <a:lnTo>
                        <a:pt x="1954" y="463"/>
                      </a:lnTo>
                      <a:lnTo>
                        <a:pt x="1960" y="463"/>
                      </a:lnTo>
                      <a:lnTo>
                        <a:pt x="1957" y="461"/>
                      </a:lnTo>
                      <a:lnTo>
                        <a:pt x="1963" y="458"/>
                      </a:lnTo>
                      <a:lnTo>
                        <a:pt x="1965" y="461"/>
                      </a:lnTo>
                      <a:lnTo>
                        <a:pt x="1968" y="461"/>
                      </a:lnTo>
                      <a:lnTo>
                        <a:pt x="1974" y="455"/>
                      </a:lnTo>
                      <a:lnTo>
                        <a:pt x="1980" y="458"/>
                      </a:lnTo>
                      <a:lnTo>
                        <a:pt x="1982" y="455"/>
                      </a:lnTo>
                      <a:lnTo>
                        <a:pt x="1980" y="453"/>
                      </a:lnTo>
                      <a:lnTo>
                        <a:pt x="1982" y="453"/>
                      </a:lnTo>
                      <a:lnTo>
                        <a:pt x="1988" y="450"/>
                      </a:lnTo>
                      <a:lnTo>
                        <a:pt x="1990" y="455"/>
                      </a:lnTo>
                      <a:lnTo>
                        <a:pt x="1990" y="463"/>
                      </a:lnTo>
                      <a:lnTo>
                        <a:pt x="1990" y="470"/>
                      </a:lnTo>
                      <a:lnTo>
                        <a:pt x="1996" y="466"/>
                      </a:lnTo>
                      <a:lnTo>
                        <a:pt x="2001" y="470"/>
                      </a:lnTo>
                      <a:lnTo>
                        <a:pt x="2005" y="463"/>
                      </a:lnTo>
                      <a:lnTo>
                        <a:pt x="2010" y="466"/>
                      </a:lnTo>
                      <a:lnTo>
                        <a:pt x="2010" y="473"/>
                      </a:lnTo>
                      <a:lnTo>
                        <a:pt x="2013" y="470"/>
                      </a:lnTo>
                      <a:lnTo>
                        <a:pt x="2018" y="473"/>
                      </a:lnTo>
                      <a:lnTo>
                        <a:pt x="2021" y="473"/>
                      </a:lnTo>
                      <a:lnTo>
                        <a:pt x="2018" y="478"/>
                      </a:lnTo>
                      <a:lnTo>
                        <a:pt x="2018" y="481"/>
                      </a:lnTo>
                      <a:lnTo>
                        <a:pt x="2015" y="483"/>
                      </a:lnTo>
                      <a:lnTo>
                        <a:pt x="2015" y="486"/>
                      </a:lnTo>
                      <a:lnTo>
                        <a:pt x="2018" y="486"/>
                      </a:lnTo>
                      <a:lnTo>
                        <a:pt x="2023" y="483"/>
                      </a:lnTo>
                      <a:lnTo>
                        <a:pt x="2023" y="478"/>
                      </a:lnTo>
                      <a:lnTo>
                        <a:pt x="2032" y="478"/>
                      </a:lnTo>
                      <a:lnTo>
                        <a:pt x="2034" y="483"/>
                      </a:lnTo>
                      <a:lnTo>
                        <a:pt x="2041" y="483"/>
                      </a:lnTo>
                      <a:lnTo>
                        <a:pt x="2041" y="486"/>
                      </a:lnTo>
                      <a:lnTo>
                        <a:pt x="2037" y="497"/>
                      </a:lnTo>
                      <a:lnTo>
                        <a:pt x="2037" y="499"/>
                      </a:lnTo>
                      <a:lnTo>
                        <a:pt x="2041" y="497"/>
                      </a:lnTo>
                      <a:lnTo>
                        <a:pt x="2049" y="499"/>
                      </a:lnTo>
                      <a:lnTo>
                        <a:pt x="2054" y="497"/>
                      </a:lnTo>
                      <a:lnTo>
                        <a:pt x="2054" y="499"/>
                      </a:lnTo>
                      <a:lnTo>
                        <a:pt x="2051" y="502"/>
                      </a:lnTo>
                      <a:lnTo>
                        <a:pt x="2051" y="506"/>
                      </a:lnTo>
                      <a:lnTo>
                        <a:pt x="2059" y="502"/>
                      </a:lnTo>
                      <a:lnTo>
                        <a:pt x="2062" y="506"/>
                      </a:lnTo>
                      <a:lnTo>
                        <a:pt x="2067" y="506"/>
                      </a:lnTo>
                      <a:lnTo>
                        <a:pt x="2070" y="502"/>
                      </a:lnTo>
                      <a:lnTo>
                        <a:pt x="2067" y="499"/>
                      </a:lnTo>
                      <a:lnTo>
                        <a:pt x="2062" y="494"/>
                      </a:lnTo>
                      <a:lnTo>
                        <a:pt x="2065" y="491"/>
                      </a:lnTo>
                      <a:lnTo>
                        <a:pt x="2070" y="491"/>
                      </a:lnTo>
                      <a:lnTo>
                        <a:pt x="2076" y="494"/>
                      </a:lnTo>
                      <a:lnTo>
                        <a:pt x="2079" y="499"/>
                      </a:lnTo>
                      <a:lnTo>
                        <a:pt x="2082" y="502"/>
                      </a:lnTo>
                      <a:lnTo>
                        <a:pt x="2084" y="502"/>
                      </a:lnTo>
                      <a:lnTo>
                        <a:pt x="2087" y="497"/>
                      </a:lnTo>
                      <a:lnTo>
                        <a:pt x="2090" y="502"/>
                      </a:lnTo>
                      <a:lnTo>
                        <a:pt x="2101" y="506"/>
                      </a:lnTo>
                      <a:lnTo>
                        <a:pt x="2101" y="502"/>
                      </a:lnTo>
                      <a:lnTo>
                        <a:pt x="2106" y="497"/>
                      </a:lnTo>
                      <a:lnTo>
                        <a:pt x="2106" y="494"/>
                      </a:lnTo>
                      <a:lnTo>
                        <a:pt x="2103" y="489"/>
                      </a:lnTo>
                      <a:lnTo>
                        <a:pt x="2106" y="486"/>
                      </a:lnTo>
                      <a:lnTo>
                        <a:pt x="2115" y="491"/>
                      </a:lnTo>
                      <a:lnTo>
                        <a:pt x="2115" y="494"/>
                      </a:lnTo>
                      <a:lnTo>
                        <a:pt x="2106" y="502"/>
                      </a:lnTo>
                      <a:lnTo>
                        <a:pt x="2110" y="508"/>
                      </a:lnTo>
                      <a:lnTo>
                        <a:pt x="2112" y="511"/>
                      </a:lnTo>
                      <a:lnTo>
                        <a:pt x="2118" y="506"/>
                      </a:lnTo>
                      <a:lnTo>
                        <a:pt x="2120" y="508"/>
                      </a:lnTo>
                      <a:lnTo>
                        <a:pt x="2120" y="511"/>
                      </a:lnTo>
                      <a:lnTo>
                        <a:pt x="2126" y="511"/>
                      </a:lnTo>
                      <a:lnTo>
                        <a:pt x="2128" y="499"/>
                      </a:lnTo>
                      <a:lnTo>
                        <a:pt x="2134" y="497"/>
                      </a:lnTo>
                      <a:lnTo>
                        <a:pt x="2136" y="502"/>
                      </a:lnTo>
                      <a:lnTo>
                        <a:pt x="2134" y="508"/>
                      </a:lnTo>
                      <a:lnTo>
                        <a:pt x="2136" y="516"/>
                      </a:lnTo>
                      <a:lnTo>
                        <a:pt x="2134" y="519"/>
                      </a:lnTo>
                      <a:lnTo>
                        <a:pt x="2128" y="522"/>
                      </a:lnTo>
                      <a:lnTo>
                        <a:pt x="2131" y="527"/>
                      </a:lnTo>
                      <a:lnTo>
                        <a:pt x="2136" y="527"/>
                      </a:lnTo>
                      <a:lnTo>
                        <a:pt x="2139" y="522"/>
                      </a:lnTo>
                      <a:lnTo>
                        <a:pt x="2156" y="519"/>
                      </a:lnTo>
                      <a:lnTo>
                        <a:pt x="2164" y="527"/>
                      </a:lnTo>
                      <a:lnTo>
                        <a:pt x="2167" y="524"/>
                      </a:lnTo>
                      <a:lnTo>
                        <a:pt x="2167" y="522"/>
                      </a:lnTo>
                      <a:lnTo>
                        <a:pt x="2175" y="522"/>
                      </a:lnTo>
                      <a:lnTo>
                        <a:pt x="2179" y="524"/>
                      </a:lnTo>
                      <a:lnTo>
                        <a:pt x="2181" y="532"/>
                      </a:lnTo>
                      <a:lnTo>
                        <a:pt x="2175" y="535"/>
                      </a:lnTo>
                      <a:lnTo>
                        <a:pt x="2169" y="539"/>
                      </a:lnTo>
                      <a:lnTo>
                        <a:pt x="2169" y="550"/>
                      </a:lnTo>
                      <a:lnTo>
                        <a:pt x="2172" y="550"/>
                      </a:lnTo>
                      <a:lnTo>
                        <a:pt x="2181" y="552"/>
                      </a:lnTo>
                      <a:lnTo>
                        <a:pt x="2184" y="558"/>
                      </a:lnTo>
                      <a:lnTo>
                        <a:pt x="2181" y="566"/>
                      </a:lnTo>
                      <a:lnTo>
                        <a:pt x="2175" y="571"/>
                      </a:lnTo>
                      <a:lnTo>
                        <a:pt x="2175" y="575"/>
                      </a:lnTo>
                      <a:lnTo>
                        <a:pt x="2179" y="580"/>
                      </a:lnTo>
                      <a:lnTo>
                        <a:pt x="2184" y="580"/>
                      </a:lnTo>
                      <a:lnTo>
                        <a:pt x="2205" y="568"/>
                      </a:lnTo>
                      <a:lnTo>
                        <a:pt x="2220" y="571"/>
                      </a:lnTo>
                      <a:lnTo>
                        <a:pt x="2220" y="568"/>
                      </a:lnTo>
                      <a:lnTo>
                        <a:pt x="2222" y="566"/>
                      </a:lnTo>
                      <a:lnTo>
                        <a:pt x="2225" y="566"/>
                      </a:lnTo>
                      <a:lnTo>
                        <a:pt x="2225" y="575"/>
                      </a:lnTo>
                      <a:lnTo>
                        <a:pt x="2228" y="583"/>
                      </a:lnTo>
                      <a:lnTo>
                        <a:pt x="2233" y="588"/>
                      </a:lnTo>
                      <a:lnTo>
                        <a:pt x="2236" y="593"/>
                      </a:lnTo>
                      <a:lnTo>
                        <a:pt x="2233" y="601"/>
                      </a:lnTo>
                      <a:lnTo>
                        <a:pt x="2233" y="604"/>
                      </a:lnTo>
                      <a:lnTo>
                        <a:pt x="2230" y="607"/>
                      </a:lnTo>
                      <a:lnTo>
                        <a:pt x="2225" y="607"/>
                      </a:lnTo>
                      <a:lnTo>
                        <a:pt x="2220" y="604"/>
                      </a:lnTo>
                      <a:lnTo>
                        <a:pt x="2217" y="604"/>
                      </a:lnTo>
                      <a:lnTo>
                        <a:pt x="2212" y="611"/>
                      </a:lnTo>
                      <a:lnTo>
                        <a:pt x="2212" y="616"/>
                      </a:lnTo>
                      <a:lnTo>
                        <a:pt x="2212" y="621"/>
                      </a:lnTo>
                      <a:lnTo>
                        <a:pt x="2212" y="635"/>
                      </a:lnTo>
                      <a:lnTo>
                        <a:pt x="2214" y="637"/>
                      </a:lnTo>
                      <a:lnTo>
                        <a:pt x="2220" y="644"/>
                      </a:lnTo>
                      <a:lnTo>
                        <a:pt x="2220" y="649"/>
                      </a:lnTo>
                      <a:lnTo>
                        <a:pt x="2222" y="649"/>
                      </a:lnTo>
                      <a:lnTo>
                        <a:pt x="2225" y="654"/>
                      </a:lnTo>
                      <a:lnTo>
                        <a:pt x="2225" y="657"/>
                      </a:lnTo>
                      <a:lnTo>
                        <a:pt x="2222" y="660"/>
                      </a:lnTo>
                      <a:lnTo>
                        <a:pt x="2222" y="662"/>
                      </a:lnTo>
                      <a:lnTo>
                        <a:pt x="2225" y="670"/>
                      </a:lnTo>
                      <a:lnTo>
                        <a:pt x="2228" y="673"/>
                      </a:lnTo>
                      <a:lnTo>
                        <a:pt x="2230" y="676"/>
                      </a:lnTo>
                      <a:lnTo>
                        <a:pt x="2230" y="688"/>
                      </a:lnTo>
                      <a:lnTo>
                        <a:pt x="2228" y="690"/>
                      </a:lnTo>
                      <a:lnTo>
                        <a:pt x="2230" y="698"/>
                      </a:lnTo>
                      <a:lnTo>
                        <a:pt x="2250" y="712"/>
                      </a:lnTo>
                      <a:lnTo>
                        <a:pt x="2253" y="715"/>
                      </a:lnTo>
                      <a:lnTo>
                        <a:pt x="2274" y="726"/>
                      </a:lnTo>
                      <a:lnTo>
                        <a:pt x="2281" y="731"/>
                      </a:lnTo>
                      <a:lnTo>
                        <a:pt x="2286" y="742"/>
                      </a:lnTo>
                      <a:lnTo>
                        <a:pt x="2294" y="747"/>
                      </a:lnTo>
                      <a:lnTo>
                        <a:pt x="2310" y="759"/>
                      </a:lnTo>
                      <a:lnTo>
                        <a:pt x="2313" y="762"/>
                      </a:lnTo>
                      <a:lnTo>
                        <a:pt x="2316" y="762"/>
                      </a:lnTo>
                      <a:lnTo>
                        <a:pt x="2319" y="765"/>
                      </a:lnTo>
                      <a:lnTo>
                        <a:pt x="2322" y="773"/>
                      </a:lnTo>
                      <a:lnTo>
                        <a:pt x="2333" y="781"/>
                      </a:lnTo>
                      <a:lnTo>
                        <a:pt x="2335" y="787"/>
                      </a:lnTo>
                      <a:lnTo>
                        <a:pt x="2338" y="795"/>
                      </a:lnTo>
                      <a:lnTo>
                        <a:pt x="2341" y="798"/>
                      </a:lnTo>
                      <a:lnTo>
                        <a:pt x="2346" y="795"/>
                      </a:lnTo>
                      <a:lnTo>
                        <a:pt x="2355" y="800"/>
                      </a:lnTo>
                      <a:lnTo>
                        <a:pt x="2355" y="803"/>
                      </a:lnTo>
                      <a:lnTo>
                        <a:pt x="2352" y="806"/>
                      </a:lnTo>
                      <a:lnTo>
                        <a:pt x="2350" y="823"/>
                      </a:lnTo>
                      <a:lnTo>
                        <a:pt x="2338" y="836"/>
                      </a:lnTo>
                      <a:lnTo>
                        <a:pt x="2335" y="844"/>
                      </a:lnTo>
                      <a:lnTo>
                        <a:pt x="2335" y="850"/>
                      </a:lnTo>
                      <a:lnTo>
                        <a:pt x="2338" y="856"/>
                      </a:lnTo>
                      <a:lnTo>
                        <a:pt x="2338" y="861"/>
                      </a:lnTo>
                      <a:lnTo>
                        <a:pt x="2335" y="864"/>
                      </a:lnTo>
                      <a:lnTo>
                        <a:pt x="2330" y="869"/>
                      </a:lnTo>
                      <a:lnTo>
                        <a:pt x="2333" y="872"/>
                      </a:lnTo>
                      <a:lnTo>
                        <a:pt x="2327" y="880"/>
                      </a:lnTo>
                      <a:lnTo>
                        <a:pt x="2333" y="883"/>
                      </a:lnTo>
                      <a:lnTo>
                        <a:pt x="2335" y="886"/>
                      </a:lnTo>
                      <a:lnTo>
                        <a:pt x="2330" y="900"/>
                      </a:lnTo>
                      <a:lnTo>
                        <a:pt x="2333" y="911"/>
                      </a:lnTo>
                      <a:lnTo>
                        <a:pt x="2333" y="916"/>
                      </a:lnTo>
                      <a:lnTo>
                        <a:pt x="2333" y="919"/>
                      </a:lnTo>
                      <a:lnTo>
                        <a:pt x="2327" y="928"/>
                      </a:lnTo>
                      <a:lnTo>
                        <a:pt x="2330" y="936"/>
                      </a:lnTo>
                      <a:lnTo>
                        <a:pt x="2338" y="941"/>
                      </a:lnTo>
                      <a:lnTo>
                        <a:pt x="2341" y="949"/>
                      </a:lnTo>
                      <a:lnTo>
                        <a:pt x="2343" y="961"/>
                      </a:lnTo>
                      <a:lnTo>
                        <a:pt x="2352" y="966"/>
                      </a:lnTo>
                      <a:lnTo>
                        <a:pt x="2360" y="980"/>
                      </a:lnTo>
                      <a:lnTo>
                        <a:pt x="2358" y="982"/>
                      </a:lnTo>
                      <a:lnTo>
                        <a:pt x="2355" y="990"/>
                      </a:lnTo>
                      <a:lnTo>
                        <a:pt x="2358" y="1005"/>
                      </a:lnTo>
                      <a:lnTo>
                        <a:pt x="2363" y="1007"/>
                      </a:lnTo>
                      <a:lnTo>
                        <a:pt x="2368" y="1015"/>
                      </a:lnTo>
                      <a:lnTo>
                        <a:pt x="2377" y="1021"/>
                      </a:lnTo>
                      <a:lnTo>
                        <a:pt x="2379" y="1026"/>
                      </a:lnTo>
                      <a:lnTo>
                        <a:pt x="2383" y="1030"/>
                      </a:lnTo>
                      <a:lnTo>
                        <a:pt x="2383" y="1038"/>
                      </a:lnTo>
                      <a:lnTo>
                        <a:pt x="2386" y="1043"/>
                      </a:lnTo>
                      <a:lnTo>
                        <a:pt x="2394" y="1046"/>
                      </a:lnTo>
                      <a:lnTo>
                        <a:pt x="2391" y="1063"/>
                      </a:lnTo>
                      <a:lnTo>
                        <a:pt x="2396" y="1068"/>
                      </a:lnTo>
                      <a:lnTo>
                        <a:pt x="2404" y="1074"/>
                      </a:lnTo>
                      <a:lnTo>
                        <a:pt x="2407" y="1076"/>
                      </a:lnTo>
                      <a:lnTo>
                        <a:pt x="2407" y="1090"/>
                      </a:lnTo>
                      <a:lnTo>
                        <a:pt x="2410" y="1104"/>
                      </a:lnTo>
                      <a:lnTo>
                        <a:pt x="2412" y="1115"/>
                      </a:lnTo>
                      <a:lnTo>
                        <a:pt x="2424" y="1145"/>
                      </a:lnTo>
                      <a:lnTo>
                        <a:pt x="2427" y="1148"/>
                      </a:lnTo>
                      <a:lnTo>
                        <a:pt x="2437" y="1151"/>
                      </a:lnTo>
                      <a:lnTo>
                        <a:pt x="2448" y="1148"/>
                      </a:lnTo>
                      <a:lnTo>
                        <a:pt x="2457" y="1151"/>
                      </a:lnTo>
                      <a:lnTo>
                        <a:pt x="2460" y="1153"/>
                      </a:lnTo>
                      <a:lnTo>
                        <a:pt x="2463" y="1159"/>
                      </a:lnTo>
                      <a:lnTo>
                        <a:pt x="2465" y="1164"/>
                      </a:lnTo>
                      <a:lnTo>
                        <a:pt x="2496" y="1187"/>
                      </a:lnTo>
                      <a:lnTo>
                        <a:pt x="2498" y="1197"/>
                      </a:lnTo>
                      <a:lnTo>
                        <a:pt x="2504" y="1204"/>
                      </a:lnTo>
                      <a:lnTo>
                        <a:pt x="2512" y="1209"/>
                      </a:lnTo>
                      <a:lnTo>
                        <a:pt x="2517" y="1209"/>
                      </a:lnTo>
                      <a:lnTo>
                        <a:pt x="2524" y="1214"/>
                      </a:lnTo>
                      <a:lnTo>
                        <a:pt x="2526" y="1220"/>
                      </a:lnTo>
                      <a:lnTo>
                        <a:pt x="2526" y="1231"/>
                      </a:lnTo>
                      <a:lnTo>
                        <a:pt x="2521" y="1242"/>
                      </a:lnTo>
                      <a:lnTo>
                        <a:pt x="2521" y="1250"/>
                      </a:lnTo>
                      <a:lnTo>
                        <a:pt x="2526" y="1261"/>
                      </a:lnTo>
                      <a:lnTo>
                        <a:pt x="2529" y="1264"/>
                      </a:lnTo>
                      <a:lnTo>
                        <a:pt x="2517" y="1281"/>
                      </a:lnTo>
                      <a:lnTo>
                        <a:pt x="2524" y="1286"/>
                      </a:lnTo>
                      <a:lnTo>
                        <a:pt x="2521" y="1294"/>
                      </a:lnTo>
                      <a:lnTo>
                        <a:pt x="2526" y="1302"/>
                      </a:lnTo>
                      <a:lnTo>
                        <a:pt x="2532" y="1309"/>
                      </a:lnTo>
                      <a:lnTo>
                        <a:pt x="2532" y="1314"/>
                      </a:lnTo>
                      <a:lnTo>
                        <a:pt x="2532" y="1317"/>
                      </a:lnTo>
                      <a:lnTo>
                        <a:pt x="2542" y="1333"/>
                      </a:lnTo>
                      <a:lnTo>
                        <a:pt x="2548" y="1335"/>
                      </a:lnTo>
                      <a:lnTo>
                        <a:pt x="2553" y="1335"/>
                      </a:lnTo>
                      <a:lnTo>
                        <a:pt x="2562" y="1330"/>
                      </a:lnTo>
                      <a:lnTo>
                        <a:pt x="2573" y="1327"/>
                      </a:lnTo>
                      <a:lnTo>
                        <a:pt x="2586" y="1327"/>
                      </a:lnTo>
                      <a:lnTo>
                        <a:pt x="2593" y="1333"/>
                      </a:lnTo>
                      <a:lnTo>
                        <a:pt x="2595" y="1347"/>
                      </a:lnTo>
                      <a:lnTo>
                        <a:pt x="2595" y="1355"/>
                      </a:lnTo>
                      <a:lnTo>
                        <a:pt x="2595" y="1363"/>
                      </a:lnTo>
                      <a:lnTo>
                        <a:pt x="2595" y="1366"/>
                      </a:lnTo>
                      <a:lnTo>
                        <a:pt x="2598" y="1371"/>
                      </a:lnTo>
                      <a:lnTo>
                        <a:pt x="2601" y="1378"/>
                      </a:lnTo>
                      <a:lnTo>
                        <a:pt x="2601" y="1386"/>
                      </a:lnTo>
                      <a:lnTo>
                        <a:pt x="2601" y="1388"/>
                      </a:lnTo>
                      <a:lnTo>
                        <a:pt x="2601" y="1391"/>
                      </a:lnTo>
                      <a:lnTo>
                        <a:pt x="2601" y="1394"/>
                      </a:lnTo>
                      <a:lnTo>
                        <a:pt x="2601" y="1399"/>
                      </a:lnTo>
                      <a:lnTo>
                        <a:pt x="2593" y="1413"/>
                      </a:lnTo>
                      <a:lnTo>
                        <a:pt x="2593" y="1419"/>
                      </a:lnTo>
                      <a:lnTo>
                        <a:pt x="2593" y="1424"/>
                      </a:lnTo>
                      <a:lnTo>
                        <a:pt x="2598" y="1427"/>
                      </a:lnTo>
                      <a:lnTo>
                        <a:pt x="2586" y="1440"/>
                      </a:lnTo>
                      <a:lnTo>
                        <a:pt x="2583" y="1447"/>
                      </a:lnTo>
                      <a:lnTo>
                        <a:pt x="2590" y="1447"/>
                      </a:lnTo>
                      <a:lnTo>
                        <a:pt x="2595" y="1447"/>
                      </a:lnTo>
                      <a:lnTo>
                        <a:pt x="2603" y="1443"/>
                      </a:lnTo>
                      <a:lnTo>
                        <a:pt x="2611" y="1440"/>
                      </a:lnTo>
                      <a:lnTo>
                        <a:pt x="2614" y="1440"/>
                      </a:lnTo>
                      <a:lnTo>
                        <a:pt x="2619" y="1435"/>
                      </a:lnTo>
                      <a:lnTo>
                        <a:pt x="2622" y="1438"/>
                      </a:lnTo>
                      <a:lnTo>
                        <a:pt x="2628" y="1443"/>
                      </a:lnTo>
                      <a:lnTo>
                        <a:pt x="2634" y="1447"/>
                      </a:lnTo>
                      <a:lnTo>
                        <a:pt x="2639" y="1455"/>
                      </a:lnTo>
                      <a:lnTo>
                        <a:pt x="2642" y="1460"/>
                      </a:lnTo>
                      <a:lnTo>
                        <a:pt x="2639" y="1471"/>
                      </a:lnTo>
                      <a:lnTo>
                        <a:pt x="2636" y="1471"/>
                      </a:lnTo>
                      <a:lnTo>
                        <a:pt x="2631" y="1471"/>
                      </a:lnTo>
                      <a:lnTo>
                        <a:pt x="2628" y="1473"/>
                      </a:lnTo>
                      <a:lnTo>
                        <a:pt x="2626" y="1476"/>
                      </a:lnTo>
                      <a:lnTo>
                        <a:pt x="2626" y="1479"/>
                      </a:lnTo>
                      <a:lnTo>
                        <a:pt x="2626" y="1485"/>
                      </a:lnTo>
                      <a:lnTo>
                        <a:pt x="2634" y="1493"/>
                      </a:lnTo>
                      <a:lnTo>
                        <a:pt x="2634" y="1506"/>
                      </a:lnTo>
                      <a:lnTo>
                        <a:pt x="2636" y="1509"/>
                      </a:lnTo>
                      <a:lnTo>
                        <a:pt x="2634" y="1518"/>
                      </a:lnTo>
                      <a:lnTo>
                        <a:pt x="2628" y="1524"/>
                      </a:lnTo>
                      <a:lnTo>
                        <a:pt x="2631" y="1526"/>
                      </a:lnTo>
                      <a:lnTo>
                        <a:pt x="2634" y="1529"/>
                      </a:lnTo>
                      <a:lnTo>
                        <a:pt x="2642" y="1524"/>
                      </a:lnTo>
                      <a:lnTo>
                        <a:pt x="2647" y="1529"/>
                      </a:lnTo>
                      <a:lnTo>
                        <a:pt x="2659" y="1532"/>
                      </a:lnTo>
                      <a:lnTo>
                        <a:pt x="2662" y="1534"/>
                      </a:lnTo>
                      <a:lnTo>
                        <a:pt x="2670" y="1554"/>
                      </a:lnTo>
                      <a:lnTo>
                        <a:pt x="2680" y="1554"/>
                      </a:lnTo>
                      <a:lnTo>
                        <a:pt x="2691" y="1559"/>
                      </a:lnTo>
                      <a:lnTo>
                        <a:pt x="2708" y="1559"/>
                      </a:lnTo>
                      <a:lnTo>
                        <a:pt x="2713" y="1562"/>
                      </a:lnTo>
                      <a:lnTo>
                        <a:pt x="2733" y="1562"/>
                      </a:lnTo>
                      <a:lnTo>
                        <a:pt x="2739" y="1562"/>
                      </a:lnTo>
                      <a:lnTo>
                        <a:pt x="2744" y="1567"/>
                      </a:lnTo>
                      <a:lnTo>
                        <a:pt x="2755" y="1567"/>
                      </a:lnTo>
                      <a:lnTo>
                        <a:pt x="2755" y="1570"/>
                      </a:lnTo>
                      <a:lnTo>
                        <a:pt x="2761" y="1584"/>
                      </a:lnTo>
                      <a:lnTo>
                        <a:pt x="2757" y="1593"/>
                      </a:lnTo>
                      <a:lnTo>
                        <a:pt x="2757" y="1598"/>
                      </a:lnTo>
                      <a:lnTo>
                        <a:pt x="2761" y="1601"/>
                      </a:lnTo>
                      <a:lnTo>
                        <a:pt x="2764" y="1601"/>
                      </a:lnTo>
                      <a:lnTo>
                        <a:pt x="2774" y="1606"/>
                      </a:lnTo>
                      <a:lnTo>
                        <a:pt x="2782" y="1603"/>
                      </a:lnTo>
                      <a:lnTo>
                        <a:pt x="2785" y="1598"/>
                      </a:lnTo>
                      <a:lnTo>
                        <a:pt x="2785" y="1595"/>
                      </a:lnTo>
                      <a:lnTo>
                        <a:pt x="2780" y="1590"/>
                      </a:lnTo>
                      <a:lnTo>
                        <a:pt x="2777" y="1587"/>
                      </a:lnTo>
                      <a:lnTo>
                        <a:pt x="2777" y="1584"/>
                      </a:lnTo>
                      <a:lnTo>
                        <a:pt x="2782" y="1581"/>
                      </a:lnTo>
                      <a:lnTo>
                        <a:pt x="2788" y="1578"/>
                      </a:lnTo>
                      <a:lnTo>
                        <a:pt x="2799" y="1575"/>
                      </a:lnTo>
                      <a:lnTo>
                        <a:pt x="2808" y="1578"/>
                      </a:lnTo>
                      <a:lnTo>
                        <a:pt x="2808" y="1575"/>
                      </a:lnTo>
                      <a:lnTo>
                        <a:pt x="2810" y="1573"/>
                      </a:lnTo>
                      <a:lnTo>
                        <a:pt x="2808" y="1559"/>
                      </a:lnTo>
                      <a:lnTo>
                        <a:pt x="2810" y="1557"/>
                      </a:lnTo>
                      <a:lnTo>
                        <a:pt x="2813" y="1557"/>
                      </a:lnTo>
                      <a:lnTo>
                        <a:pt x="2818" y="1559"/>
                      </a:lnTo>
                      <a:lnTo>
                        <a:pt x="2818" y="1562"/>
                      </a:lnTo>
                      <a:lnTo>
                        <a:pt x="2818" y="1573"/>
                      </a:lnTo>
                      <a:lnTo>
                        <a:pt x="2818" y="1575"/>
                      </a:lnTo>
                      <a:lnTo>
                        <a:pt x="2821" y="1575"/>
                      </a:lnTo>
                      <a:lnTo>
                        <a:pt x="2824" y="1578"/>
                      </a:lnTo>
                      <a:lnTo>
                        <a:pt x="2824" y="1575"/>
                      </a:lnTo>
                      <a:lnTo>
                        <a:pt x="2830" y="1565"/>
                      </a:lnTo>
                      <a:lnTo>
                        <a:pt x="2835" y="1562"/>
                      </a:lnTo>
                      <a:lnTo>
                        <a:pt x="2846" y="1573"/>
                      </a:lnTo>
                      <a:lnTo>
                        <a:pt x="2849" y="1575"/>
                      </a:lnTo>
                      <a:lnTo>
                        <a:pt x="2882" y="1573"/>
                      </a:lnTo>
                      <a:lnTo>
                        <a:pt x="2893" y="1565"/>
                      </a:lnTo>
                      <a:lnTo>
                        <a:pt x="2923" y="1534"/>
                      </a:lnTo>
                      <a:lnTo>
                        <a:pt x="2928" y="1526"/>
                      </a:lnTo>
                      <a:lnTo>
                        <a:pt x="2931" y="1521"/>
                      </a:lnTo>
                      <a:lnTo>
                        <a:pt x="2931" y="1512"/>
                      </a:lnTo>
                      <a:lnTo>
                        <a:pt x="2928" y="1504"/>
                      </a:lnTo>
                      <a:lnTo>
                        <a:pt x="2926" y="1473"/>
                      </a:lnTo>
                      <a:lnTo>
                        <a:pt x="2928" y="1473"/>
                      </a:lnTo>
                      <a:lnTo>
                        <a:pt x="2928" y="1460"/>
                      </a:lnTo>
                      <a:lnTo>
                        <a:pt x="2931" y="1432"/>
                      </a:lnTo>
                      <a:lnTo>
                        <a:pt x="2931" y="1421"/>
                      </a:lnTo>
                      <a:lnTo>
                        <a:pt x="2931" y="1419"/>
                      </a:lnTo>
                      <a:lnTo>
                        <a:pt x="2935" y="1416"/>
                      </a:lnTo>
                      <a:lnTo>
                        <a:pt x="2938" y="1410"/>
                      </a:lnTo>
                      <a:lnTo>
                        <a:pt x="2940" y="1407"/>
                      </a:lnTo>
                      <a:lnTo>
                        <a:pt x="2968" y="1360"/>
                      </a:lnTo>
                      <a:lnTo>
                        <a:pt x="2979" y="1350"/>
                      </a:lnTo>
                      <a:lnTo>
                        <a:pt x="2995" y="1330"/>
                      </a:lnTo>
                      <a:lnTo>
                        <a:pt x="3000" y="1325"/>
                      </a:lnTo>
                      <a:lnTo>
                        <a:pt x="3012" y="1317"/>
                      </a:lnTo>
                      <a:lnTo>
                        <a:pt x="3025" y="1302"/>
                      </a:lnTo>
                      <a:lnTo>
                        <a:pt x="3033" y="1286"/>
                      </a:lnTo>
                      <a:lnTo>
                        <a:pt x="3040" y="1266"/>
                      </a:lnTo>
                      <a:lnTo>
                        <a:pt x="3045" y="1261"/>
                      </a:lnTo>
                      <a:lnTo>
                        <a:pt x="3064" y="1242"/>
                      </a:lnTo>
                      <a:lnTo>
                        <a:pt x="3066" y="1220"/>
                      </a:lnTo>
                      <a:lnTo>
                        <a:pt x="3066" y="1217"/>
                      </a:lnTo>
                      <a:lnTo>
                        <a:pt x="3069" y="1212"/>
                      </a:lnTo>
                      <a:lnTo>
                        <a:pt x="3076" y="1204"/>
                      </a:lnTo>
                      <a:lnTo>
                        <a:pt x="3078" y="1200"/>
                      </a:lnTo>
                      <a:lnTo>
                        <a:pt x="3086" y="1192"/>
                      </a:lnTo>
                      <a:lnTo>
                        <a:pt x="3092" y="1184"/>
                      </a:lnTo>
                      <a:lnTo>
                        <a:pt x="3102" y="1171"/>
                      </a:lnTo>
                      <a:lnTo>
                        <a:pt x="3109" y="1159"/>
                      </a:lnTo>
                      <a:lnTo>
                        <a:pt x="3122" y="1137"/>
                      </a:lnTo>
                      <a:lnTo>
                        <a:pt x="3139" y="1131"/>
                      </a:lnTo>
                      <a:lnTo>
                        <a:pt x="3163" y="1128"/>
                      </a:lnTo>
                      <a:lnTo>
                        <a:pt x="3171" y="1123"/>
                      </a:lnTo>
                      <a:lnTo>
                        <a:pt x="3175" y="1123"/>
                      </a:lnTo>
                      <a:lnTo>
                        <a:pt x="3183" y="1118"/>
                      </a:lnTo>
                      <a:lnTo>
                        <a:pt x="3191" y="1110"/>
                      </a:lnTo>
                      <a:lnTo>
                        <a:pt x="3196" y="1102"/>
                      </a:lnTo>
                      <a:lnTo>
                        <a:pt x="3199" y="1099"/>
                      </a:lnTo>
                      <a:lnTo>
                        <a:pt x="3208" y="1087"/>
                      </a:lnTo>
                      <a:lnTo>
                        <a:pt x="3211" y="1087"/>
                      </a:lnTo>
                      <a:lnTo>
                        <a:pt x="3211" y="1084"/>
                      </a:lnTo>
                      <a:lnTo>
                        <a:pt x="3219" y="1074"/>
                      </a:lnTo>
                      <a:lnTo>
                        <a:pt x="3222" y="1071"/>
                      </a:lnTo>
                      <a:lnTo>
                        <a:pt x="3238" y="1057"/>
                      </a:lnTo>
                      <a:lnTo>
                        <a:pt x="3244" y="1054"/>
                      </a:lnTo>
                      <a:lnTo>
                        <a:pt x="3249" y="1054"/>
                      </a:lnTo>
                      <a:lnTo>
                        <a:pt x="3285" y="1043"/>
                      </a:lnTo>
                      <a:lnTo>
                        <a:pt x="3299" y="1041"/>
                      </a:lnTo>
                      <a:lnTo>
                        <a:pt x="3316" y="1033"/>
                      </a:lnTo>
                      <a:lnTo>
                        <a:pt x="3346" y="1010"/>
                      </a:lnTo>
                      <a:lnTo>
                        <a:pt x="3354" y="999"/>
                      </a:lnTo>
                      <a:lnTo>
                        <a:pt x="3362" y="990"/>
                      </a:lnTo>
                      <a:lnTo>
                        <a:pt x="3373" y="982"/>
                      </a:lnTo>
                      <a:lnTo>
                        <a:pt x="3382" y="974"/>
                      </a:lnTo>
                      <a:lnTo>
                        <a:pt x="3390" y="958"/>
                      </a:lnTo>
                      <a:lnTo>
                        <a:pt x="3398" y="941"/>
                      </a:lnTo>
                      <a:lnTo>
                        <a:pt x="3403" y="930"/>
                      </a:lnTo>
                      <a:lnTo>
                        <a:pt x="3411" y="905"/>
                      </a:lnTo>
                      <a:lnTo>
                        <a:pt x="3421" y="895"/>
                      </a:lnTo>
                      <a:lnTo>
                        <a:pt x="3423" y="886"/>
                      </a:lnTo>
                      <a:lnTo>
                        <a:pt x="3426" y="864"/>
                      </a:lnTo>
                      <a:lnTo>
                        <a:pt x="3434" y="847"/>
                      </a:lnTo>
                      <a:lnTo>
                        <a:pt x="3439" y="836"/>
                      </a:lnTo>
                      <a:lnTo>
                        <a:pt x="3451" y="826"/>
                      </a:lnTo>
                      <a:lnTo>
                        <a:pt x="3454" y="826"/>
                      </a:lnTo>
                      <a:lnTo>
                        <a:pt x="3456" y="823"/>
                      </a:lnTo>
                      <a:lnTo>
                        <a:pt x="3475" y="809"/>
                      </a:lnTo>
                      <a:lnTo>
                        <a:pt x="3490" y="803"/>
                      </a:lnTo>
                      <a:lnTo>
                        <a:pt x="3517" y="798"/>
                      </a:lnTo>
                      <a:lnTo>
                        <a:pt x="3523" y="795"/>
                      </a:lnTo>
                      <a:lnTo>
                        <a:pt x="3536" y="792"/>
                      </a:lnTo>
                      <a:lnTo>
                        <a:pt x="3553" y="792"/>
                      </a:lnTo>
                      <a:lnTo>
                        <a:pt x="3577" y="792"/>
                      </a:lnTo>
                      <a:lnTo>
                        <a:pt x="3580" y="817"/>
                      </a:lnTo>
                      <a:lnTo>
                        <a:pt x="3594" y="828"/>
                      </a:lnTo>
                      <a:lnTo>
                        <a:pt x="3600" y="847"/>
                      </a:lnTo>
                      <a:lnTo>
                        <a:pt x="3602" y="875"/>
                      </a:lnTo>
                      <a:lnTo>
                        <a:pt x="3600" y="883"/>
                      </a:lnTo>
                      <a:lnTo>
                        <a:pt x="3597" y="919"/>
                      </a:lnTo>
                      <a:lnTo>
                        <a:pt x="3597" y="930"/>
                      </a:lnTo>
                      <a:lnTo>
                        <a:pt x="3592" y="946"/>
                      </a:lnTo>
                      <a:lnTo>
                        <a:pt x="3610" y="946"/>
                      </a:lnTo>
                      <a:lnTo>
                        <a:pt x="3625" y="952"/>
                      </a:lnTo>
                      <a:lnTo>
                        <a:pt x="3627" y="952"/>
                      </a:lnTo>
                      <a:lnTo>
                        <a:pt x="3630" y="952"/>
                      </a:lnTo>
                      <a:lnTo>
                        <a:pt x="3633" y="949"/>
                      </a:lnTo>
                      <a:lnTo>
                        <a:pt x="3638" y="952"/>
                      </a:lnTo>
                      <a:lnTo>
                        <a:pt x="3644" y="955"/>
                      </a:lnTo>
                      <a:lnTo>
                        <a:pt x="3644" y="952"/>
                      </a:lnTo>
                      <a:lnTo>
                        <a:pt x="3652" y="955"/>
                      </a:lnTo>
                      <a:lnTo>
                        <a:pt x="3655" y="958"/>
                      </a:lnTo>
                      <a:lnTo>
                        <a:pt x="3679" y="946"/>
                      </a:lnTo>
                      <a:lnTo>
                        <a:pt x="3682" y="944"/>
                      </a:lnTo>
                      <a:lnTo>
                        <a:pt x="3687" y="949"/>
                      </a:lnTo>
                      <a:lnTo>
                        <a:pt x="3694" y="946"/>
                      </a:lnTo>
                      <a:lnTo>
                        <a:pt x="3699" y="946"/>
                      </a:lnTo>
                      <a:lnTo>
                        <a:pt x="3705" y="946"/>
                      </a:lnTo>
                      <a:lnTo>
                        <a:pt x="3713" y="941"/>
                      </a:lnTo>
                      <a:lnTo>
                        <a:pt x="3718" y="946"/>
                      </a:lnTo>
                      <a:lnTo>
                        <a:pt x="3724" y="952"/>
                      </a:lnTo>
                      <a:lnTo>
                        <a:pt x="3724" y="949"/>
                      </a:lnTo>
                      <a:lnTo>
                        <a:pt x="3721" y="944"/>
                      </a:lnTo>
                      <a:lnTo>
                        <a:pt x="3721" y="941"/>
                      </a:lnTo>
                      <a:lnTo>
                        <a:pt x="3724" y="938"/>
                      </a:lnTo>
                      <a:lnTo>
                        <a:pt x="3724" y="941"/>
                      </a:lnTo>
                      <a:lnTo>
                        <a:pt x="3727" y="941"/>
                      </a:lnTo>
                      <a:lnTo>
                        <a:pt x="3730" y="938"/>
                      </a:lnTo>
                      <a:lnTo>
                        <a:pt x="3732" y="938"/>
                      </a:lnTo>
                      <a:lnTo>
                        <a:pt x="3735" y="936"/>
                      </a:lnTo>
                      <a:lnTo>
                        <a:pt x="3748" y="933"/>
                      </a:lnTo>
                      <a:lnTo>
                        <a:pt x="3751" y="938"/>
                      </a:lnTo>
                      <a:lnTo>
                        <a:pt x="3754" y="938"/>
                      </a:lnTo>
                      <a:lnTo>
                        <a:pt x="3751" y="944"/>
                      </a:lnTo>
                      <a:lnTo>
                        <a:pt x="3754" y="944"/>
                      </a:lnTo>
                      <a:lnTo>
                        <a:pt x="3756" y="941"/>
                      </a:lnTo>
                      <a:lnTo>
                        <a:pt x="3760" y="944"/>
                      </a:lnTo>
                      <a:lnTo>
                        <a:pt x="3763" y="944"/>
                      </a:lnTo>
                      <a:lnTo>
                        <a:pt x="3766" y="946"/>
                      </a:lnTo>
                      <a:lnTo>
                        <a:pt x="3766" y="949"/>
                      </a:lnTo>
                      <a:lnTo>
                        <a:pt x="3774" y="955"/>
                      </a:lnTo>
                      <a:lnTo>
                        <a:pt x="3779" y="974"/>
                      </a:lnTo>
                      <a:lnTo>
                        <a:pt x="3784" y="982"/>
                      </a:lnTo>
                      <a:lnTo>
                        <a:pt x="3796" y="1002"/>
                      </a:lnTo>
                      <a:lnTo>
                        <a:pt x="3812" y="1026"/>
                      </a:lnTo>
                      <a:lnTo>
                        <a:pt x="3832" y="1054"/>
                      </a:lnTo>
                      <a:lnTo>
                        <a:pt x="3835" y="1057"/>
                      </a:lnTo>
                      <a:lnTo>
                        <a:pt x="3837" y="1059"/>
                      </a:lnTo>
                      <a:lnTo>
                        <a:pt x="3840" y="1057"/>
                      </a:lnTo>
                      <a:lnTo>
                        <a:pt x="3845" y="1059"/>
                      </a:lnTo>
                      <a:lnTo>
                        <a:pt x="3848" y="1063"/>
                      </a:lnTo>
                      <a:lnTo>
                        <a:pt x="3853" y="1063"/>
                      </a:lnTo>
                      <a:lnTo>
                        <a:pt x="3853" y="1066"/>
                      </a:lnTo>
                      <a:lnTo>
                        <a:pt x="3865" y="1068"/>
                      </a:lnTo>
                      <a:lnTo>
                        <a:pt x="3865" y="1071"/>
                      </a:lnTo>
                      <a:lnTo>
                        <a:pt x="3868" y="1074"/>
                      </a:lnTo>
                      <a:lnTo>
                        <a:pt x="3868" y="1076"/>
                      </a:lnTo>
                      <a:lnTo>
                        <a:pt x="3865" y="1079"/>
                      </a:lnTo>
                      <a:lnTo>
                        <a:pt x="3862" y="1079"/>
                      </a:lnTo>
                      <a:lnTo>
                        <a:pt x="3862" y="1082"/>
                      </a:lnTo>
                      <a:lnTo>
                        <a:pt x="3870" y="1082"/>
                      </a:lnTo>
                      <a:lnTo>
                        <a:pt x="3873" y="1087"/>
                      </a:lnTo>
                      <a:lnTo>
                        <a:pt x="4019" y="1153"/>
                      </a:lnTo>
                      <a:lnTo>
                        <a:pt x="4024" y="1164"/>
                      </a:lnTo>
                      <a:lnTo>
                        <a:pt x="4041" y="1173"/>
                      </a:lnTo>
                      <a:lnTo>
                        <a:pt x="4052" y="1181"/>
                      </a:lnTo>
                      <a:lnTo>
                        <a:pt x="4058" y="1184"/>
                      </a:lnTo>
                      <a:lnTo>
                        <a:pt x="4063" y="1184"/>
                      </a:lnTo>
                      <a:lnTo>
                        <a:pt x="4067" y="1184"/>
                      </a:lnTo>
                      <a:lnTo>
                        <a:pt x="4067" y="1181"/>
                      </a:lnTo>
                      <a:lnTo>
                        <a:pt x="4075" y="1179"/>
                      </a:lnTo>
                      <a:lnTo>
                        <a:pt x="4085" y="1179"/>
                      </a:lnTo>
                      <a:lnTo>
                        <a:pt x="4091" y="1181"/>
                      </a:lnTo>
                      <a:lnTo>
                        <a:pt x="4093" y="1179"/>
                      </a:lnTo>
                      <a:lnTo>
                        <a:pt x="4099" y="1181"/>
                      </a:lnTo>
                      <a:lnTo>
                        <a:pt x="4102" y="1179"/>
                      </a:lnTo>
                      <a:lnTo>
                        <a:pt x="4108" y="1179"/>
                      </a:lnTo>
                      <a:lnTo>
                        <a:pt x="4110" y="1181"/>
                      </a:lnTo>
                      <a:lnTo>
                        <a:pt x="4116" y="1187"/>
                      </a:lnTo>
                      <a:lnTo>
                        <a:pt x="4119" y="1187"/>
                      </a:lnTo>
                      <a:lnTo>
                        <a:pt x="4127" y="1192"/>
                      </a:lnTo>
                      <a:lnTo>
                        <a:pt x="4138" y="1192"/>
                      </a:lnTo>
                      <a:lnTo>
                        <a:pt x="4144" y="1195"/>
                      </a:lnTo>
                      <a:lnTo>
                        <a:pt x="4149" y="1195"/>
                      </a:lnTo>
                      <a:lnTo>
                        <a:pt x="4154" y="1192"/>
                      </a:lnTo>
                      <a:lnTo>
                        <a:pt x="4157" y="1189"/>
                      </a:lnTo>
                      <a:lnTo>
                        <a:pt x="4171" y="1184"/>
                      </a:lnTo>
                      <a:lnTo>
                        <a:pt x="4185" y="1184"/>
                      </a:lnTo>
                      <a:lnTo>
                        <a:pt x="4187" y="1187"/>
                      </a:lnTo>
                      <a:lnTo>
                        <a:pt x="4190" y="1184"/>
                      </a:lnTo>
                      <a:lnTo>
                        <a:pt x="4198" y="1187"/>
                      </a:lnTo>
                      <a:lnTo>
                        <a:pt x="4201" y="1189"/>
                      </a:lnTo>
                      <a:lnTo>
                        <a:pt x="4205" y="1187"/>
                      </a:lnTo>
                      <a:lnTo>
                        <a:pt x="4213" y="1187"/>
                      </a:lnTo>
                      <a:lnTo>
                        <a:pt x="4218" y="1187"/>
                      </a:lnTo>
                      <a:lnTo>
                        <a:pt x="4223" y="1189"/>
                      </a:lnTo>
                      <a:lnTo>
                        <a:pt x="4237" y="1184"/>
                      </a:lnTo>
                      <a:lnTo>
                        <a:pt x="4251" y="1189"/>
                      </a:lnTo>
                      <a:lnTo>
                        <a:pt x="4257" y="1195"/>
                      </a:lnTo>
                      <a:lnTo>
                        <a:pt x="4262" y="1195"/>
                      </a:lnTo>
                      <a:lnTo>
                        <a:pt x="4265" y="1197"/>
                      </a:lnTo>
                      <a:lnTo>
                        <a:pt x="4267" y="1200"/>
                      </a:lnTo>
                      <a:lnTo>
                        <a:pt x="4270" y="1204"/>
                      </a:lnTo>
                      <a:lnTo>
                        <a:pt x="4274" y="1214"/>
                      </a:lnTo>
                      <a:lnTo>
                        <a:pt x="4270" y="1240"/>
                      </a:lnTo>
                      <a:lnTo>
                        <a:pt x="4270" y="1242"/>
                      </a:lnTo>
                      <a:lnTo>
                        <a:pt x="4254" y="1256"/>
                      </a:lnTo>
                      <a:lnTo>
                        <a:pt x="4248" y="1264"/>
                      </a:lnTo>
                      <a:lnTo>
                        <a:pt x="4246" y="1286"/>
                      </a:lnTo>
                      <a:lnTo>
                        <a:pt x="4237" y="1297"/>
                      </a:lnTo>
                      <a:lnTo>
                        <a:pt x="4334" y="1330"/>
                      </a:lnTo>
                      <a:lnTo>
                        <a:pt x="4430" y="1366"/>
                      </a:lnTo>
                      <a:lnTo>
                        <a:pt x="4430" y="1371"/>
                      </a:lnTo>
                      <a:lnTo>
                        <a:pt x="4430" y="1380"/>
                      </a:lnTo>
                      <a:lnTo>
                        <a:pt x="4430" y="1383"/>
                      </a:lnTo>
                      <a:lnTo>
                        <a:pt x="4433" y="1383"/>
                      </a:lnTo>
                      <a:lnTo>
                        <a:pt x="4436" y="1383"/>
                      </a:lnTo>
                      <a:lnTo>
                        <a:pt x="4436" y="1378"/>
                      </a:lnTo>
                      <a:lnTo>
                        <a:pt x="4438" y="1378"/>
                      </a:lnTo>
                      <a:lnTo>
                        <a:pt x="4438" y="1374"/>
                      </a:lnTo>
                      <a:lnTo>
                        <a:pt x="4441" y="1369"/>
                      </a:lnTo>
                      <a:lnTo>
                        <a:pt x="4445" y="1366"/>
                      </a:lnTo>
                      <a:lnTo>
                        <a:pt x="4445" y="1360"/>
                      </a:lnTo>
                      <a:lnTo>
                        <a:pt x="4445" y="1355"/>
                      </a:lnTo>
                      <a:lnTo>
                        <a:pt x="4450" y="1350"/>
                      </a:lnTo>
                      <a:lnTo>
                        <a:pt x="4455" y="1352"/>
                      </a:lnTo>
                      <a:lnTo>
                        <a:pt x="4461" y="1347"/>
                      </a:lnTo>
                      <a:lnTo>
                        <a:pt x="4464" y="1350"/>
                      </a:lnTo>
                      <a:lnTo>
                        <a:pt x="4466" y="1344"/>
                      </a:lnTo>
                      <a:lnTo>
                        <a:pt x="4466" y="1338"/>
                      </a:lnTo>
                      <a:lnTo>
                        <a:pt x="4469" y="1338"/>
                      </a:lnTo>
                      <a:lnTo>
                        <a:pt x="4469" y="1335"/>
                      </a:lnTo>
                      <a:lnTo>
                        <a:pt x="4466" y="1333"/>
                      </a:lnTo>
                      <a:lnTo>
                        <a:pt x="4469" y="1330"/>
                      </a:lnTo>
                      <a:lnTo>
                        <a:pt x="4472" y="1327"/>
                      </a:lnTo>
                      <a:lnTo>
                        <a:pt x="4472" y="1325"/>
                      </a:lnTo>
                      <a:lnTo>
                        <a:pt x="4469" y="1327"/>
                      </a:lnTo>
                      <a:lnTo>
                        <a:pt x="4469" y="1322"/>
                      </a:lnTo>
                      <a:lnTo>
                        <a:pt x="4472" y="1319"/>
                      </a:lnTo>
                      <a:lnTo>
                        <a:pt x="4477" y="1319"/>
                      </a:lnTo>
                      <a:lnTo>
                        <a:pt x="4486" y="1319"/>
                      </a:lnTo>
                      <a:lnTo>
                        <a:pt x="4489" y="1327"/>
                      </a:lnTo>
                      <a:lnTo>
                        <a:pt x="4489" y="1330"/>
                      </a:lnTo>
                      <a:lnTo>
                        <a:pt x="4489" y="1333"/>
                      </a:lnTo>
                      <a:lnTo>
                        <a:pt x="4494" y="1333"/>
                      </a:lnTo>
                      <a:lnTo>
                        <a:pt x="4491" y="1335"/>
                      </a:lnTo>
                      <a:lnTo>
                        <a:pt x="4494" y="1338"/>
                      </a:lnTo>
                      <a:lnTo>
                        <a:pt x="4491" y="1338"/>
                      </a:lnTo>
                      <a:lnTo>
                        <a:pt x="4494" y="1347"/>
                      </a:lnTo>
                      <a:lnTo>
                        <a:pt x="4491" y="1352"/>
                      </a:lnTo>
                      <a:lnTo>
                        <a:pt x="4489" y="1360"/>
                      </a:lnTo>
                      <a:lnTo>
                        <a:pt x="4486" y="1363"/>
                      </a:lnTo>
                      <a:lnTo>
                        <a:pt x="4486" y="1366"/>
                      </a:lnTo>
                      <a:lnTo>
                        <a:pt x="4483" y="1371"/>
                      </a:lnTo>
                      <a:lnTo>
                        <a:pt x="4486" y="1371"/>
                      </a:lnTo>
                      <a:lnTo>
                        <a:pt x="4489" y="1369"/>
                      </a:lnTo>
                      <a:lnTo>
                        <a:pt x="4491" y="1366"/>
                      </a:lnTo>
                      <a:lnTo>
                        <a:pt x="4494" y="1371"/>
                      </a:lnTo>
                      <a:lnTo>
                        <a:pt x="4497" y="1371"/>
                      </a:lnTo>
                      <a:lnTo>
                        <a:pt x="4502" y="1366"/>
                      </a:lnTo>
                      <a:lnTo>
                        <a:pt x="4502" y="1358"/>
                      </a:lnTo>
                      <a:lnTo>
                        <a:pt x="4502" y="1355"/>
                      </a:lnTo>
                      <a:lnTo>
                        <a:pt x="4505" y="1352"/>
                      </a:lnTo>
                      <a:lnTo>
                        <a:pt x="4502" y="1344"/>
                      </a:lnTo>
                      <a:lnTo>
                        <a:pt x="4502" y="1338"/>
                      </a:lnTo>
                      <a:lnTo>
                        <a:pt x="4507" y="1335"/>
                      </a:lnTo>
                      <a:lnTo>
                        <a:pt x="4505" y="1333"/>
                      </a:lnTo>
                      <a:lnTo>
                        <a:pt x="4507" y="1327"/>
                      </a:lnTo>
                      <a:lnTo>
                        <a:pt x="4505" y="1322"/>
                      </a:lnTo>
                      <a:lnTo>
                        <a:pt x="4510" y="1317"/>
                      </a:lnTo>
                      <a:lnTo>
                        <a:pt x="4516" y="1319"/>
                      </a:lnTo>
                      <a:lnTo>
                        <a:pt x="4516" y="1322"/>
                      </a:lnTo>
                      <a:lnTo>
                        <a:pt x="4516" y="1325"/>
                      </a:lnTo>
                      <a:lnTo>
                        <a:pt x="4510" y="1330"/>
                      </a:lnTo>
                      <a:lnTo>
                        <a:pt x="4510" y="1333"/>
                      </a:lnTo>
                      <a:lnTo>
                        <a:pt x="4514" y="1333"/>
                      </a:lnTo>
                      <a:lnTo>
                        <a:pt x="4522" y="1330"/>
                      </a:lnTo>
                      <a:lnTo>
                        <a:pt x="4524" y="1333"/>
                      </a:lnTo>
                      <a:lnTo>
                        <a:pt x="4522" y="1335"/>
                      </a:lnTo>
                      <a:lnTo>
                        <a:pt x="4527" y="1347"/>
                      </a:lnTo>
                      <a:lnTo>
                        <a:pt x="4524" y="1355"/>
                      </a:lnTo>
                      <a:lnTo>
                        <a:pt x="4527" y="1352"/>
                      </a:lnTo>
                      <a:lnTo>
                        <a:pt x="4530" y="1347"/>
                      </a:lnTo>
                      <a:lnTo>
                        <a:pt x="4530" y="1342"/>
                      </a:lnTo>
                      <a:lnTo>
                        <a:pt x="4533" y="1338"/>
                      </a:lnTo>
                      <a:lnTo>
                        <a:pt x="4533" y="1335"/>
                      </a:lnTo>
                      <a:lnTo>
                        <a:pt x="4530" y="1330"/>
                      </a:lnTo>
                      <a:lnTo>
                        <a:pt x="4527" y="1327"/>
                      </a:lnTo>
                      <a:lnTo>
                        <a:pt x="4527" y="1325"/>
                      </a:lnTo>
                      <a:lnTo>
                        <a:pt x="4527" y="1322"/>
                      </a:lnTo>
                      <a:lnTo>
                        <a:pt x="4535" y="1325"/>
                      </a:lnTo>
                      <a:lnTo>
                        <a:pt x="4538" y="1319"/>
                      </a:lnTo>
                      <a:lnTo>
                        <a:pt x="4538" y="1317"/>
                      </a:lnTo>
                      <a:lnTo>
                        <a:pt x="4543" y="1314"/>
                      </a:lnTo>
                      <a:lnTo>
                        <a:pt x="4543" y="1311"/>
                      </a:lnTo>
                      <a:lnTo>
                        <a:pt x="4550" y="1311"/>
                      </a:lnTo>
                      <a:lnTo>
                        <a:pt x="4555" y="1314"/>
                      </a:lnTo>
                      <a:lnTo>
                        <a:pt x="4552" y="1317"/>
                      </a:lnTo>
                      <a:lnTo>
                        <a:pt x="4558" y="1327"/>
                      </a:lnTo>
                      <a:lnTo>
                        <a:pt x="4555" y="1330"/>
                      </a:lnTo>
                      <a:lnTo>
                        <a:pt x="4552" y="1335"/>
                      </a:lnTo>
                      <a:lnTo>
                        <a:pt x="4558" y="1338"/>
                      </a:lnTo>
                      <a:lnTo>
                        <a:pt x="4558" y="1335"/>
                      </a:lnTo>
                      <a:lnTo>
                        <a:pt x="4560" y="1335"/>
                      </a:lnTo>
                      <a:lnTo>
                        <a:pt x="4568" y="1330"/>
                      </a:lnTo>
                      <a:lnTo>
                        <a:pt x="4574" y="1333"/>
                      </a:lnTo>
                      <a:lnTo>
                        <a:pt x="4576" y="1342"/>
                      </a:lnTo>
                      <a:lnTo>
                        <a:pt x="4579" y="1347"/>
                      </a:lnTo>
                      <a:lnTo>
                        <a:pt x="4583" y="1350"/>
                      </a:lnTo>
                      <a:lnTo>
                        <a:pt x="4583" y="1352"/>
                      </a:lnTo>
                      <a:lnTo>
                        <a:pt x="4579" y="1355"/>
                      </a:lnTo>
                      <a:lnTo>
                        <a:pt x="4579" y="1358"/>
                      </a:lnTo>
                      <a:lnTo>
                        <a:pt x="4576" y="1360"/>
                      </a:lnTo>
                      <a:lnTo>
                        <a:pt x="4579" y="1363"/>
                      </a:lnTo>
                      <a:lnTo>
                        <a:pt x="4579" y="1366"/>
                      </a:lnTo>
                      <a:lnTo>
                        <a:pt x="4576" y="1378"/>
                      </a:lnTo>
                      <a:lnTo>
                        <a:pt x="4579" y="1378"/>
                      </a:lnTo>
                      <a:lnTo>
                        <a:pt x="4583" y="1380"/>
                      </a:lnTo>
                      <a:lnTo>
                        <a:pt x="4585" y="1378"/>
                      </a:lnTo>
                      <a:lnTo>
                        <a:pt x="4588" y="1380"/>
                      </a:lnTo>
                      <a:lnTo>
                        <a:pt x="4601" y="1355"/>
                      </a:lnTo>
                      <a:lnTo>
                        <a:pt x="4599" y="1347"/>
                      </a:lnTo>
                      <a:lnTo>
                        <a:pt x="4601" y="1342"/>
                      </a:lnTo>
                      <a:lnTo>
                        <a:pt x="4599" y="1335"/>
                      </a:lnTo>
                      <a:lnTo>
                        <a:pt x="4601" y="1333"/>
                      </a:lnTo>
                      <a:lnTo>
                        <a:pt x="4601" y="1330"/>
                      </a:lnTo>
                      <a:lnTo>
                        <a:pt x="4610" y="1333"/>
                      </a:lnTo>
                      <a:lnTo>
                        <a:pt x="4610" y="1338"/>
                      </a:lnTo>
                      <a:lnTo>
                        <a:pt x="4615" y="1342"/>
                      </a:lnTo>
                      <a:lnTo>
                        <a:pt x="4621" y="1350"/>
                      </a:lnTo>
                      <a:lnTo>
                        <a:pt x="4619" y="1355"/>
                      </a:lnTo>
                      <a:lnTo>
                        <a:pt x="4619" y="1358"/>
                      </a:lnTo>
                      <a:lnTo>
                        <a:pt x="4621" y="1360"/>
                      </a:lnTo>
                      <a:lnTo>
                        <a:pt x="4624" y="1360"/>
                      </a:lnTo>
                      <a:lnTo>
                        <a:pt x="4621" y="1366"/>
                      </a:lnTo>
                      <a:lnTo>
                        <a:pt x="4624" y="1369"/>
                      </a:lnTo>
                      <a:lnTo>
                        <a:pt x="4627" y="1371"/>
                      </a:lnTo>
                      <a:lnTo>
                        <a:pt x="4627" y="1374"/>
                      </a:lnTo>
                      <a:lnTo>
                        <a:pt x="4629" y="1378"/>
                      </a:lnTo>
                      <a:lnTo>
                        <a:pt x="4632" y="1380"/>
                      </a:lnTo>
                      <a:lnTo>
                        <a:pt x="4640" y="1396"/>
                      </a:lnTo>
                      <a:lnTo>
                        <a:pt x="4640" y="1399"/>
                      </a:lnTo>
                      <a:lnTo>
                        <a:pt x="4637" y="1407"/>
                      </a:lnTo>
                      <a:lnTo>
                        <a:pt x="4643" y="1404"/>
                      </a:lnTo>
                      <a:lnTo>
                        <a:pt x="4645" y="1407"/>
                      </a:lnTo>
                      <a:lnTo>
                        <a:pt x="4645" y="1402"/>
                      </a:lnTo>
                      <a:lnTo>
                        <a:pt x="4645" y="1394"/>
                      </a:lnTo>
                      <a:lnTo>
                        <a:pt x="4645" y="1383"/>
                      </a:lnTo>
                      <a:lnTo>
                        <a:pt x="4643" y="1363"/>
                      </a:lnTo>
                      <a:lnTo>
                        <a:pt x="4645" y="1352"/>
                      </a:lnTo>
                      <a:lnTo>
                        <a:pt x="4640" y="1350"/>
                      </a:lnTo>
                      <a:lnTo>
                        <a:pt x="4640" y="1347"/>
                      </a:lnTo>
                      <a:lnTo>
                        <a:pt x="4645" y="1338"/>
                      </a:lnTo>
                      <a:lnTo>
                        <a:pt x="4643" y="1338"/>
                      </a:lnTo>
                      <a:lnTo>
                        <a:pt x="4657" y="1333"/>
                      </a:lnTo>
                      <a:lnTo>
                        <a:pt x="4665" y="1335"/>
                      </a:lnTo>
                      <a:lnTo>
                        <a:pt x="4668" y="1338"/>
                      </a:lnTo>
                      <a:lnTo>
                        <a:pt x="4665" y="1350"/>
                      </a:lnTo>
                      <a:lnTo>
                        <a:pt x="4665" y="1352"/>
                      </a:lnTo>
                      <a:lnTo>
                        <a:pt x="4662" y="1355"/>
                      </a:lnTo>
                      <a:lnTo>
                        <a:pt x="4662" y="1360"/>
                      </a:lnTo>
                      <a:lnTo>
                        <a:pt x="4665" y="1355"/>
                      </a:lnTo>
                      <a:lnTo>
                        <a:pt x="4668" y="1360"/>
                      </a:lnTo>
                      <a:lnTo>
                        <a:pt x="4668" y="1358"/>
                      </a:lnTo>
                      <a:lnTo>
                        <a:pt x="4670" y="1363"/>
                      </a:lnTo>
                      <a:lnTo>
                        <a:pt x="4673" y="1363"/>
                      </a:lnTo>
                      <a:lnTo>
                        <a:pt x="4679" y="1358"/>
                      </a:lnTo>
                      <a:lnTo>
                        <a:pt x="4679" y="1352"/>
                      </a:lnTo>
                      <a:lnTo>
                        <a:pt x="4688" y="1352"/>
                      </a:lnTo>
                      <a:lnTo>
                        <a:pt x="4688" y="1350"/>
                      </a:lnTo>
                      <a:lnTo>
                        <a:pt x="4681" y="1347"/>
                      </a:lnTo>
                      <a:lnTo>
                        <a:pt x="4681" y="1344"/>
                      </a:lnTo>
                      <a:lnTo>
                        <a:pt x="4681" y="1342"/>
                      </a:lnTo>
                      <a:lnTo>
                        <a:pt x="4693" y="1342"/>
                      </a:lnTo>
                      <a:lnTo>
                        <a:pt x="4696" y="1342"/>
                      </a:lnTo>
                      <a:lnTo>
                        <a:pt x="4704" y="1338"/>
                      </a:lnTo>
                      <a:lnTo>
                        <a:pt x="4706" y="1335"/>
                      </a:lnTo>
                      <a:lnTo>
                        <a:pt x="4714" y="1338"/>
                      </a:lnTo>
                      <a:lnTo>
                        <a:pt x="4723" y="1342"/>
                      </a:lnTo>
                      <a:lnTo>
                        <a:pt x="4721" y="1344"/>
                      </a:lnTo>
                      <a:lnTo>
                        <a:pt x="4721" y="1347"/>
                      </a:lnTo>
                      <a:lnTo>
                        <a:pt x="4717" y="1342"/>
                      </a:lnTo>
                      <a:lnTo>
                        <a:pt x="4717" y="1344"/>
                      </a:lnTo>
                      <a:lnTo>
                        <a:pt x="4721" y="1350"/>
                      </a:lnTo>
                      <a:lnTo>
                        <a:pt x="4717" y="1350"/>
                      </a:lnTo>
                      <a:lnTo>
                        <a:pt x="4717" y="1355"/>
                      </a:lnTo>
                      <a:lnTo>
                        <a:pt x="4717" y="1358"/>
                      </a:lnTo>
                      <a:lnTo>
                        <a:pt x="4723" y="1355"/>
                      </a:lnTo>
                      <a:lnTo>
                        <a:pt x="4726" y="1360"/>
                      </a:lnTo>
                      <a:lnTo>
                        <a:pt x="4729" y="1358"/>
                      </a:lnTo>
                      <a:lnTo>
                        <a:pt x="4731" y="1360"/>
                      </a:lnTo>
                      <a:lnTo>
                        <a:pt x="4734" y="1358"/>
                      </a:lnTo>
                      <a:lnTo>
                        <a:pt x="4729" y="1352"/>
                      </a:lnTo>
                      <a:lnTo>
                        <a:pt x="4731" y="1350"/>
                      </a:lnTo>
                      <a:lnTo>
                        <a:pt x="4734" y="1352"/>
                      </a:lnTo>
                      <a:lnTo>
                        <a:pt x="4734" y="1350"/>
                      </a:lnTo>
                      <a:lnTo>
                        <a:pt x="4739" y="1350"/>
                      </a:lnTo>
                      <a:lnTo>
                        <a:pt x="4750" y="1355"/>
                      </a:lnTo>
                      <a:lnTo>
                        <a:pt x="4757" y="1366"/>
                      </a:lnTo>
                      <a:lnTo>
                        <a:pt x="4750" y="1371"/>
                      </a:lnTo>
                      <a:lnTo>
                        <a:pt x="4750" y="1374"/>
                      </a:lnTo>
                      <a:lnTo>
                        <a:pt x="4748" y="1374"/>
                      </a:lnTo>
                      <a:lnTo>
                        <a:pt x="4742" y="1371"/>
                      </a:lnTo>
                      <a:lnTo>
                        <a:pt x="4739" y="1374"/>
                      </a:lnTo>
                      <a:lnTo>
                        <a:pt x="4737" y="1383"/>
                      </a:lnTo>
                      <a:lnTo>
                        <a:pt x="4745" y="1380"/>
                      </a:lnTo>
                      <a:lnTo>
                        <a:pt x="4742" y="1383"/>
                      </a:lnTo>
                      <a:lnTo>
                        <a:pt x="4745" y="1383"/>
                      </a:lnTo>
                      <a:lnTo>
                        <a:pt x="4748" y="1380"/>
                      </a:lnTo>
                      <a:lnTo>
                        <a:pt x="4748" y="1378"/>
                      </a:lnTo>
                      <a:lnTo>
                        <a:pt x="4750" y="1378"/>
                      </a:lnTo>
                      <a:lnTo>
                        <a:pt x="4754" y="1378"/>
                      </a:lnTo>
                      <a:lnTo>
                        <a:pt x="4757" y="1380"/>
                      </a:lnTo>
                      <a:lnTo>
                        <a:pt x="4759" y="1378"/>
                      </a:lnTo>
                      <a:lnTo>
                        <a:pt x="4757" y="1378"/>
                      </a:lnTo>
                      <a:lnTo>
                        <a:pt x="4757" y="1374"/>
                      </a:lnTo>
                      <a:lnTo>
                        <a:pt x="4762" y="1369"/>
                      </a:lnTo>
                      <a:lnTo>
                        <a:pt x="4762" y="1366"/>
                      </a:lnTo>
                      <a:lnTo>
                        <a:pt x="4765" y="1366"/>
                      </a:lnTo>
                      <a:lnTo>
                        <a:pt x="4762" y="1369"/>
                      </a:lnTo>
                      <a:lnTo>
                        <a:pt x="4767" y="1366"/>
                      </a:lnTo>
                      <a:lnTo>
                        <a:pt x="4770" y="1366"/>
                      </a:lnTo>
                      <a:lnTo>
                        <a:pt x="4773" y="1369"/>
                      </a:lnTo>
                      <a:lnTo>
                        <a:pt x="4770" y="1369"/>
                      </a:lnTo>
                      <a:lnTo>
                        <a:pt x="4773" y="1369"/>
                      </a:lnTo>
                      <a:lnTo>
                        <a:pt x="4770" y="1374"/>
                      </a:lnTo>
                      <a:lnTo>
                        <a:pt x="4767" y="1378"/>
                      </a:lnTo>
                      <a:lnTo>
                        <a:pt x="4770" y="1394"/>
                      </a:lnTo>
                      <a:lnTo>
                        <a:pt x="4767" y="1394"/>
                      </a:lnTo>
                      <a:lnTo>
                        <a:pt x="4765" y="1399"/>
                      </a:lnTo>
                      <a:lnTo>
                        <a:pt x="4767" y="1410"/>
                      </a:lnTo>
                      <a:lnTo>
                        <a:pt x="4767" y="1413"/>
                      </a:lnTo>
                      <a:lnTo>
                        <a:pt x="4770" y="1410"/>
                      </a:lnTo>
                      <a:lnTo>
                        <a:pt x="4767" y="1407"/>
                      </a:lnTo>
                      <a:lnTo>
                        <a:pt x="4770" y="1404"/>
                      </a:lnTo>
                      <a:lnTo>
                        <a:pt x="4773" y="1410"/>
                      </a:lnTo>
                      <a:lnTo>
                        <a:pt x="4773" y="1402"/>
                      </a:lnTo>
                      <a:lnTo>
                        <a:pt x="4770" y="1402"/>
                      </a:lnTo>
                      <a:lnTo>
                        <a:pt x="4770" y="1399"/>
                      </a:lnTo>
                      <a:lnTo>
                        <a:pt x="4775" y="1386"/>
                      </a:lnTo>
                      <a:lnTo>
                        <a:pt x="4778" y="1391"/>
                      </a:lnTo>
                      <a:lnTo>
                        <a:pt x="4778" y="1394"/>
                      </a:lnTo>
                      <a:lnTo>
                        <a:pt x="4778" y="1391"/>
                      </a:lnTo>
                      <a:lnTo>
                        <a:pt x="4778" y="1386"/>
                      </a:lnTo>
                      <a:lnTo>
                        <a:pt x="4778" y="1383"/>
                      </a:lnTo>
                      <a:lnTo>
                        <a:pt x="4781" y="1383"/>
                      </a:lnTo>
                      <a:lnTo>
                        <a:pt x="4778" y="1380"/>
                      </a:lnTo>
                      <a:lnTo>
                        <a:pt x="4778" y="1374"/>
                      </a:lnTo>
                      <a:lnTo>
                        <a:pt x="4781" y="1374"/>
                      </a:lnTo>
                      <a:lnTo>
                        <a:pt x="4783" y="1374"/>
                      </a:lnTo>
                      <a:lnTo>
                        <a:pt x="4786" y="1374"/>
                      </a:lnTo>
                      <a:lnTo>
                        <a:pt x="4792" y="1371"/>
                      </a:lnTo>
                      <a:lnTo>
                        <a:pt x="4792" y="1369"/>
                      </a:lnTo>
                      <a:lnTo>
                        <a:pt x="4800" y="1366"/>
                      </a:lnTo>
                      <a:lnTo>
                        <a:pt x="4800" y="1369"/>
                      </a:lnTo>
                      <a:lnTo>
                        <a:pt x="4800" y="1371"/>
                      </a:lnTo>
                      <a:lnTo>
                        <a:pt x="4806" y="1374"/>
                      </a:lnTo>
                      <a:lnTo>
                        <a:pt x="4808" y="1383"/>
                      </a:lnTo>
                      <a:lnTo>
                        <a:pt x="4800" y="1386"/>
                      </a:lnTo>
                      <a:lnTo>
                        <a:pt x="4803" y="1388"/>
                      </a:lnTo>
                      <a:lnTo>
                        <a:pt x="4806" y="1391"/>
                      </a:lnTo>
                      <a:lnTo>
                        <a:pt x="4808" y="1394"/>
                      </a:lnTo>
                      <a:lnTo>
                        <a:pt x="4806" y="1394"/>
                      </a:lnTo>
                      <a:lnTo>
                        <a:pt x="4808" y="1396"/>
                      </a:lnTo>
                      <a:lnTo>
                        <a:pt x="4800" y="1402"/>
                      </a:lnTo>
                      <a:lnTo>
                        <a:pt x="4806" y="1399"/>
                      </a:lnTo>
                      <a:lnTo>
                        <a:pt x="4808" y="1402"/>
                      </a:lnTo>
                      <a:lnTo>
                        <a:pt x="4806" y="1404"/>
                      </a:lnTo>
                      <a:lnTo>
                        <a:pt x="4808" y="1410"/>
                      </a:lnTo>
                      <a:lnTo>
                        <a:pt x="4808" y="1413"/>
                      </a:lnTo>
                      <a:lnTo>
                        <a:pt x="4811" y="1413"/>
                      </a:lnTo>
                      <a:lnTo>
                        <a:pt x="4808" y="1410"/>
                      </a:lnTo>
                      <a:lnTo>
                        <a:pt x="4808" y="1407"/>
                      </a:lnTo>
                      <a:lnTo>
                        <a:pt x="4811" y="1407"/>
                      </a:lnTo>
                      <a:lnTo>
                        <a:pt x="4811" y="1402"/>
                      </a:lnTo>
                      <a:lnTo>
                        <a:pt x="4814" y="1394"/>
                      </a:lnTo>
                      <a:lnTo>
                        <a:pt x="4811" y="1383"/>
                      </a:lnTo>
                      <a:lnTo>
                        <a:pt x="4816" y="1386"/>
                      </a:lnTo>
                      <a:lnTo>
                        <a:pt x="4814" y="1396"/>
                      </a:lnTo>
                      <a:lnTo>
                        <a:pt x="4814" y="1413"/>
                      </a:lnTo>
                      <a:lnTo>
                        <a:pt x="4811" y="1421"/>
                      </a:lnTo>
                      <a:lnTo>
                        <a:pt x="4811" y="1424"/>
                      </a:lnTo>
                      <a:lnTo>
                        <a:pt x="4814" y="1424"/>
                      </a:lnTo>
                      <a:lnTo>
                        <a:pt x="4816" y="1419"/>
                      </a:lnTo>
                      <a:lnTo>
                        <a:pt x="4823" y="1424"/>
                      </a:lnTo>
                      <a:lnTo>
                        <a:pt x="4826" y="1424"/>
                      </a:lnTo>
                      <a:lnTo>
                        <a:pt x="4819" y="1419"/>
                      </a:lnTo>
                      <a:lnTo>
                        <a:pt x="4816" y="1419"/>
                      </a:lnTo>
                      <a:lnTo>
                        <a:pt x="4816" y="1413"/>
                      </a:lnTo>
                      <a:lnTo>
                        <a:pt x="4819" y="1410"/>
                      </a:lnTo>
                      <a:lnTo>
                        <a:pt x="4819" y="1399"/>
                      </a:lnTo>
                      <a:lnTo>
                        <a:pt x="4819" y="1394"/>
                      </a:lnTo>
                      <a:lnTo>
                        <a:pt x="4823" y="1394"/>
                      </a:lnTo>
                      <a:lnTo>
                        <a:pt x="4823" y="1396"/>
                      </a:lnTo>
                      <a:lnTo>
                        <a:pt x="4826" y="1396"/>
                      </a:lnTo>
                      <a:lnTo>
                        <a:pt x="4828" y="1394"/>
                      </a:lnTo>
                      <a:lnTo>
                        <a:pt x="4828" y="1391"/>
                      </a:lnTo>
                      <a:lnTo>
                        <a:pt x="4836" y="1386"/>
                      </a:lnTo>
                      <a:lnTo>
                        <a:pt x="4839" y="1388"/>
                      </a:lnTo>
                      <a:lnTo>
                        <a:pt x="4844" y="1383"/>
                      </a:lnTo>
                      <a:lnTo>
                        <a:pt x="4847" y="1383"/>
                      </a:lnTo>
                      <a:lnTo>
                        <a:pt x="4852" y="1383"/>
                      </a:lnTo>
                      <a:lnTo>
                        <a:pt x="4852" y="1386"/>
                      </a:lnTo>
                      <a:lnTo>
                        <a:pt x="4859" y="1396"/>
                      </a:lnTo>
                      <a:lnTo>
                        <a:pt x="4855" y="1396"/>
                      </a:lnTo>
                      <a:lnTo>
                        <a:pt x="4855" y="1394"/>
                      </a:lnTo>
                      <a:lnTo>
                        <a:pt x="4852" y="1396"/>
                      </a:lnTo>
                      <a:lnTo>
                        <a:pt x="4852" y="1399"/>
                      </a:lnTo>
                      <a:lnTo>
                        <a:pt x="4852" y="1402"/>
                      </a:lnTo>
                      <a:lnTo>
                        <a:pt x="4850" y="1404"/>
                      </a:lnTo>
                      <a:lnTo>
                        <a:pt x="4852" y="1404"/>
                      </a:lnTo>
                      <a:lnTo>
                        <a:pt x="4850" y="1410"/>
                      </a:lnTo>
                      <a:lnTo>
                        <a:pt x="4844" y="1413"/>
                      </a:lnTo>
                      <a:lnTo>
                        <a:pt x="4844" y="1416"/>
                      </a:lnTo>
                      <a:lnTo>
                        <a:pt x="4847" y="1419"/>
                      </a:lnTo>
                      <a:lnTo>
                        <a:pt x="4850" y="1413"/>
                      </a:lnTo>
                      <a:lnTo>
                        <a:pt x="4852" y="1416"/>
                      </a:lnTo>
                      <a:lnTo>
                        <a:pt x="4852" y="1419"/>
                      </a:lnTo>
                      <a:lnTo>
                        <a:pt x="4855" y="1419"/>
                      </a:lnTo>
                      <a:lnTo>
                        <a:pt x="4855" y="1416"/>
                      </a:lnTo>
                      <a:lnTo>
                        <a:pt x="4859" y="1419"/>
                      </a:lnTo>
                      <a:lnTo>
                        <a:pt x="4859" y="1421"/>
                      </a:lnTo>
                      <a:lnTo>
                        <a:pt x="4855" y="1424"/>
                      </a:lnTo>
                      <a:lnTo>
                        <a:pt x="4859" y="1427"/>
                      </a:lnTo>
                      <a:lnTo>
                        <a:pt x="4861" y="1438"/>
                      </a:lnTo>
                      <a:lnTo>
                        <a:pt x="4864" y="1440"/>
                      </a:lnTo>
                      <a:lnTo>
                        <a:pt x="4864" y="1447"/>
                      </a:lnTo>
                      <a:lnTo>
                        <a:pt x="4861" y="1447"/>
                      </a:lnTo>
                      <a:lnTo>
                        <a:pt x="4855" y="1447"/>
                      </a:lnTo>
                      <a:lnTo>
                        <a:pt x="4855" y="1449"/>
                      </a:lnTo>
                      <a:lnTo>
                        <a:pt x="4864" y="1455"/>
                      </a:lnTo>
                      <a:lnTo>
                        <a:pt x="4867" y="1455"/>
                      </a:lnTo>
                      <a:lnTo>
                        <a:pt x="4869" y="1455"/>
                      </a:lnTo>
                      <a:lnTo>
                        <a:pt x="4869" y="1452"/>
                      </a:lnTo>
                      <a:lnTo>
                        <a:pt x="4869" y="1447"/>
                      </a:lnTo>
                      <a:lnTo>
                        <a:pt x="4872" y="1447"/>
                      </a:lnTo>
                      <a:lnTo>
                        <a:pt x="4872" y="1449"/>
                      </a:lnTo>
                      <a:lnTo>
                        <a:pt x="4875" y="1447"/>
                      </a:lnTo>
                      <a:lnTo>
                        <a:pt x="4872" y="1447"/>
                      </a:lnTo>
                      <a:lnTo>
                        <a:pt x="4872" y="1443"/>
                      </a:lnTo>
                      <a:lnTo>
                        <a:pt x="4872" y="1440"/>
                      </a:lnTo>
                      <a:lnTo>
                        <a:pt x="4872" y="1435"/>
                      </a:lnTo>
                      <a:lnTo>
                        <a:pt x="4872" y="1429"/>
                      </a:lnTo>
                      <a:lnTo>
                        <a:pt x="4878" y="1427"/>
                      </a:lnTo>
                      <a:lnTo>
                        <a:pt x="4883" y="1427"/>
                      </a:lnTo>
                      <a:lnTo>
                        <a:pt x="4886" y="1427"/>
                      </a:lnTo>
                      <a:lnTo>
                        <a:pt x="4886" y="1424"/>
                      </a:lnTo>
                      <a:lnTo>
                        <a:pt x="4883" y="1421"/>
                      </a:lnTo>
                      <a:lnTo>
                        <a:pt x="4883" y="1419"/>
                      </a:lnTo>
                      <a:lnTo>
                        <a:pt x="4886" y="1421"/>
                      </a:lnTo>
                      <a:lnTo>
                        <a:pt x="4883" y="1416"/>
                      </a:lnTo>
                      <a:lnTo>
                        <a:pt x="4883" y="1413"/>
                      </a:lnTo>
                      <a:lnTo>
                        <a:pt x="4883" y="1410"/>
                      </a:lnTo>
                      <a:lnTo>
                        <a:pt x="4888" y="1404"/>
                      </a:lnTo>
                      <a:lnTo>
                        <a:pt x="4892" y="1407"/>
                      </a:lnTo>
                      <a:lnTo>
                        <a:pt x="4892" y="1410"/>
                      </a:lnTo>
                      <a:lnTo>
                        <a:pt x="4895" y="1410"/>
                      </a:lnTo>
                      <a:lnTo>
                        <a:pt x="4895" y="1402"/>
                      </a:lnTo>
                      <a:lnTo>
                        <a:pt x="4900" y="1399"/>
                      </a:lnTo>
                      <a:lnTo>
                        <a:pt x="4897" y="1399"/>
                      </a:lnTo>
                      <a:lnTo>
                        <a:pt x="4892" y="1399"/>
                      </a:lnTo>
                      <a:lnTo>
                        <a:pt x="4892" y="1396"/>
                      </a:lnTo>
                      <a:lnTo>
                        <a:pt x="4895" y="1396"/>
                      </a:lnTo>
                      <a:lnTo>
                        <a:pt x="4900" y="1396"/>
                      </a:lnTo>
                      <a:lnTo>
                        <a:pt x="4905" y="1402"/>
                      </a:lnTo>
                      <a:lnTo>
                        <a:pt x="4905" y="1404"/>
                      </a:lnTo>
                      <a:lnTo>
                        <a:pt x="4903" y="1407"/>
                      </a:lnTo>
                      <a:lnTo>
                        <a:pt x="4903" y="1410"/>
                      </a:lnTo>
                      <a:lnTo>
                        <a:pt x="4905" y="1407"/>
                      </a:lnTo>
                      <a:lnTo>
                        <a:pt x="4905" y="1419"/>
                      </a:lnTo>
                      <a:lnTo>
                        <a:pt x="4895" y="1419"/>
                      </a:lnTo>
                      <a:lnTo>
                        <a:pt x="4903" y="1421"/>
                      </a:lnTo>
                      <a:lnTo>
                        <a:pt x="4905" y="1424"/>
                      </a:lnTo>
                      <a:lnTo>
                        <a:pt x="4903" y="1429"/>
                      </a:lnTo>
                      <a:lnTo>
                        <a:pt x="4900" y="1429"/>
                      </a:lnTo>
                      <a:lnTo>
                        <a:pt x="4900" y="1432"/>
                      </a:lnTo>
                      <a:lnTo>
                        <a:pt x="4895" y="1438"/>
                      </a:lnTo>
                      <a:lnTo>
                        <a:pt x="4897" y="1438"/>
                      </a:lnTo>
                      <a:lnTo>
                        <a:pt x="4903" y="1432"/>
                      </a:lnTo>
                      <a:lnTo>
                        <a:pt x="4905" y="1435"/>
                      </a:lnTo>
                      <a:lnTo>
                        <a:pt x="4903" y="1438"/>
                      </a:lnTo>
                      <a:lnTo>
                        <a:pt x="4897" y="1443"/>
                      </a:lnTo>
                      <a:lnTo>
                        <a:pt x="4897" y="1449"/>
                      </a:lnTo>
                      <a:lnTo>
                        <a:pt x="4900" y="1449"/>
                      </a:lnTo>
                      <a:lnTo>
                        <a:pt x="4900" y="1443"/>
                      </a:lnTo>
                      <a:lnTo>
                        <a:pt x="4903" y="1440"/>
                      </a:lnTo>
                      <a:lnTo>
                        <a:pt x="4903" y="1443"/>
                      </a:lnTo>
                      <a:lnTo>
                        <a:pt x="4908" y="1440"/>
                      </a:lnTo>
                      <a:lnTo>
                        <a:pt x="4908" y="1435"/>
                      </a:lnTo>
                      <a:lnTo>
                        <a:pt x="4911" y="1435"/>
                      </a:lnTo>
                      <a:lnTo>
                        <a:pt x="4913" y="1443"/>
                      </a:lnTo>
                      <a:lnTo>
                        <a:pt x="4911" y="1447"/>
                      </a:lnTo>
                      <a:lnTo>
                        <a:pt x="4913" y="1447"/>
                      </a:lnTo>
                      <a:lnTo>
                        <a:pt x="4913" y="1449"/>
                      </a:lnTo>
                      <a:lnTo>
                        <a:pt x="4913" y="1452"/>
                      </a:lnTo>
                      <a:lnTo>
                        <a:pt x="4908" y="1455"/>
                      </a:lnTo>
                      <a:lnTo>
                        <a:pt x="4908" y="1460"/>
                      </a:lnTo>
                      <a:lnTo>
                        <a:pt x="4908" y="1463"/>
                      </a:lnTo>
                      <a:lnTo>
                        <a:pt x="4911" y="1465"/>
                      </a:lnTo>
                      <a:lnTo>
                        <a:pt x="4911" y="1460"/>
                      </a:lnTo>
                      <a:lnTo>
                        <a:pt x="4913" y="1455"/>
                      </a:lnTo>
                      <a:lnTo>
                        <a:pt x="4916" y="1449"/>
                      </a:lnTo>
                      <a:lnTo>
                        <a:pt x="4924" y="1457"/>
                      </a:lnTo>
                      <a:lnTo>
                        <a:pt x="4919" y="1460"/>
                      </a:lnTo>
                      <a:lnTo>
                        <a:pt x="4919" y="1463"/>
                      </a:lnTo>
                      <a:lnTo>
                        <a:pt x="4921" y="1465"/>
                      </a:lnTo>
                      <a:lnTo>
                        <a:pt x="4921" y="1460"/>
                      </a:lnTo>
                      <a:lnTo>
                        <a:pt x="4924" y="1457"/>
                      </a:lnTo>
                      <a:lnTo>
                        <a:pt x="4924" y="1452"/>
                      </a:lnTo>
                      <a:lnTo>
                        <a:pt x="4921" y="1452"/>
                      </a:lnTo>
                      <a:lnTo>
                        <a:pt x="4921" y="1449"/>
                      </a:lnTo>
                      <a:lnTo>
                        <a:pt x="4924" y="1449"/>
                      </a:lnTo>
                      <a:lnTo>
                        <a:pt x="4921" y="1449"/>
                      </a:lnTo>
                      <a:lnTo>
                        <a:pt x="4919" y="1440"/>
                      </a:lnTo>
                      <a:lnTo>
                        <a:pt x="4924" y="1438"/>
                      </a:lnTo>
                      <a:lnTo>
                        <a:pt x="4930" y="1438"/>
                      </a:lnTo>
                      <a:lnTo>
                        <a:pt x="4933" y="1443"/>
                      </a:lnTo>
                      <a:lnTo>
                        <a:pt x="4930" y="1435"/>
                      </a:lnTo>
                      <a:lnTo>
                        <a:pt x="4933" y="1429"/>
                      </a:lnTo>
                      <a:lnTo>
                        <a:pt x="4936" y="1432"/>
                      </a:lnTo>
                      <a:lnTo>
                        <a:pt x="4938" y="1435"/>
                      </a:lnTo>
                      <a:lnTo>
                        <a:pt x="4941" y="1449"/>
                      </a:lnTo>
                      <a:lnTo>
                        <a:pt x="4944" y="1463"/>
                      </a:lnTo>
                      <a:lnTo>
                        <a:pt x="4944" y="1465"/>
                      </a:lnTo>
                      <a:lnTo>
                        <a:pt x="4941" y="1471"/>
                      </a:lnTo>
                      <a:lnTo>
                        <a:pt x="4941" y="1473"/>
                      </a:lnTo>
                      <a:lnTo>
                        <a:pt x="4941" y="1471"/>
                      </a:lnTo>
                      <a:lnTo>
                        <a:pt x="4947" y="1465"/>
                      </a:lnTo>
                      <a:lnTo>
                        <a:pt x="4949" y="1463"/>
                      </a:lnTo>
                      <a:lnTo>
                        <a:pt x="4949" y="1457"/>
                      </a:lnTo>
                      <a:lnTo>
                        <a:pt x="4947" y="1449"/>
                      </a:lnTo>
                      <a:lnTo>
                        <a:pt x="4949" y="1435"/>
                      </a:lnTo>
                      <a:lnTo>
                        <a:pt x="4957" y="1432"/>
                      </a:lnTo>
                      <a:lnTo>
                        <a:pt x="4961" y="1435"/>
                      </a:lnTo>
                      <a:lnTo>
                        <a:pt x="4964" y="1443"/>
                      </a:lnTo>
                      <a:lnTo>
                        <a:pt x="4969" y="1447"/>
                      </a:lnTo>
                      <a:lnTo>
                        <a:pt x="4966" y="1449"/>
                      </a:lnTo>
                      <a:lnTo>
                        <a:pt x="4969" y="1449"/>
                      </a:lnTo>
                      <a:lnTo>
                        <a:pt x="4969" y="1443"/>
                      </a:lnTo>
                      <a:lnTo>
                        <a:pt x="4972" y="1443"/>
                      </a:lnTo>
                      <a:lnTo>
                        <a:pt x="4972" y="1447"/>
                      </a:lnTo>
                      <a:lnTo>
                        <a:pt x="4974" y="1443"/>
                      </a:lnTo>
                      <a:lnTo>
                        <a:pt x="4972" y="1440"/>
                      </a:lnTo>
                      <a:lnTo>
                        <a:pt x="4966" y="1440"/>
                      </a:lnTo>
                      <a:lnTo>
                        <a:pt x="4964" y="1429"/>
                      </a:lnTo>
                      <a:lnTo>
                        <a:pt x="4964" y="1424"/>
                      </a:lnTo>
                      <a:lnTo>
                        <a:pt x="4969" y="1424"/>
                      </a:lnTo>
                      <a:lnTo>
                        <a:pt x="4972" y="1429"/>
                      </a:lnTo>
                      <a:lnTo>
                        <a:pt x="4974" y="1427"/>
                      </a:lnTo>
                      <a:lnTo>
                        <a:pt x="4969" y="1421"/>
                      </a:lnTo>
                      <a:lnTo>
                        <a:pt x="4974" y="1419"/>
                      </a:lnTo>
                      <a:lnTo>
                        <a:pt x="4974" y="1416"/>
                      </a:lnTo>
                      <a:lnTo>
                        <a:pt x="4977" y="1416"/>
                      </a:lnTo>
                      <a:lnTo>
                        <a:pt x="4982" y="1419"/>
                      </a:lnTo>
                      <a:lnTo>
                        <a:pt x="4982" y="1421"/>
                      </a:lnTo>
                      <a:lnTo>
                        <a:pt x="4980" y="1421"/>
                      </a:lnTo>
                      <a:lnTo>
                        <a:pt x="4980" y="1424"/>
                      </a:lnTo>
                      <a:lnTo>
                        <a:pt x="4982" y="1427"/>
                      </a:lnTo>
                      <a:lnTo>
                        <a:pt x="4990" y="1429"/>
                      </a:lnTo>
                      <a:lnTo>
                        <a:pt x="4993" y="1432"/>
                      </a:lnTo>
                      <a:lnTo>
                        <a:pt x="4990" y="1435"/>
                      </a:lnTo>
                      <a:lnTo>
                        <a:pt x="4993" y="1438"/>
                      </a:lnTo>
                      <a:lnTo>
                        <a:pt x="4997" y="1440"/>
                      </a:lnTo>
                      <a:lnTo>
                        <a:pt x="4997" y="1443"/>
                      </a:lnTo>
                      <a:lnTo>
                        <a:pt x="4999" y="1447"/>
                      </a:lnTo>
                      <a:lnTo>
                        <a:pt x="4997" y="1449"/>
                      </a:lnTo>
                      <a:lnTo>
                        <a:pt x="4997" y="1447"/>
                      </a:lnTo>
                      <a:lnTo>
                        <a:pt x="4997" y="1443"/>
                      </a:lnTo>
                      <a:lnTo>
                        <a:pt x="4990" y="1447"/>
                      </a:lnTo>
                      <a:lnTo>
                        <a:pt x="4988" y="1440"/>
                      </a:lnTo>
                      <a:lnTo>
                        <a:pt x="4988" y="1443"/>
                      </a:lnTo>
                      <a:lnTo>
                        <a:pt x="4990" y="1449"/>
                      </a:lnTo>
                      <a:lnTo>
                        <a:pt x="4988" y="1449"/>
                      </a:lnTo>
                      <a:lnTo>
                        <a:pt x="4988" y="1452"/>
                      </a:lnTo>
                      <a:lnTo>
                        <a:pt x="4985" y="1455"/>
                      </a:lnTo>
                      <a:lnTo>
                        <a:pt x="4982" y="1452"/>
                      </a:lnTo>
                      <a:lnTo>
                        <a:pt x="4980" y="1452"/>
                      </a:lnTo>
                      <a:lnTo>
                        <a:pt x="4985" y="1460"/>
                      </a:lnTo>
                      <a:lnTo>
                        <a:pt x="4977" y="1463"/>
                      </a:lnTo>
                      <a:lnTo>
                        <a:pt x="4980" y="1465"/>
                      </a:lnTo>
                      <a:lnTo>
                        <a:pt x="4982" y="1465"/>
                      </a:lnTo>
                      <a:lnTo>
                        <a:pt x="4985" y="1471"/>
                      </a:lnTo>
                      <a:lnTo>
                        <a:pt x="4985" y="1476"/>
                      </a:lnTo>
                      <a:lnTo>
                        <a:pt x="4980" y="1482"/>
                      </a:lnTo>
                      <a:lnTo>
                        <a:pt x="4977" y="1482"/>
                      </a:lnTo>
                      <a:lnTo>
                        <a:pt x="4974" y="1482"/>
                      </a:lnTo>
                      <a:lnTo>
                        <a:pt x="4972" y="1482"/>
                      </a:lnTo>
                      <a:lnTo>
                        <a:pt x="4974" y="1485"/>
                      </a:lnTo>
                      <a:lnTo>
                        <a:pt x="4969" y="1488"/>
                      </a:lnTo>
                      <a:lnTo>
                        <a:pt x="4966" y="1488"/>
                      </a:lnTo>
                      <a:lnTo>
                        <a:pt x="4964" y="1490"/>
                      </a:lnTo>
                      <a:lnTo>
                        <a:pt x="4969" y="1496"/>
                      </a:lnTo>
                      <a:lnTo>
                        <a:pt x="4972" y="1496"/>
                      </a:lnTo>
                      <a:lnTo>
                        <a:pt x="4969" y="1493"/>
                      </a:lnTo>
                      <a:lnTo>
                        <a:pt x="4977" y="1493"/>
                      </a:lnTo>
                      <a:lnTo>
                        <a:pt x="4980" y="1488"/>
                      </a:lnTo>
                      <a:lnTo>
                        <a:pt x="4977" y="1493"/>
                      </a:lnTo>
                      <a:lnTo>
                        <a:pt x="4980" y="1493"/>
                      </a:lnTo>
                      <a:lnTo>
                        <a:pt x="4985" y="1493"/>
                      </a:lnTo>
                      <a:lnTo>
                        <a:pt x="4993" y="1488"/>
                      </a:lnTo>
                      <a:lnTo>
                        <a:pt x="4997" y="1488"/>
                      </a:lnTo>
                      <a:lnTo>
                        <a:pt x="4999" y="1485"/>
                      </a:lnTo>
                      <a:lnTo>
                        <a:pt x="4999" y="1493"/>
                      </a:lnTo>
                      <a:lnTo>
                        <a:pt x="5002" y="1496"/>
                      </a:lnTo>
                      <a:lnTo>
                        <a:pt x="5005" y="1496"/>
                      </a:lnTo>
                      <a:lnTo>
                        <a:pt x="5007" y="1496"/>
                      </a:lnTo>
                      <a:lnTo>
                        <a:pt x="5013" y="1485"/>
                      </a:lnTo>
                      <a:lnTo>
                        <a:pt x="5013" y="1482"/>
                      </a:lnTo>
                      <a:lnTo>
                        <a:pt x="5015" y="1479"/>
                      </a:lnTo>
                      <a:lnTo>
                        <a:pt x="5015" y="1476"/>
                      </a:lnTo>
                      <a:lnTo>
                        <a:pt x="5015" y="1471"/>
                      </a:lnTo>
                      <a:lnTo>
                        <a:pt x="5015" y="1468"/>
                      </a:lnTo>
                      <a:lnTo>
                        <a:pt x="5018" y="1465"/>
                      </a:lnTo>
                      <a:lnTo>
                        <a:pt x="5024" y="1471"/>
                      </a:lnTo>
                      <a:lnTo>
                        <a:pt x="5021" y="1473"/>
                      </a:lnTo>
                      <a:lnTo>
                        <a:pt x="5021" y="1476"/>
                      </a:lnTo>
                      <a:lnTo>
                        <a:pt x="5021" y="1488"/>
                      </a:lnTo>
                      <a:lnTo>
                        <a:pt x="5024" y="1496"/>
                      </a:lnTo>
                      <a:lnTo>
                        <a:pt x="5024" y="1498"/>
                      </a:lnTo>
                      <a:lnTo>
                        <a:pt x="5024" y="1496"/>
                      </a:lnTo>
                      <a:lnTo>
                        <a:pt x="5026" y="1488"/>
                      </a:lnTo>
                      <a:lnTo>
                        <a:pt x="5026" y="1490"/>
                      </a:lnTo>
                      <a:lnTo>
                        <a:pt x="5026" y="1485"/>
                      </a:lnTo>
                      <a:lnTo>
                        <a:pt x="5030" y="1485"/>
                      </a:lnTo>
                      <a:lnTo>
                        <a:pt x="5030" y="1488"/>
                      </a:lnTo>
                      <a:lnTo>
                        <a:pt x="5033" y="1482"/>
                      </a:lnTo>
                      <a:lnTo>
                        <a:pt x="5026" y="1476"/>
                      </a:lnTo>
                      <a:lnTo>
                        <a:pt x="5030" y="1471"/>
                      </a:lnTo>
                      <a:lnTo>
                        <a:pt x="5033" y="1473"/>
                      </a:lnTo>
                      <a:lnTo>
                        <a:pt x="5033" y="1465"/>
                      </a:lnTo>
                      <a:lnTo>
                        <a:pt x="5035" y="1463"/>
                      </a:lnTo>
                      <a:lnTo>
                        <a:pt x="5038" y="1463"/>
                      </a:lnTo>
                      <a:lnTo>
                        <a:pt x="5038" y="1460"/>
                      </a:lnTo>
                      <a:lnTo>
                        <a:pt x="5035" y="1460"/>
                      </a:lnTo>
                      <a:lnTo>
                        <a:pt x="5035" y="1457"/>
                      </a:lnTo>
                      <a:lnTo>
                        <a:pt x="5041" y="1455"/>
                      </a:lnTo>
                      <a:lnTo>
                        <a:pt x="5046" y="1455"/>
                      </a:lnTo>
                      <a:lnTo>
                        <a:pt x="5051" y="1457"/>
                      </a:lnTo>
                      <a:lnTo>
                        <a:pt x="5051" y="1460"/>
                      </a:lnTo>
                      <a:lnTo>
                        <a:pt x="5054" y="1463"/>
                      </a:lnTo>
                      <a:lnTo>
                        <a:pt x="5057" y="1455"/>
                      </a:lnTo>
                      <a:lnTo>
                        <a:pt x="5059" y="1452"/>
                      </a:lnTo>
                      <a:lnTo>
                        <a:pt x="5062" y="1452"/>
                      </a:lnTo>
                      <a:lnTo>
                        <a:pt x="5062" y="1449"/>
                      </a:lnTo>
                      <a:lnTo>
                        <a:pt x="5059" y="1449"/>
                      </a:lnTo>
                      <a:lnTo>
                        <a:pt x="5071" y="1447"/>
                      </a:lnTo>
                      <a:lnTo>
                        <a:pt x="5074" y="1452"/>
                      </a:lnTo>
                      <a:lnTo>
                        <a:pt x="5074" y="1457"/>
                      </a:lnTo>
                      <a:lnTo>
                        <a:pt x="5071" y="1460"/>
                      </a:lnTo>
                      <a:lnTo>
                        <a:pt x="5066" y="1465"/>
                      </a:lnTo>
                      <a:lnTo>
                        <a:pt x="5062" y="1465"/>
                      </a:lnTo>
                      <a:lnTo>
                        <a:pt x="5059" y="1463"/>
                      </a:lnTo>
                      <a:lnTo>
                        <a:pt x="5057" y="1465"/>
                      </a:lnTo>
                      <a:lnTo>
                        <a:pt x="5051" y="1471"/>
                      </a:lnTo>
                      <a:lnTo>
                        <a:pt x="5051" y="1473"/>
                      </a:lnTo>
                      <a:lnTo>
                        <a:pt x="5049" y="1473"/>
                      </a:lnTo>
                      <a:lnTo>
                        <a:pt x="5046" y="1476"/>
                      </a:lnTo>
                      <a:lnTo>
                        <a:pt x="5049" y="1479"/>
                      </a:lnTo>
                      <a:lnTo>
                        <a:pt x="5051" y="1476"/>
                      </a:lnTo>
                      <a:lnTo>
                        <a:pt x="5051" y="1479"/>
                      </a:lnTo>
                      <a:lnTo>
                        <a:pt x="5051" y="1482"/>
                      </a:lnTo>
                      <a:lnTo>
                        <a:pt x="5054" y="1482"/>
                      </a:lnTo>
                      <a:lnTo>
                        <a:pt x="5051" y="1485"/>
                      </a:lnTo>
                      <a:lnTo>
                        <a:pt x="5049" y="1482"/>
                      </a:lnTo>
                      <a:lnTo>
                        <a:pt x="5051" y="1488"/>
                      </a:lnTo>
                      <a:lnTo>
                        <a:pt x="5054" y="1490"/>
                      </a:lnTo>
                      <a:lnTo>
                        <a:pt x="5051" y="1490"/>
                      </a:lnTo>
                      <a:lnTo>
                        <a:pt x="5049" y="1490"/>
                      </a:lnTo>
                      <a:lnTo>
                        <a:pt x="5051" y="1488"/>
                      </a:lnTo>
                      <a:lnTo>
                        <a:pt x="5046" y="1490"/>
                      </a:lnTo>
                      <a:lnTo>
                        <a:pt x="5043" y="1490"/>
                      </a:lnTo>
                      <a:lnTo>
                        <a:pt x="5041" y="1496"/>
                      </a:lnTo>
                      <a:lnTo>
                        <a:pt x="5051" y="1493"/>
                      </a:lnTo>
                      <a:lnTo>
                        <a:pt x="5054" y="1496"/>
                      </a:lnTo>
                      <a:lnTo>
                        <a:pt x="5054" y="1506"/>
                      </a:lnTo>
                      <a:lnTo>
                        <a:pt x="5051" y="1506"/>
                      </a:lnTo>
                      <a:lnTo>
                        <a:pt x="5049" y="1504"/>
                      </a:lnTo>
                      <a:lnTo>
                        <a:pt x="5046" y="1506"/>
                      </a:lnTo>
                      <a:lnTo>
                        <a:pt x="5049" y="1509"/>
                      </a:lnTo>
                      <a:lnTo>
                        <a:pt x="5049" y="1515"/>
                      </a:lnTo>
                      <a:lnTo>
                        <a:pt x="5051" y="1512"/>
                      </a:lnTo>
                      <a:lnTo>
                        <a:pt x="5051" y="1515"/>
                      </a:lnTo>
                      <a:lnTo>
                        <a:pt x="5049" y="1521"/>
                      </a:lnTo>
                      <a:lnTo>
                        <a:pt x="5046" y="1521"/>
                      </a:lnTo>
                      <a:lnTo>
                        <a:pt x="5049" y="1524"/>
                      </a:lnTo>
                      <a:lnTo>
                        <a:pt x="5051" y="1529"/>
                      </a:lnTo>
                      <a:lnTo>
                        <a:pt x="5051" y="1524"/>
                      </a:lnTo>
                      <a:lnTo>
                        <a:pt x="5054" y="1518"/>
                      </a:lnTo>
                      <a:lnTo>
                        <a:pt x="5059" y="1521"/>
                      </a:lnTo>
                      <a:lnTo>
                        <a:pt x="5059" y="1518"/>
                      </a:lnTo>
                      <a:lnTo>
                        <a:pt x="5057" y="1515"/>
                      </a:lnTo>
                      <a:lnTo>
                        <a:pt x="5057" y="1512"/>
                      </a:lnTo>
                      <a:lnTo>
                        <a:pt x="5062" y="1515"/>
                      </a:lnTo>
                      <a:lnTo>
                        <a:pt x="5071" y="1512"/>
                      </a:lnTo>
                      <a:lnTo>
                        <a:pt x="5076" y="1515"/>
                      </a:lnTo>
                      <a:lnTo>
                        <a:pt x="5076" y="1524"/>
                      </a:lnTo>
                      <a:lnTo>
                        <a:pt x="5074" y="1526"/>
                      </a:lnTo>
                      <a:lnTo>
                        <a:pt x="5071" y="1526"/>
                      </a:lnTo>
                      <a:lnTo>
                        <a:pt x="5068" y="1529"/>
                      </a:lnTo>
                      <a:lnTo>
                        <a:pt x="5068" y="1534"/>
                      </a:lnTo>
                      <a:lnTo>
                        <a:pt x="5071" y="1534"/>
                      </a:lnTo>
                      <a:lnTo>
                        <a:pt x="5071" y="1529"/>
                      </a:lnTo>
                      <a:lnTo>
                        <a:pt x="5076" y="1532"/>
                      </a:lnTo>
                      <a:lnTo>
                        <a:pt x="5076" y="1529"/>
                      </a:lnTo>
                      <a:lnTo>
                        <a:pt x="5079" y="1524"/>
                      </a:lnTo>
                      <a:lnTo>
                        <a:pt x="5076" y="1512"/>
                      </a:lnTo>
                      <a:lnTo>
                        <a:pt x="5071" y="1509"/>
                      </a:lnTo>
                      <a:lnTo>
                        <a:pt x="5074" y="1509"/>
                      </a:lnTo>
                      <a:lnTo>
                        <a:pt x="5074" y="1504"/>
                      </a:lnTo>
                      <a:lnTo>
                        <a:pt x="5076" y="1504"/>
                      </a:lnTo>
                      <a:lnTo>
                        <a:pt x="5079" y="1501"/>
                      </a:lnTo>
                      <a:lnTo>
                        <a:pt x="5084" y="1501"/>
                      </a:lnTo>
                      <a:lnTo>
                        <a:pt x="5084" y="1512"/>
                      </a:lnTo>
                      <a:lnTo>
                        <a:pt x="5087" y="1521"/>
                      </a:lnTo>
                      <a:lnTo>
                        <a:pt x="5087" y="1526"/>
                      </a:lnTo>
                      <a:lnTo>
                        <a:pt x="5090" y="1529"/>
                      </a:lnTo>
                      <a:lnTo>
                        <a:pt x="5093" y="1529"/>
                      </a:lnTo>
                      <a:lnTo>
                        <a:pt x="5090" y="1521"/>
                      </a:lnTo>
                      <a:lnTo>
                        <a:pt x="5090" y="1515"/>
                      </a:lnTo>
                      <a:lnTo>
                        <a:pt x="5093" y="1518"/>
                      </a:lnTo>
                      <a:lnTo>
                        <a:pt x="5093" y="1512"/>
                      </a:lnTo>
                      <a:lnTo>
                        <a:pt x="5099" y="1506"/>
                      </a:lnTo>
                      <a:lnTo>
                        <a:pt x="5102" y="1504"/>
                      </a:lnTo>
                      <a:lnTo>
                        <a:pt x="5104" y="1504"/>
                      </a:lnTo>
                      <a:lnTo>
                        <a:pt x="5102" y="1506"/>
                      </a:lnTo>
                      <a:lnTo>
                        <a:pt x="5107" y="1512"/>
                      </a:lnTo>
                      <a:lnTo>
                        <a:pt x="5107" y="1521"/>
                      </a:lnTo>
                      <a:lnTo>
                        <a:pt x="5107" y="1526"/>
                      </a:lnTo>
                      <a:lnTo>
                        <a:pt x="5102" y="1532"/>
                      </a:lnTo>
                      <a:lnTo>
                        <a:pt x="5102" y="1537"/>
                      </a:lnTo>
                      <a:lnTo>
                        <a:pt x="5104" y="1537"/>
                      </a:lnTo>
                      <a:lnTo>
                        <a:pt x="5107" y="1537"/>
                      </a:lnTo>
                      <a:lnTo>
                        <a:pt x="5112" y="1537"/>
                      </a:lnTo>
                      <a:lnTo>
                        <a:pt x="5118" y="1542"/>
                      </a:lnTo>
                      <a:lnTo>
                        <a:pt x="5120" y="1540"/>
                      </a:lnTo>
                      <a:lnTo>
                        <a:pt x="5115" y="1534"/>
                      </a:lnTo>
                      <a:lnTo>
                        <a:pt x="5107" y="1534"/>
                      </a:lnTo>
                      <a:lnTo>
                        <a:pt x="5107" y="1532"/>
                      </a:lnTo>
                      <a:lnTo>
                        <a:pt x="5112" y="1529"/>
                      </a:lnTo>
                      <a:lnTo>
                        <a:pt x="5112" y="1524"/>
                      </a:lnTo>
                      <a:lnTo>
                        <a:pt x="5112" y="1515"/>
                      </a:lnTo>
                      <a:lnTo>
                        <a:pt x="5115" y="1512"/>
                      </a:lnTo>
                      <a:lnTo>
                        <a:pt x="5120" y="1515"/>
                      </a:lnTo>
                      <a:lnTo>
                        <a:pt x="5120" y="1518"/>
                      </a:lnTo>
                      <a:lnTo>
                        <a:pt x="5123" y="1526"/>
                      </a:lnTo>
                      <a:lnTo>
                        <a:pt x="5120" y="1529"/>
                      </a:lnTo>
                      <a:lnTo>
                        <a:pt x="5123" y="1529"/>
                      </a:lnTo>
                      <a:lnTo>
                        <a:pt x="5123" y="1526"/>
                      </a:lnTo>
                      <a:lnTo>
                        <a:pt x="5128" y="1526"/>
                      </a:lnTo>
                      <a:lnTo>
                        <a:pt x="5123" y="1524"/>
                      </a:lnTo>
                      <a:lnTo>
                        <a:pt x="5126" y="1521"/>
                      </a:lnTo>
                      <a:lnTo>
                        <a:pt x="5123" y="1515"/>
                      </a:lnTo>
                      <a:lnTo>
                        <a:pt x="5118" y="1509"/>
                      </a:lnTo>
                      <a:lnTo>
                        <a:pt x="5123" y="1504"/>
                      </a:lnTo>
                      <a:lnTo>
                        <a:pt x="5126" y="1506"/>
                      </a:lnTo>
                      <a:lnTo>
                        <a:pt x="5132" y="1501"/>
                      </a:lnTo>
                      <a:lnTo>
                        <a:pt x="5135" y="1504"/>
                      </a:lnTo>
                      <a:lnTo>
                        <a:pt x="5135" y="1498"/>
                      </a:lnTo>
                      <a:lnTo>
                        <a:pt x="5132" y="1501"/>
                      </a:lnTo>
                      <a:lnTo>
                        <a:pt x="5126" y="1498"/>
                      </a:lnTo>
                      <a:lnTo>
                        <a:pt x="5132" y="1493"/>
                      </a:lnTo>
                      <a:lnTo>
                        <a:pt x="5132" y="1490"/>
                      </a:lnTo>
                      <a:lnTo>
                        <a:pt x="5135" y="1482"/>
                      </a:lnTo>
                      <a:lnTo>
                        <a:pt x="5137" y="1482"/>
                      </a:lnTo>
                      <a:lnTo>
                        <a:pt x="5137" y="1479"/>
                      </a:lnTo>
                      <a:lnTo>
                        <a:pt x="5140" y="1485"/>
                      </a:lnTo>
                      <a:lnTo>
                        <a:pt x="5137" y="1479"/>
                      </a:lnTo>
                      <a:lnTo>
                        <a:pt x="5145" y="1476"/>
                      </a:lnTo>
                      <a:lnTo>
                        <a:pt x="5140" y="1476"/>
                      </a:lnTo>
                      <a:lnTo>
                        <a:pt x="5137" y="1476"/>
                      </a:lnTo>
                      <a:lnTo>
                        <a:pt x="5135" y="1476"/>
                      </a:lnTo>
                      <a:lnTo>
                        <a:pt x="5135" y="1471"/>
                      </a:lnTo>
                      <a:lnTo>
                        <a:pt x="5140" y="1468"/>
                      </a:lnTo>
                      <a:lnTo>
                        <a:pt x="5143" y="1471"/>
                      </a:lnTo>
                      <a:lnTo>
                        <a:pt x="5143" y="1468"/>
                      </a:lnTo>
                      <a:lnTo>
                        <a:pt x="5145" y="1468"/>
                      </a:lnTo>
                      <a:lnTo>
                        <a:pt x="5151" y="1468"/>
                      </a:lnTo>
                      <a:lnTo>
                        <a:pt x="5156" y="1463"/>
                      </a:lnTo>
                      <a:lnTo>
                        <a:pt x="5156" y="1460"/>
                      </a:lnTo>
                      <a:lnTo>
                        <a:pt x="5159" y="1460"/>
                      </a:lnTo>
                      <a:lnTo>
                        <a:pt x="5164" y="1463"/>
                      </a:lnTo>
                      <a:lnTo>
                        <a:pt x="5168" y="1465"/>
                      </a:lnTo>
                      <a:lnTo>
                        <a:pt x="5168" y="1479"/>
                      </a:lnTo>
                      <a:lnTo>
                        <a:pt x="5161" y="1476"/>
                      </a:lnTo>
                      <a:lnTo>
                        <a:pt x="5159" y="1476"/>
                      </a:lnTo>
                      <a:lnTo>
                        <a:pt x="5156" y="1482"/>
                      </a:lnTo>
                      <a:lnTo>
                        <a:pt x="5153" y="1488"/>
                      </a:lnTo>
                      <a:lnTo>
                        <a:pt x="5161" y="1485"/>
                      </a:lnTo>
                      <a:lnTo>
                        <a:pt x="5159" y="1493"/>
                      </a:lnTo>
                      <a:lnTo>
                        <a:pt x="5153" y="1496"/>
                      </a:lnTo>
                      <a:lnTo>
                        <a:pt x="5151" y="1493"/>
                      </a:lnTo>
                      <a:lnTo>
                        <a:pt x="5153" y="1498"/>
                      </a:lnTo>
                      <a:lnTo>
                        <a:pt x="5151" y="1501"/>
                      </a:lnTo>
                      <a:lnTo>
                        <a:pt x="5148" y="1498"/>
                      </a:lnTo>
                      <a:lnTo>
                        <a:pt x="5148" y="1504"/>
                      </a:lnTo>
                      <a:lnTo>
                        <a:pt x="5140" y="1504"/>
                      </a:lnTo>
                      <a:lnTo>
                        <a:pt x="5148" y="1504"/>
                      </a:lnTo>
                      <a:lnTo>
                        <a:pt x="5153" y="1501"/>
                      </a:lnTo>
                      <a:lnTo>
                        <a:pt x="5153" y="1498"/>
                      </a:lnTo>
                      <a:lnTo>
                        <a:pt x="5156" y="1498"/>
                      </a:lnTo>
                      <a:lnTo>
                        <a:pt x="5156" y="1501"/>
                      </a:lnTo>
                      <a:lnTo>
                        <a:pt x="5153" y="1504"/>
                      </a:lnTo>
                      <a:lnTo>
                        <a:pt x="5156" y="1512"/>
                      </a:lnTo>
                      <a:lnTo>
                        <a:pt x="5153" y="1515"/>
                      </a:lnTo>
                      <a:lnTo>
                        <a:pt x="5156" y="1515"/>
                      </a:lnTo>
                      <a:lnTo>
                        <a:pt x="5159" y="1524"/>
                      </a:lnTo>
                      <a:lnTo>
                        <a:pt x="5159" y="1532"/>
                      </a:lnTo>
                      <a:lnTo>
                        <a:pt x="5153" y="1532"/>
                      </a:lnTo>
                      <a:lnTo>
                        <a:pt x="5151" y="1537"/>
                      </a:lnTo>
                      <a:lnTo>
                        <a:pt x="5143" y="1551"/>
                      </a:lnTo>
                      <a:lnTo>
                        <a:pt x="5137" y="1557"/>
                      </a:lnTo>
                      <a:lnTo>
                        <a:pt x="5137" y="1565"/>
                      </a:lnTo>
                      <a:lnTo>
                        <a:pt x="5132" y="1570"/>
                      </a:lnTo>
                      <a:lnTo>
                        <a:pt x="5132" y="1575"/>
                      </a:lnTo>
                      <a:lnTo>
                        <a:pt x="5132" y="1578"/>
                      </a:lnTo>
                      <a:lnTo>
                        <a:pt x="5135" y="1573"/>
                      </a:lnTo>
                      <a:lnTo>
                        <a:pt x="5140" y="1570"/>
                      </a:lnTo>
                      <a:lnTo>
                        <a:pt x="5143" y="1565"/>
                      </a:lnTo>
                      <a:lnTo>
                        <a:pt x="5145" y="1562"/>
                      </a:lnTo>
                      <a:lnTo>
                        <a:pt x="5145" y="1554"/>
                      </a:lnTo>
                      <a:lnTo>
                        <a:pt x="5151" y="1545"/>
                      </a:lnTo>
                      <a:lnTo>
                        <a:pt x="5164" y="1534"/>
                      </a:lnTo>
                      <a:lnTo>
                        <a:pt x="5168" y="1526"/>
                      </a:lnTo>
                      <a:lnTo>
                        <a:pt x="5168" y="1512"/>
                      </a:lnTo>
                      <a:lnTo>
                        <a:pt x="5171" y="1506"/>
                      </a:lnTo>
                      <a:lnTo>
                        <a:pt x="5173" y="1504"/>
                      </a:lnTo>
                      <a:lnTo>
                        <a:pt x="5179" y="1504"/>
                      </a:lnTo>
                      <a:lnTo>
                        <a:pt x="5181" y="1506"/>
                      </a:lnTo>
                      <a:lnTo>
                        <a:pt x="5179" y="1512"/>
                      </a:lnTo>
                      <a:lnTo>
                        <a:pt x="5179" y="1515"/>
                      </a:lnTo>
                      <a:lnTo>
                        <a:pt x="5179" y="1524"/>
                      </a:lnTo>
                      <a:lnTo>
                        <a:pt x="5179" y="1526"/>
                      </a:lnTo>
                      <a:lnTo>
                        <a:pt x="5179" y="1529"/>
                      </a:lnTo>
                      <a:lnTo>
                        <a:pt x="5179" y="1532"/>
                      </a:lnTo>
                      <a:lnTo>
                        <a:pt x="5173" y="1537"/>
                      </a:lnTo>
                      <a:lnTo>
                        <a:pt x="5168" y="1554"/>
                      </a:lnTo>
                      <a:lnTo>
                        <a:pt x="5159" y="1562"/>
                      </a:lnTo>
                      <a:lnTo>
                        <a:pt x="5161" y="1562"/>
                      </a:lnTo>
                      <a:lnTo>
                        <a:pt x="5168" y="1559"/>
                      </a:lnTo>
                      <a:lnTo>
                        <a:pt x="5173" y="1567"/>
                      </a:lnTo>
                      <a:lnTo>
                        <a:pt x="5173" y="1570"/>
                      </a:lnTo>
                      <a:lnTo>
                        <a:pt x="5176" y="1570"/>
                      </a:lnTo>
                      <a:lnTo>
                        <a:pt x="5171" y="1557"/>
                      </a:lnTo>
                      <a:lnTo>
                        <a:pt x="5173" y="1554"/>
                      </a:lnTo>
                      <a:lnTo>
                        <a:pt x="5176" y="1540"/>
                      </a:lnTo>
                      <a:lnTo>
                        <a:pt x="5179" y="1540"/>
                      </a:lnTo>
                      <a:lnTo>
                        <a:pt x="5181" y="1542"/>
                      </a:lnTo>
                      <a:lnTo>
                        <a:pt x="5184" y="1559"/>
                      </a:lnTo>
                      <a:lnTo>
                        <a:pt x="5181" y="1562"/>
                      </a:lnTo>
                      <a:lnTo>
                        <a:pt x="5184" y="1562"/>
                      </a:lnTo>
                      <a:lnTo>
                        <a:pt x="5184" y="1557"/>
                      </a:lnTo>
                      <a:lnTo>
                        <a:pt x="5187" y="1557"/>
                      </a:lnTo>
                      <a:lnTo>
                        <a:pt x="5184" y="1554"/>
                      </a:lnTo>
                      <a:lnTo>
                        <a:pt x="5184" y="1545"/>
                      </a:lnTo>
                      <a:lnTo>
                        <a:pt x="5181" y="1540"/>
                      </a:lnTo>
                      <a:lnTo>
                        <a:pt x="5184" y="1534"/>
                      </a:lnTo>
                      <a:lnTo>
                        <a:pt x="5187" y="1532"/>
                      </a:lnTo>
                      <a:lnTo>
                        <a:pt x="5201" y="1524"/>
                      </a:lnTo>
                      <a:lnTo>
                        <a:pt x="5204" y="1524"/>
                      </a:lnTo>
                      <a:lnTo>
                        <a:pt x="5206" y="1521"/>
                      </a:lnTo>
                      <a:lnTo>
                        <a:pt x="5206" y="1518"/>
                      </a:lnTo>
                      <a:lnTo>
                        <a:pt x="5209" y="1515"/>
                      </a:lnTo>
                      <a:lnTo>
                        <a:pt x="5209" y="1512"/>
                      </a:lnTo>
                      <a:lnTo>
                        <a:pt x="5214" y="1515"/>
                      </a:lnTo>
                      <a:lnTo>
                        <a:pt x="5214" y="1521"/>
                      </a:lnTo>
                      <a:lnTo>
                        <a:pt x="5204" y="1529"/>
                      </a:lnTo>
                      <a:lnTo>
                        <a:pt x="5204" y="1537"/>
                      </a:lnTo>
                      <a:lnTo>
                        <a:pt x="5206" y="1542"/>
                      </a:lnTo>
                      <a:lnTo>
                        <a:pt x="5206" y="1545"/>
                      </a:lnTo>
                      <a:lnTo>
                        <a:pt x="5209" y="1545"/>
                      </a:lnTo>
                      <a:lnTo>
                        <a:pt x="5214" y="1551"/>
                      </a:lnTo>
                      <a:lnTo>
                        <a:pt x="5209" y="1562"/>
                      </a:lnTo>
                      <a:lnTo>
                        <a:pt x="5209" y="1573"/>
                      </a:lnTo>
                      <a:lnTo>
                        <a:pt x="5206" y="1581"/>
                      </a:lnTo>
                      <a:lnTo>
                        <a:pt x="5204" y="1590"/>
                      </a:lnTo>
                      <a:lnTo>
                        <a:pt x="5201" y="1590"/>
                      </a:lnTo>
                      <a:lnTo>
                        <a:pt x="5197" y="1590"/>
                      </a:lnTo>
                      <a:lnTo>
                        <a:pt x="5189" y="1593"/>
                      </a:lnTo>
                      <a:lnTo>
                        <a:pt x="5181" y="1601"/>
                      </a:lnTo>
                      <a:lnTo>
                        <a:pt x="5187" y="1611"/>
                      </a:lnTo>
                      <a:lnTo>
                        <a:pt x="5176" y="1623"/>
                      </a:lnTo>
                      <a:lnTo>
                        <a:pt x="5181" y="1636"/>
                      </a:lnTo>
                      <a:lnTo>
                        <a:pt x="5189" y="1636"/>
                      </a:lnTo>
                      <a:lnTo>
                        <a:pt x="5189" y="1644"/>
                      </a:lnTo>
                      <a:lnTo>
                        <a:pt x="5189" y="1647"/>
                      </a:lnTo>
                      <a:lnTo>
                        <a:pt x="5201" y="1644"/>
                      </a:lnTo>
                      <a:lnTo>
                        <a:pt x="5201" y="1647"/>
                      </a:lnTo>
                      <a:lnTo>
                        <a:pt x="5197" y="1653"/>
                      </a:lnTo>
                      <a:lnTo>
                        <a:pt x="5195" y="1662"/>
                      </a:lnTo>
                      <a:lnTo>
                        <a:pt x="5192" y="1664"/>
                      </a:lnTo>
                      <a:lnTo>
                        <a:pt x="5189" y="1675"/>
                      </a:lnTo>
                      <a:lnTo>
                        <a:pt x="5179" y="1683"/>
                      </a:lnTo>
                      <a:lnTo>
                        <a:pt x="5187" y="1688"/>
                      </a:lnTo>
                      <a:lnTo>
                        <a:pt x="5187" y="1692"/>
                      </a:lnTo>
                      <a:lnTo>
                        <a:pt x="5171" y="1705"/>
                      </a:lnTo>
                      <a:lnTo>
                        <a:pt x="5176" y="1711"/>
                      </a:lnTo>
                      <a:lnTo>
                        <a:pt x="5179" y="1714"/>
                      </a:lnTo>
                      <a:lnTo>
                        <a:pt x="5184" y="1719"/>
                      </a:lnTo>
                      <a:lnTo>
                        <a:pt x="5184" y="1724"/>
                      </a:lnTo>
                      <a:lnTo>
                        <a:pt x="5189" y="1749"/>
                      </a:lnTo>
                      <a:lnTo>
                        <a:pt x="5181" y="1752"/>
                      </a:lnTo>
                      <a:lnTo>
                        <a:pt x="5181" y="1755"/>
                      </a:lnTo>
                      <a:lnTo>
                        <a:pt x="5184" y="1757"/>
                      </a:lnTo>
                      <a:lnTo>
                        <a:pt x="5184" y="1761"/>
                      </a:lnTo>
                      <a:lnTo>
                        <a:pt x="5179" y="1769"/>
                      </a:lnTo>
                      <a:lnTo>
                        <a:pt x="5179" y="1777"/>
                      </a:lnTo>
                      <a:lnTo>
                        <a:pt x="5179" y="1780"/>
                      </a:lnTo>
                      <a:lnTo>
                        <a:pt x="5181" y="1783"/>
                      </a:lnTo>
                      <a:lnTo>
                        <a:pt x="5181" y="1788"/>
                      </a:lnTo>
                      <a:lnTo>
                        <a:pt x="5179" y="1793"/>
                      </a:lnTo>
                      <a:lnTo>
                        <a:pt x="5173" y="1800"/>
                      </a:lnTo>
                      <a:lnTo>
                        <a:pt x="5164" y="1802"/>
                      </a:lnTo>
                      <a:lnTo>
                        <a:pt x="5161" y="1802"/>
                      </a:lnTo>
                      <a:lnTo>
                        <a:pt x="5159" y="1805"/>
                      </a:lnTo>
                      <a:lnTo>
                        <a:pt x="5159" y="1808"/>
                      </a:lnTo>
                      <a:lnTo>
                        <a:pt x="5156" y="1810"/>
                      </a:lnTo>
                      <a:lnTo>
                        <a:pt x="5153" y="1810"/>
                      </a:lnTo>
                      <a:lnTo>
                        <a:pt x="5151" y="1810"/>
                      </a:lnTo>
                      <a:lnTo>
                        <a:pt x="5145" y="1808"/>
                      </a:lnTo>
                      <a:lnTo>
                        <a:pt x="5137" y="1810"/>
                      </a:lnTo>
                      <a:lnTo>
                        <a:pt x="5126" y="1810"/>
                      </a:lnTo>
                      <a:lnTo>
                        <a:pt x="5120" y="1810"/>
                      </a:lnTo>
                      <a:lnTo>
                        <a:pt x="5118" y="1813"/>
                      </a:lnTo>
                      <a:lnTo>
                        <a:pt x="5115" y="1816"/>
                      </a:lnTo>
                      <a:lnTo>
                        <a:pt x="5112" y="1826"/>
                      </a:lnTo>
                      <a:lnTo>
                        <a:pt x="5115" y="1841"/>
                      </a:lnTo>
                      <a:lnTo>
                        <a:pt x="5118" y="1843"/>
                      </a:lnTo>
                      <a:lnTo>
                        <a:pt x="5123" y="1838"/>
                      </a:lnTo>
                      <a:lnTo>
                        <a:pt x="5126" y="1841"/>
                      </a:lnTo>
                      <a:lnTo>
                        <a:pt x="5128" y="1841"/>
                      </a:lnTo>
                      <a:lnTo>
                        <a:pt x="5137" y="1838"/>
                      </a:lnTo>
                      <a:lnTo>
                        <a:pt x="5151" y="1841"/>
                      </a:lnTo>
                      <a:lnTo>
                        <a:pt x="5153" y="1846"/>
                      </a:lnTo>
                      <a:lnTo>
                        <a:pt x="5156" y="1849"/>
                      </a:lnTo>
                      <a:lnTo>
                        <a:pt x="5159" y="1854"/>
                      </a:lnTo>
                      <a:lnTo>
                        <a:pt x="5145" y="1874"/>
                      </a:lnTo>
                      <a:lnTo>
                        <a:pt x="5145" y="1877"/>
                      </a:lnTo>
                      <a:lnTo>
                        <a:pt x="5151" y="1877"/>
                      </a:lnTo>
                      <a:lnTo>
                        <a:pt x="5153" y="1887"/>
                      </a:lnTo>
                      <a:lnTo>
                        <a:pt x="5148" y="1912"/>
                      </a:lnTo>
                      <a:lnTo>
                        <a:pt x="5143" y="1926"/>
                      </a:lnTo>
                      <a:lnTo>
                        <a:pt x="5143" y="1935"/>
                      </a:lnTo>
                      <a:lnTo>
                        <a:pt x="5137" y="1943"/>
                      </a:lnTo>
                      <a:lnTo>
                        <a:pt x="5135" y="1946"/>
                      </a:lnTo>
                      <a:lnTo>
                        <a:pt x="5132" y="1951"/>
                      </a:lnTo>
                      <a:lnTo>
                        <a:pt x="5132" y="1959"/>
                      </a:lnTo>
                      <a:lnTo>
                        <a:pt x="5135" y="1964"/>
                      </a:lnTo>
                      <a:lnTo>
                        <a:pt x="5135" y="1973"/>
                      </a:lnTo>
                      <a:lnTo>
                        <a:pt x="5132" y="1976"/>
                      </a:lnTo>
                      <a:lnTo>
                        <a:pt x="5123" y="1984"/>
                      </a:lnTo>
                      <a:lnTo>
                        <a:pt x="5123" y="1987"/>
                      </a:lnTo>
                      <a:lnTo>
                        <a:pt x="5128" y="1989"/>
                      </a:lnTo>
                      <a:lnTo>
                        <a:pt x="5123" y="1995"/>
                      </a:lnTo>
                      <a:lnTo>
                        <a:pt x="5115" y="1998"/>
                      </a:lnTo>
                      <a:lnTo>
                        <a:pt x="5110" y="2003"/>
                      </a:lnTo>
                      <a:lnTo>
                        <a:pt x="5104" y="2015"/>
                      </a:lnTo>
                      <a:lnTo>
                        <a:pt x="5104" y="2017"/>
                      </a:lnTo>
                      <a:lnTo>
                        <a:pt x="5099" y="2020"/>
                      </a:lnTo>
                      <a:lnTo>
                        <a:pt x="5093" y="2020"/>
                      </a:lnTo>
                      <a:lnTo>
                        <a:pt x="5090" y="2028"/>
                      </a:lnTo>
                      <a:lnTo>
                        <a:pt x="5084" y="2031"/>
                      </a:lnTo>
                      <a:lnTo>
                        <a:pt x="5079" y="2028"/>
                      </a:lnTo>
                      <a:lnTo>
                        <a:pt x="5076" y="2023"/>
                      </a:lnTo>
                      <a:lnTo>
                        <a:pt x="5068" y="2025"/>
                      </a:lnTo>
                      <a:lnTo>
                        <a:pt x="5068" y="2028"/>
                      </a:lnTo>
                      <a:lnTo>
                        <a:pt x="5074" y="2033"/>
                      </a:lnTo>
                      <a:lnTo>
                        <a:pt x="5071" y="2048"/>
                      </a:lnTo>
                      <a:lnTo>
                        <a:pt x="5068" y="2050"/>
                      </a:lnTo>
                      <a:lnTo>
                        <a:pt x="5068" y="2058"/>
                      </a:lnTo>
                      <a:lnTo>
                        <a:pt x="5068" y="2064"/>
                      </a:lnTo>
                      <a:lnTo>
                        <a:pt x="5066" y="2067"/>
                      </a:lnTo>
                      <a:lnTo>
                        <a:pt x="5054" y="2076"/>
                      </a:lnTo>
                      <a:lnTo>
                        <a:pt x="5054" y="2081"/>
                      </a:lnTo>
                      <a:lnTo>
                        <a:pt x="5054" y="2084"/>
                      </a:lnTo>
                      <a:lnTo>
                        <a:pt x="5059" y="2086"/>
                      </a:lnTo>
                      <a:lnTo>
                        <a:pt x="5062" y="2086"/>
                      </a:lnTo>
                      <a:lnTo>
                        <a:pt x="5071" y="2076"/>
                      </a:lnTo>
                      <a:lnTo>
                        <a:pt x="5076" y="2078"/>
                      </a:lnTo>
                      <a:lnTo>
                        <a:pt x="5076" y="2081"/>
                      </a:lnTo>
                      <a:lnTo>
                        <a:pt x="5074" y="2086"/>
                      </a:lnTo>
                      <a:lnTo>
                        <a:pt x="5071" y="2092"/>
                      </a:lnTo>
                      <a:lnTo>
                        <a:pt x="5066" y="2097"/>
                      </a:lnTo>
                      <a:lnTo>
                        <a:pt x="5066" y="2105"/>
                      </a:lnTo>
                      <a:lnTo>
                        <a:pt x="5066" y="2114"/>
                      </a:lnTo>
                      <a:lnTo>
                        <a:pt x="5066" y="2117"/>
                      </a:lnTo>
                      <a:lnTo>
                        <a:pt x="5068" y="2117"/>
                      </a:lnTo>
                      <a:lnTo>
                        <a:pt x="5066" y="2122"/>
                      </a:lnTo>
                      <a:lnTo>
                        <a:pt x="5066" y="2127"/>
                      </a:lnTo>
                      <a:lnTo>
                        <a:pt x="5068" y="2133"/>
                      </a:lnTo>
                      <a:lnTo>
                        <a:pt x="5066" y="2138"/>
                      </a:lnTo>
                      <a:lnTo>
                        <a:pt x="5068" y="2141"/>
                      </a:lnTo>
                      <a:lnTo>
                        <a:pt x="5074" y="2145"/>
                      </a:lnTo>
                      <a:lnTo>
                        <a:pt x="5074" y="2147"/>
                      </a:lnTo>
                      <a:lnTo>
                        <a:pt x="5054" y="2153"/>
                      </a:lnTo>
                      <a:lnTo>
                        <a:pt x="5049" y="2153"/>
                      </a:lnTo>
                      <a:lnTo>
                        <a:pt x="5046" y="2150"/>
                      </a:lnTo>
                      <a:lnTo>
                        <a:pt x="5043" y="2150"/>
                      </a:lnTo>
                      <a:lnTo>
                        <a:pt x="5041" y="2153"/>
                      </a:lnTo>
                      <a:lnTo>
                        <a:pt x="5041" y="2158"/>
                      </a:lnTo>
                      <a:lnTo>
                        <a:pt x="5043" y="2161"/>
                      </a:lnTo>
                      <a:lnTo>
                        <a:pt x="5046" y="2163"/>
                      </a:lnTo>
                      <a:lnTo>
                        <a:pt x="5043" y="2169"/>
                      </a:lnTo>
                      <a:lnTo>
                        <a:pt x="5041" y="2169"/>
                      </a:lnTo>
                      <a:lnTo>
                        <a:pt x="5035" y="2171"/>
                      </a:lnTo>
                      <a:lnTo>
                        <a:pt x="5038" y="2183"/>
                      </a:lnTo>
                      <a:lnTo>
                        <a:pt x="5024" y="2186"/>
                      </a:lnTo>
                      <a:lnTo>
                        <a:pt x="5018" y="2188"/>
                      </a:lnTo>
                      <a:lnTo>
                        <a:pt x="5013" y="2188"/>
                      </a:lnTo>
                      <a:lnTo>
                        <a:pt x="5010" y="2188"/>
                      </a:lnTo>
                      <a:lnTo>
                        <a:pt x="5005" y="2191"/>
                      </a:lnTo>
                      <a:lnTo>
                        <a:pt x="5005" y="2202"/>
                      </a:lnTo>
                      <a:lnTo>
                        <a:pt x="5002" y="2205"/>
                      </a:lnTo>
                      <a:lnTo>
                        <a:pt x="4997" y="2194"/>
                      </a:lnTo>
                      <a:lnTo>
                        <a:pt x="4993" y="2194"/>
                      </a:lnTo>
                      <a:lnTo>
                        <a:pt x="4990" y="2197"/>
                      </a:lnTo>
                      <a:lnTo>
                        <a:pt x="4990" y="2202"/>
                      </a:lnTo>
                      <a:lnTo>
                        <a:pt x="4990" y="2205"/>
                      </a:lnTo>
                      <a:lnTo>
                        <a:pt x="4985" y="2207"/>
                      </a:lnTo>
                      <a:lnTo>
                        <a:pt x="4985" y="2210"/>
                      </a:lnTo>
                      <a:lnTo>
                        <a:pt x="4985" y="2214"/>
                      </a:lnTo>
                      <a:lnTo>
                        <a:pt x="4980" y="2210"/>
                      </a:lnTo>
                      <a:lnTo>
                        <a:pt x="4980" y="2214"/>
                      </a:lnTo>
                      <a:lnTo>
                        <a:pt x="4974" y="2216"/>
                      </a:lnTo>
                      <a:lnTo>
                        <a:pt x="4969" y="2224"/>
                      </a:lnTo>
                      <a:lnTo>
                        <a:pt x="4972" y="2230"/>
                      </a:lnTo>
                      <a:lnTo>
                        <a:pt x="4972" y="2232"/>
                      </a:lnTo>
                      <a:lnTo>
                        <a:pt x="4977" y="2230"/>
                      </a:lnTo>
                      <a:lnTo>
                        <a:pt x="4977" y="2232"/>
                      </a:lnTo>
                      <a:lnTo>
                        <a:pt x="4977" y="2235"/>
                      </a:lnTo>
                      <a:lnTo>
                        <a:pt x="4980" y="2243"/>
                      </a:lnTo>
                      <a:lnTo>
                        <a:pt x="4982" y="2240"/>
                      </a:lnTo>
                      <a:lnTo>
                        <a:pt x="4985" y="2240"/>
                      </a:lnTo>
                      <a:lnTo>
                        <a:pt x="4985" y="2246"/>
                      </a:lnTo>
                      <a:lnTo>
                        <a:pt x="4985" y="2252"/>
                      </a:lnTo>
                      <a:lnTo>
                        <a:pt x="4985" y="2257"/>
                      </a:lnTo>
                      <a:lnTo>
                        <a:pt x="4988" y="2263"/>
                      </a:lnTo>
                      <a:lnTo>
                        <a:pt x="4993" y="2260"/>
                      </a:lnTo>
                      <a:lnTo>
                        <a:pt x="4997" y="2257"/>
                      </a:lnTo>
                      <a:lnTo>
                        <a:pt x="4997" y="2255"/>
                      </a:lnTo>
                      <a:lnTo>
                        <a:pt x="4999" y="2255"/>
                      </a:lnTo>
                      <a:lnTo>
                        <a:pt x="4999" y="2257"/>
                      </a:lnTo>
                      <a:lnTo>
                        <a:pt x="4999" y="2266"/>
                      </a:lnTo>
                      <a:lnTo>
                        <a:pt x="4999" y="2268"/>
                      </a:lnTo>
                      <a:lnTo>
                        <a:pt x="5002" y="2268"/>
                      </a:lnTo>
                      <a:lnTo>
                        <a:pt x="5005" y="2271"/>
                      </a:lnTo>
                      <a:lnTo>
                        <a:pt x="5002" y="2271"/>
                      </a:lnTo>
                      <a:lnTo>
                        <a:pt x="5002" y="2274"/>
                      </a:lnTo>
                      <a:lnTo>
                        <a:pt x="5007" y="2271"/>
                      </a:lnTo>
                      <a:lnTo>
                        <a:pt x="5007" y="2274"/>
                      </a:lnTo>
                      <a:lnTo>
                        <a:pt x="5005" y="2274"/>
                      </a:lnTo>
                      <a:lnTo>
                        <a:pt x="5010" y="2276"/>
                      </a:lnTo>
                      <a:lnTo>
                        <a:pt x="5007" y="2276"/>
                      </a:lnTo>
                      <a:lnTo>
                        <a:pt x="5005" y="2279"/>
                      </a:lnTo>
                      <a:lnTo>
                        <a:pt x="4999" y="2274"/>
                      </a:lnTo>
                      <a:lnTo>
                        <a:pt x="4993" y="2274"/>
                      </a:lnTo>
                      <a:lnTo>
                        <a:pt x="4990" y="2276"/>
                      </a:lnTo>
                      <a:lnTo>
                        <a:pt x="4993" y="2276"/>
                      </a:lnTo>
                      <a:lnTo>
                        <a:pt x="4993" y="2279"/>
                      </a:lnTo>
                      <a:lnTo>
                        <a:pt x="4997" y="2282"/>
                      </a:lnTo>
                      <a:lnTo>
                        <a:pt x="4990" y="2285"/>
                      </a:lnTo>
                      <a:lnTo>
                        <a:pt x="4985" y="2282"/>
                      </a:lnTo>
                      <a:lnTo>
                        <a:pt x="4982" y="2282"/>
                      </a:lnTo>
                      <a:lnTo>
                        <a:pt x="4985" y="2285"/>
                      </a:lnTo>
                      <a:lnTo>
                        <a:pt x="4982" y="2288"/>
                      </a:lnTo>
                      <a:lnTo>
                        <a:pt x="4982" y="2291"/>
                      </a:lnTo>
                      <a:lnTo>
                        <a:pt x="4985" y="2291"/>
                      </a:lnTo>
                      <a:lnTo>
                        <a:pt x="4982" y="2293"/>
                      </a:lnTo>
                      <a:lnTo>
                        <a:pt x="4980" y="2296"/>
                      </a:lnTo>
                      <a:lnTo>
                        <a:pt x="4977" y="2293"/>
                      </a:lnTo>
                      <a:lnTo>
                        <a:pt x="4972" y="2293"/>
                      </a:lnTo>
                      <a:lnTo>
                        <a:pt x="4966" y="2296"/>
                      </a:lnTo>
                      <a:lnTo>
                        <a:pt x="4966" y="2299"/>
                      </a:lnTo>
                      <a:lnTo>
                        <a:pt x="4969" y="2299"/>
                      </a:lnTo>
                      <a:lnTo>
                        <a:pt x="4974" y="2304"/>
                      </a:lnTo>
                      <a:lnTo>
                        <a:pt x="4972" y="2304"/>
                      </a:lnTo>
                      <a:lnTo>
                        <a:pt x="4974" y="2309"/>
                      </a:lnTo>
                      <a:lnTo>
                        <a:pt x="4977" y="2312"/>
                      </a:lnTo>
                      <a:lnTo>
                        <a:pt x="4977" y="2315"/>
                      </a:lnTo>
                      <a:lnTo>
                        <a:pt x="4972" y="2317"/>
                      </a:lnTo>
                      <a:lnTo>
                        <a:pt x="4972" y="2321"/>
                      </a:lnTo>
                      <a:lnTo>
                        <a:pt x="4972" y="2326"/>
                      </a:lnTo>
                      <a:lnTo>
                        <a:pt x="4977" y="2326"/>
                      </a:lnTo>
                      <a:lnTo>
                        <a:pt x="4980" y="2329"/>
                      </a:lnTo>
                      <a:lnTo>
                        <a:pt x="4980" y="2332"/>
                      </a:lnTo>
                      <a:lnTo>
                        <a:pt x="4974" y="2332"/>
                      </a:lnTo>
                      <a:lnTo>
                        <a:pt x="4974" y="2334"/>
                      </a:lnTo>
                      <a:lnTo>
                        <a:pt x="4977" y="2334"/>
                      </a:lnTo>
                      <a:lnTo>
                        <a:pt x="4980" y="2337"/>
                      </a:lnTo>
                      <a:lnTo>
                        <a:pt x="4977" y="2343"/>
                      </a:lnTo>
                      <a:lnTo>
                        <a:pt x="4972" y="2340"/>
                      </a:lnTo>
                      <a:lnTo>
                        <a:pt x="4969" y="2343"/>
                      </a:lnTo>
                      <a:lnTo>
                        <a:pt x="4969" y="2345"/>
                      </a:lnTo>
                      <a:lnTo>
                        <a:pt x="4974" y="2348"/>
                      </a:lnTo>
                      <a:lnTo>
                        <a:pt x="4969" y="2354"/>
                      </a:lnTo>
                      <a:lnTo>
                        <a:pt x="4972" y="2357"/>
                      </a:lnTo>
                      <a:lnTo>
                        <a:pt x="4966" y="2360"/>
                      </a:lnTo>
                      <a:lnTo>
                        <a:pt x="4966" y="2368"/>
                      </a:lnTo>
                      <a:lnTo>
                        <a:pt x="4969" y="2373"/>
                      </a:lnTo>
                      <a:lnTo>
                        <a:pt x="4966" y="2376"/>
                      </a:lnTo>
                      <a:lnTo>
                        <a:pt x="4966" y="2384"/>
                      </a:lnTo>
                      <a:lnTo>
                        <a:pt x="4964" y="2381"/>
                      </a:lnTo>
                      <a:lnTo>
                        <a:pt x="4955" y="2384"/>
                      </a:lnTo>
                      <a:lnTo>
                        <a:pt x="4957" y="2395"/>
                      </a:lnTo>
                      <a:lnTo>
                        <a:pt x="4955" y="2398"/>
                      </a:lnTo>
                      <a:lnTo>
                        <a:pt x="4952" y="2398"/>
                      </a:lnTo>
                      <a:lnTo>
                        <a:pt x="4952" y="2390"/>
                      </a:lnTo>
                      <a:lnTo>
                        <a:pt x="4949" y="2390"/>
                      </a:lnTo>
                      <a:lnTo>
                        <a:pt x="4947" y="2395"/>
                      </a:lnTo>
                      <a:lnTo>
                        <a:pt x="4944" y="2395"/>
                      </a:lnTo>
                      <a:lnTo>
                        <a:pt x="4941" y="2395"/>
                      </a:lnTo>
                      <a:lnTo>
                        <a:pt x="4938" y="2395"/>
                      </a:lnTo>
                      <a:lnTo>
                        <a:pt x="4941" y="2401"/>
                      </a:lnTo>
                      <a:lnTo>
                        <a:pt x="4947" y="2398"/>
                      </a:lnTo>
                      <a:lnTo>
                        <a:pt x="4947" y="2403"/>
                      </a:lnTo>
                      <a:lnTo>
                        <a:pt x="4949" y="2406"/>
                      </a:lnTo>
                      <a:lnTo>
                        <a:pt x="4947" y="2412"/>
                      </a:lnTo>
                      <a:lnTo>
                        <a:pt x="4944" y="2412"/>
                      </a:lnTo>
                      <a:lnTo>
                        <a:pt x="4938" y="2412"/>
                      </a:lnTo>
                      <a:lnTo>
                        <a:pt x="4941" y="2420"/>
                      </a:lnTo>
                      <a:lnTo>
                        <a:pt x="4938" y="2422"/>
                      </a:lnTo>
                      <a:lnTo>
                        <a:pt x="4933" y="2417"/>
                      </a:lnTo>
                      <a:lnTo>
                        <a:pt x="4928" y="2417"/>
                      </a:lnTo>
                      <a:lnTo>
                        <a:pt x="4936" y="2422"/>
                      </a:lnTo>
                      <a:lnTo>
                        <a:pt x="4936" y="2426"/>
                      </a:lnTo>
                      <a:lnTo>
                        <a:pt x="4930" y="2429"/>
                      </a:lnTo>
                      <a:lnTo>
                        <a:pt x="4936" y="2431"/>
                      </a:lnTo>
                      <a:lnTo>
                        <a:pt x="4936" y="2434"/>
                      </a:lnTo>
                      <a:lnTo>
                        <a:pt x="4936" y="2437"/>
                      </a:lnTo>
                      <a:lnTo>
                        <a:pt x="4933" y="2434"/>
                      </a:lnTo>
                      <a:lnTo>
                        <a:pt x="4928" y="2434"/>
                      </a:lnTo>
                      <a:lnTo>
                        <a:pt x="4924" y="2437"/>
                      </a:lnTo>
                      <a:lnTo>
                        <a:pt x="4928" y="2439"/>
                      </a:lnTo>
                      <a:lnTo>
                        <a:pt x="4924" y="2445"/>
                      </a:lnTo>
                      <a:lnTo>
                        <a:pt x="4921" y="2445"/>
                      </a:lnTo>
                      <a:lnTo>
                        <a:pt x="4919" y="2442"/>
                      </a:lnTo>
                      <a:lnTo>
                        <a:pt x="4916" y="2445"/>
                      </a:lnTo>
                      <a:lnTo>
                        <a:pt x="4916" y="2455"/>
                      </a:lnTo>
                      <a:lnTo>
                        <a:pt x="4913" y="2455"/>
                      </a:lnTo>
                      <a:lnTo>
                        <a:pt x="4911" y="2455"/>
                      </a:lnTo>
                      <a:lnTo>
                        <a:pt x="4908" y="2455"/>
                      </a:lnTo>
                      <a:lnTo>
                        <a:pt x="4913" y="2462"/>
                      </a:lnTo>
                      <a:lnTo>
                        <a:pt x="4908" y="2467"/>
                      </a:lnTo>
                      <a:lnTo>
                        <a:pt x="4913" y="2470"/>
                      </a:lnTo>
                      <a:lnTo>
                        <a:pt x="4913" y="2475"/>
                      </a:lnTo>
                      <a:lnTo>
                        <a:pt x="4908" y="2475"/>
                      </a:lnTo>
                      <a:lnTo>
                        <a:pt x="4905" y="2475"/>
                      </a:lnTo>
                      <a:lnTo>
                        <a:pt x="4903" y="2480"/>
                      </a:lnTo>
                      <a:lnTo>
                        <a:pt x="4897" y="2478"/>
                      </a:lnTo>
                      <a:lnTo>
                        <a:pt x="4897" y="2483"/>
                      </a:lnTo>
                      <a:lnTo>
                        <a:pt x="4897" y="2486"/>
                      </a:lnTo>
                      <a:lnTo>
                        <a:pt x="4895" y="2486"/>
                      </a:lnTo>
                      <a:lnTo>
                        <a:pt x="4892" y="2480"/>
                      </a:lnTo>
                      <a:lnTo>
                        <a:pt x="4888" y="2480"/>
                      </a:lnTo>
                      <a:lnTo>
                        <a:pt x="4892" y="2483"/>
                      </a:lnTo>
                      <a:lnTo>
                        <a:pt x="4892" y="2486"/>
                      </a:lnTo>
                      <a:lnTo>
                        <a:pt x="4886" y="2489"/>
                      </a:lnTo>
                      <a:lnTo>
                        <a:pt x="4886" y="2486"/>
                      </a:lnTo>
                      <a:lnTo>
                        <a:pt x="4883" y="2483"/>
                      </a:lnTo>
                      <a:lnTo>
                        <a:pt x="4880" y="2486"/>
                      </a:lnTo>
                      <a:lnTo>
                        <a:pt x="4875" y="2491"/>
                      </a:lnTo>
                      <a:lnTo>
                        <a:pt x="4878" y="2491"/>
                      </a:lnTo>
                      <a:lnTo>
                        <a:pt x="4878" y="2495"/>
                      </a:lnTo>
                      <a:lnTo>
                        <a:pt x="4875" y="2495"/>
                      </a:lnTo>
                      <a:lnTo>
                        <a:pt x="4875" y="2498"/>
                      </a:lnTo>
                      <a:lnTo>
                        <a:pt x="4872" y="2495"/>
                      </a:lnTo>
                      <a:lnTo>
                        <a:pt x="4869" y="2498"/>
                      </a:lnTo>
                      <a:lnTo>
                        <a:pt x="4867" y="2498"/>
                      </a:lnTo>
                      <a:lnTo>
                        <a:pt x="4869" y="2498"/>
                      </a:lnTo>
                      <a:lnTo>
                        <a:pt x="4867" y="2500"/>
                      </a:lnTo>
                      <a:lnTo>
                        <a:pt x="4864" y="2503"/>
                      </a:lnTo>
                      <a:lnTo>
                        <a:pt x="4861" y="2500"/>
                      </a:lnTo>
                      <a:lnTo>
                        <a:pt x="4861" y="2508"/>
                      </a:lnTo>
                      <a:lnTo>
                        <a:pt x="4859" y="2508"/>
                      </a:lnTo>
                      <a:lnTo>
                        <a:pt x="4859" y="2511"/>
                      </a:lnTo>
                      <a:lnTo>
                        <a:pt x="4859" y="2514"/>
                      </a:lnTo>
                      <a:lnTo>
                        <a:pt x="4861" y="2519"/>
                      </a:lnTo>
                      <a:lnTo>
                        <a:pt x="4859" y="2522"/>
                      </a:lnTo>
                      <a:lnTo>
                        <a:pt x="4859" y="2519"/>
                      </a:lnTo>
                      <a:lnTo>
                        <a:pt x="4859" y="2522"/>
                      </a:lnTo>
                      <a:lnTo>
                        <a:pt x="4855" y="2522"/>
                      </a:lnTo>
                      <a:lnTo>
                        <a:pt x="4855" y="2527"/>
                      </a:lnTo>
                      <a:lnTo>
                        <a:pt x="4859" y="2527"/>
                      </a:lnTo>
                      <a:lnTo>
                        <a:pt x="4861" y="2533"/>
                      </a:lnTo>
                      <a:lnTo>
                        <a:pt x="4855" y="2533"/>
                      </a:lnTo>
                      <a:lnTo>
                        <a:pt x="4859" y="2536"/>
                      </a:lnTo>
                      <a:lnTo>
                        <a:pt x="4855" y="2536"/>
                      </a:lnTo>
                      <a:lnTo>
                        <a:pt x="4855" y="2539"/>
                      </a:lnTo>
                      <a:lnTo>
                        <a:pt x="4859" y="2539"/>
                      </a:lnTo>
                      <a:lnTo>
                        <a:pt x="4859" y="2544"/>
                      </a:lnTo>
                      <a:lnTo>
                        <a:pt x="4850" y="2541"/>
                      </a:lnTo>
                      <a:lnTo>
                        <a:pt x="4852" y="2552"/>
                      </a:lnTo>
                      <a:lnTo>
                        <a:pt x="4850" y="2552"/>
                      </a:lnTo>
                      <a:lnTo>
                        <a:pt x="4850" y="2549"/>
                      </a:lnTo>
                      <a:lnTo>
                        <a:pt x="4844" y="2549"/>
                      </a:lnTo>
                      <a:lnTo>
                        <a:pt x="4844" y="2552"/>
                      </a:lnTo>
                      <a:lnTo>
                        <a:pt x="4850" y="2560"/>
                      </a:lnTo>
                      <a:lnTo>
                        <a:pt x="4844" y="2560"/>
                      </a:lnTo>
                      <a:lnTo>
                        <a:pt x="4847" y="2564"/>
                      </a:lnTo>
                      <a:lnTo>
                        <a:pt x="4842" y="2567"/>
                      </a:lnTo>
                      <a:lnTo>
                        <a:pt x="4839" y="2569"/>
                      </a:lnTo>
                      <a:lnTo>
                        <a:pt x="4834" y="2569"/>
                      </a:lnTo>
                      <a:lnTo>
                        <a:pt x="4834" y="2572"/>
                      </a:lnTo>
                      <a:lnTo>
                        <a:pt x="4828" y="2575"/>
                      </a:lnTo>
                      <a:lnTo>
                        <a:pt x="4828" y="2580"/>
                      </a:lnTo>
                      <a:lnTo>
                        <a:pt x="4826" y="2580"/>
                      </a:lnTo>
                      <a:lnTo>
                        <a:pt x="4823" y="2580"/>
                      </a:lnTo>
                      <a:lnTo>
                        <a:pt x="4823" y="2583"/>
                      </a:lnTo>
                      <a:lnTo>
                        <a:pt x="4823" y="2585"/>
                      </a:lnTo>
                      <a:lnTo>
                        <a:pt x="4826" y="2588"/>
                      </a:lnTo>
                      <a:lnTo>
                        <a:pt x="4823" y="2591"/>
                      </a:lnTo>
                      <a:lnTo>
                        <a:pt x="4826" y="2596"/>
                      </a:lnTo>
                      <a:lnTo>
                        <a:pt x="4823" y="2596"/>
                      </a:lnTo>
                      <a:lnTo>
                        <a:pt x="4819" y="2602"/>
                      </a:lnTo>
                      <a:lnTo>
                        <a:pt x="4816" y="2605"/>
                      </a:lnTo>
                      <a:lnTo>
                        <a:pt x="4819" y="2608"/>
                      </a:lnTo>
                      <a:lnTo>
                        <a:pt x="4816" y="2610"/>
                      </a:lnTo>
                      <a:lnTo>
                        <a:pt x="4819" y="2610"/>
                      </a:lnTo>
                      <a:lnTo>
                        <a:pt x="4816" y="2610"/>
                      </a:lnTo>
                      <a:lnTo>
                        <a:pt x="4819" y="2613"/>
                      </a:lnTo>
                      <a:lnTo>
                        <a:pt x="4816" y="2616"/>
                      </a:lnTo>
                      <a:lnTo>
                        <a:pt x="4814" y="2616"/>
                      </a:lnTo>
                      <a:lnTo>
                        <a:pt x="4816" y="2619"/>
                      </a:lnTo>
                      <a:lnTo>
                        <a:pt x="4816" y="2621"/>
                      </a:lnTo>
                      <a:lnTo>
                        <a:pt x="4816" y="2624"/>
                      </a:lnTo>
                      <a:lnTo>
                        <a:pt x="4819" y="2621"/>
                      </a:lnTo>
                      <a:lnTo>
                        <a:pt x="4823" y="2624"/>
                      </a:lnTo>
                      <a:lnTo>
                        <a:pt x="4814" y="2629"/>
                      </a:lnTo>
                      <a:lnTo>
                        <a:pt x="4816" y="2641"/>
                      </a:lnTo>
                      <a:lnTo>
                        <a:pt x="4816" y="2646"/>
                      </a:lnTo>
                      <a:lnTo>
                        <a:pt x="4811" y="2649"/>
                      </a:lnTo>
                      <a:lnTo>
                        <a:pt x="4814" y="2652"/>
                      </a:lnTo>
                      <a:lnTo>
                        <a:pt x="4814" y="2657"/>
                      </a:lnTo>
                      <a:lnTo>
                        <a:pt x="4811" y="2662"/>
                      </a:lnTo>
                      <a:lnTo>
                        <a:pt x="4811" y="2669"/>
                      </a:lnTo>
                      <a:lnTo>
                        <a:pt x="4811" y="2674"/>
                      </a:lnTo>
                      <a:lnTo>
                        <a:pt x="4811" y="2677"/>
                      </a:lnTo>
                      <a:lnTo>
                        <a:pt x="4806" y="2680"/>
                      </a:lnTo>
                      <a:lnTo>
                        <a:pt x="4806" y="2685"/>
                      </a:lnTo>
                      <a:lnTo>
                        <a:pt x="4806" y="2688"/>
                      </a:lnTo>
                      <a:lnTo>
                        <a:pt x="4800" y="2690"/>
                      </a:lnTo>
                      <a:lnTo>
                        <a:pt x="4803" y="2696"/>
                      </a:lnTo>
                      <a:lnTo>
                        <a:pt x="4800" y="2701"/>
                      </a:lnTo>
                      <a:lnTo>
                        <a:pt x="4795" y="2705"/>
                      </a:lnTo>
                      <a:lnTo>
                        <a:pt x="4792" y="2713"/>
                      </a:lnTo>
                      <a:lnTo>
                        <a:pt x="4790" y="2713"/>
                      </a:lnTo>
                      <a:lnTo>
                        <a:pt x="4786" y="2713"/>
                      </a:lnTo>
                      <a:lnTo>
                        <a:pt x="4783" y="2713"/>
                      </a:lnTo>
                      <a:lnTo>
                        <a:pt x="4781" y="2713"/>
                      </a:lnTo>
                      <a:lnTo>
                        <a:pt x="4781" y="2721"/>
                      </a:lnTo>
                      <a:lnTo>
                        <a:pt x="4781" y="2723"/>
                      </a:lnTo>
                      <a:lnTo>
                        <a:pt x="4778" y="2721"/>
                      </a:lnTo>
                      <a:lnTo>
                        <a:pt x="4773" y="2726"/>
                      </a:lnTo>
                      <a:lnTo>
                        <a:pt x="4767" y="2729"/>
                      </a:lnTo>
                      <a:lnTo>
                        <a:pt x="4767" y="2738"/>
                      </a:lnTo>
                      <a:lnTo>
                        <a:pt x="4765" y="2740"/>
                      </a:lnTo>
                      <a:lnTo>
                        <a:pt x="4762" y="2740"/>
                      </a:lnTo>
                      <a:lnTo>
                        <a:pt x="4762" y="2746"/>
                      </a:lnTo>
                      <a:lnTo>
                        <a:pt x="4762" y="2748"/>
                      </a:lnTo>
                      <a:lnTo>
                        <a:pt x="4759" y="2748"/>
                      </a:lnTo>
                      <a:lnTo>
                        <a:pt x="4759" y="2754"/>
                      </a:lnTo>
                      <a:lnTo>
                        <a:pt x="4757" y="2751"/>
                      </a:lnTo>
                      <a:lnTo>
                        <a:pt x="4754" y="2757"/>
                      </a:lnTo>
                      <a:lnTo>
                        <a:pt x="4750" y="2757"/>
                      </a:lnTo>
                      <a:lnTo>
                        <a:pt x="4748" y="2762"/>
                      </a:lnTo>
                      <a:lnTo>
                        <a:pt x="4745" y="2762"/>
                      </a:lnTo>
                      <a:lnTo>
                        <a:pt x="4739" y="2762"/>
                      </a:lnTo>
                      <a:lnTo>
                        <a:pt x="4737" y="2767"/>
                      </a:lnTo>
                      <a:lnTo>
                        <a:pt x="4729" y="2774"/>
                      </a:lnTo>
                      <a:lnTo>
                        <a:pt x="4729" y="2776"/>
                      </a:lnTo>
                      <a:lnTo>
                        <a:pt x="4723" y="2776"/>
                      </a:lnTo>
                      <a:lnTo>
                        <a:pt x="4721" y="2779"/>
                      </a:lnTo>
                      <a:lnTo>
                        <a:pt x="4721" y="2782"/>
                      </a:lnTo>
                      <a:lnTo>
                        <a:pt x="4717" y="2782"/>
                      </a:lnTo>
                      <a:lnTo>
                        <a:pt x="4717" y="2784"/>
                      </a:lnTo>
                      <a:lnTo>
                        <a:pt x="4712" y="2784"/>
                      </a:lnTo>
                      <a:lnTo>
                        <a:pt x="4712" y="2787"/>
                      </a:lnTo>
                      <a:lnTo>
                        <a:pt x="4709" y="2787"/>
                      </a:lnTo>
                      <a:lnTo>
                        <a:pt x="4712" y="2784"/>
                      </a:lnTo>
                      <a:lnTo>
                        <a:pt x="4706" y="2784"/>
                      </a:lnTo>
                      <a:lnTo>
                        <a:pt x="4704" y="2787"/>
                      </a:lnTo>
                      <a:lnTo>
                        <a:pt x="4704" y="2792"/>
                      </a:lnTo>
                      <a:lnTo>
                        <a:pt x="4701" y="2792"/>
                      </a:lnTo>
                      <a:lnTo>
                        <a:pt x="4701" y="2798"/>
                      </a:lnTo>
                      <a:lnTo>
                        <a:pt x="4701" y="2800"/>
                      </a:lnTo>
                      <a:lnTo>
                        <a:pt x="4696" y="2806"/>
                      </a:lnTo>
                      <a:lnTo>
                        <a:pt x="4696" y="2809"/>
                      </a:lnTo>
                      <a:lnTo>
                        <a:pt x="4693" y="2812"/>
                      </a:lnTo>
                      <a:lnTo>
                        <a:pt x="4696" y="2817"/>
                      </a:lnTo>
                      <a:lnTo>
                        <a:pt x="4696" y="2823"/>
                      </a:lnTo>
                      <a:lnTo>
                        <a:pt x="4698" y="2826"/>
                      </a:lnTo>
                      <a:lnTo>
                        <a:pt x="4696" y="2828"/>
                      </a:lnTo>
                      <a:lnTo>
                        <a:pt x="4698" y="2834"/>
                      </a:lnTo>
                      <a:lnTo>
                        <a:pt x="4698" y="2836"/>
                      </a:lnTo>
                      <a:lnTo>
                        <a:pt x="4696" y="2839"/>
                      </a:lnTo>
                      <a:lnTo>
                        <a:pt x="4693" y="2836"/>
                      </a:lnTo>
                      <a:lnTo>
                        <a:pt x="4688" y="2839"/>
                      </a:lnTo>
                      <a:lnTo>
                        <a:pt x="4690" y="2843"/>
                      </a:lnTo>
                      <a:lnTo>
                        <a:pt x="4688" y="2845"/>
                      </a:lnTo>
                      <a:lnTo>
                        <a:pt x="4688" y="2851"/>
                      </a:lnTo>
                      <a:lnTo>
                        <a:pt x="4684" y="2853"/>
                      </a:lnTo>
                      <a:lnTo>
                        <a:pt x="4684" y="2856"/>
                      </a:lnTo>
                      <a:lnTo>
                        <a:pt x="4681" y="2856"/>
                      </a:lnTo>
                      <a:lnTo>
                        <a:pt x="4684" y="2867"/>
                      </a:lnTo>
                      <a:lnTo>
                        <a:pt x="4681" y="2867"/>
                      </a:lnTo>
                      <a:lnTo>
                        <a:pt x="4679" y="2867"/>
                      </a:lnTo>
                      <a:lnTo>
                        <a:pt x="4673" y="2875"/>
                      </a:lnTo>
                      <a:lnTo>
                        <a:pt x="4670" y="2875"/>
                      </a:lnTo>
                      <a:lnTo>
                        <a:pt x="4668" y="2881"/>
                      </a:lnTo>
                      <a:lnTo>
                        <a:pt x="4662" y="2878"/>
                      </a:lnTo>
                      <a:lnTo>
                        <a:pt x="4662" y="2884"/>
                      </a:lnTo>
                      <a:lnTo>
                        <a:pt x="4660" y="2884"/>
                      </a:lnTo>
                      <a:lnTo>
                        <a:pt x="4657" y="2884"/>
                      </a:lnTo>
                      <a:lnTo>
                        <a:pt x="4654" y="2889"/>
                      </a:lnTo>
                      <a:lnTo>
                        <a:pt x="4643" y="2895"/>
                      </a:lnTo>
                      <a:lnTo>
                        <a:pt x="4645" y="2897"/>
                      </a:lnTo>
                      <a:lnTo>
                        <a:pt x="4643" y="2900"/>
                      </a:lnTo>
                      <a:lnTo>
                        <a:pt x="4643" y="2905"/>
                      </a:lnTo>
                      <a:lnTo>
                        <a:pt x="4640" y="2912"/>
                      </a:lnTo>
                      <a:lnTo>
                        <a:pt x="4643" y="2912"/>
                      </a:lnTo>
                      <a:lnTo>
                        <a:pt x="4637" y="2917"/>
                      </a:lnTo>
                      <a:lnTo>
                        <a:pt x="4637" y="2922"/>
                      </a:lnTo>
                      <a:lnTo>
                        <a:pt x="4632" y="2928"/>
                      </a:lnTo>
                      <a:lnTo>
                        <a:pt x="4632" y="2933"/>
                      </a:lnTo>
                      <a:lnTo>
                        <a:pt x="4627" y="2941"/>
                      </a:lnTo>
                      <a:lnTo>
                        <a:pt x="4621" y="2950"/>
                      </a:lnTo>
                      <a:lnTo>
                        <a:pt x="4607" y="2963"/>
                      </a:lnTo>
                      <a:lnTo>
                        <a:pt x="4601" y="2980"/>
                      </a:lnTo>
                      <a:lnTo>
                        <a:pt x="4591" y="2994"/>
                      </a:lnTo>
                      <a:lnTo>
                        <a:pt x="4588" y="2997"/>
                      </a:lnTo>
                      <a:lnTo>
                        <a:pt x="4583" y="2999"/>
                      </a:lnTo>
                      <a:lnTo>
                        <a:pt x="4576" y="3002"/>
                      </a:lnTo>
                      <a:lnTo>
                        <a:pt x="4571" y="3010"/>
                      </a:lnTo>
                      <a:lnTo>
                        <a:pt x="4560" y="3019"/>
                      </a:lnTo>
                      <a:lnTo>
                        <a:pt x="4552" y="3015"/>
                      </a:lnTo>
                      <a:lnTo>
                        <a:pt x="4546" y="3015"/>
                      </a:lnTo>
                      <a:lnTo>
                        <a:pt x="4541" y="3015"/>
                      </a:lnTo>
                      <a:lnTo>
                        <a:pt x="4535" y="3013"/>
                      </a:lnTo>
                      <a:lnTo>
                        <a:pt x="4533" y="3015"/>
                      </a:lnTo>
                      <a:lnTo>
                        <a:pt x="4530" y="3010"/>
                      </a:lnTo>
                      <a:lnTo>
                        <a:pt x="4524" y="3010"/>
                      </a:lnTo>
                      <a:lnTo>
                        <a:pt x="4516" y="3007"/>
                      </a:lnTo>
                      <a:lnTo>
                        <a:pt x="4510" y="3013"/>
                      </a:lnTo>
                      <a:lnTo>
                        <a:pt x="4505" y="3022"/>
                      </a:lnTo>
                      <a:lnTo>
                        <a:pt x="4453" y="3063"/>
                      </a:lnTo>
                      <a:lnTo>
                        <a:pt x="4420" y="3091"/>
                      </a:lnTo>
                      <a:lnTo>
                        <a:pt x="4405" y="3102"/>
                      </a:lnTo>
                      <a:lnTo>
                        <a:pt x="4397" y="3107"/>
                      </a:lnTo>
                      <a:lnTo>
                        <a:pt x="4351" y="3145"/>
                      </a:lnTo>
                      <a:lnTo>
                        <a:pt x="4345" y="3151"/>
                      </a:lnTo>
                      <a:lnTo>
                        <a:pt x="4267" y="3212"/>
                      </a:lnTo>
                      <a:lnTo>
                        <a:pt x="4259" y="3217"/>
                      </a:lnTo>
                      <a:lnTo>
                        <a:pt x="4256" y="3214"/>
                      </a:lnTo>
                      <a:lnTo>
                        <a:pt x="4254" y="3214"/>
                      </a:lnTo>
                      <a:lnTo>
                        <a:pt x="4251" y="3217"/>
                      </a:lnTo>
                      <a:lnTo>
                        <a:pt x="4254" y="3222"/>
                      </a:lnTo>
                      <a:lnTo>
                        <a:pt x="4246" y="3229"/>
                      </a:lnTo>
                      <a:lnTo>
                        <a:pt x="4243" y="3234"/>
                      </a:lnTo>
                      <a:lnTo>
                        <a:pt x="4205" y="3262"/>
                      </a:lnTo>
                      <a:lnTo>
                        <a:pt x="4124" y="3327"/>
                      </a:lnTo>
                      <a:lnTo>
                        <a:pt x="4124" y="3331"/>
                      </a:lnTo>
                      <a:lnTo>
                        <a:pt x="4124" y="3334"/>
                      </a:lnTo>
                      <a:lnTo>
                        <a:pt x="4127" y="3336"/>
                      </a:lnTo>
                      <a:lnTo>
                        <a:pt x="4132" y="3339"/>
                      </a:lnTo>
                      <a:lnTo>
                        <a:pt x="4138" y="3339"/>
                      </a:lnTo>
                      <a:lnTo>
                        <a:pt x="4138" y="3342"/>
                      </a:lnTo>
                      <a:lnTo>
                        <a:pt x="4154" y="3342"/>
                      </a:lnTo>
                      <a:lnTo>
                        <a:pt x="4165" y="3344"/>
                      </a:lnTo>
                      <a:lnTo>
                        <a:pt x="4168" y="3344"/>
                      </a:lnTo>
                      <a:lnTo>
                        <a:pt x="4174" y="3355"/>
                      </a:lnTo>
                      <a:lnTo>
                        <a:pt x="4185" y="3358"/>
                      </a:lnTo>
                      <a:lnTo>
                        <a:pt x="4190" y="3358"/>
                      </a:lnTo>
                      <a:lnTo>
                        <a:pt x="4205" y="3358"/>
                      </a:lnTo>
                      <a:lnTo>
                        <a:pt x="4223" y="3360"/>
                      </a:lnTo>
                      <a:lnTo>
                        <a:pt x="4229" y="3360"/>
                      </a:lnTo>
                      <a:lnTo>
                        <a:pt x="4237" y="3358"/>
                      </a:lnTo>
                      <a:lnTo>
                        <a:pt x="4240" y="3355"/>
                      </a:lnTo>
                      <a:lnTo>
                        <a:pt x="4246" y="3355"/>
                      </a:lnTo>
                      <a:lnTo>
                        <a:pt x="4248" y="3352"/>
                      </a:lnTo>
                      <a:lnTo>
                        <a:pt x="4251" y="3352"/>
                      </a:lnTo>
                      <a:lnTo>
                        <a:pt x="4259" y="3350"/>
                      </a:lnTo>
                      <a:lnTo>
                        <a:pt x="4267" y="3352"/>
                      </a:lnTo>
                      <a:lnTo>
                        <a:pt x="4270" y="3347"/>
                      </a:lnTo>
                      <a:lnTo>
                        <a:pt x="4274" y="3347"/>
                      </a:lnTo>
                      <a:lnTo>
                        <a:pt x="4279" y="3350"/>
                      </a:lnTo>
                      <a:lnTo>
                        <a:pt x="4282" y="3355"/>
                      </a:lnTo>
                      <a:lnTo>
                        <a:pt x="4284" y="3358"/>
                      </a:lnTo>
                      <a:lnTo>
                        <a:pt x="4290" y="3363"/>
                      </a:lnTo>
                      <a:lnTo>
                        <a:pt x="4290" y="3367"/>
                      </a:lnTo>
                      <a:lnTo>
                        <a:pt x="4290" y="3372"/>
                      </a:lnTo>
                      <a:lnTo>
                        <a:pt x="4292" y="3377"/>
                      </a:lnTo>
                      <a:lnTo>
                        <a:pt x="4298" y="3386"/>
                      </a:lnTo>
                      <a:lnTo>
                        <a:pt x="4298" y="3391"/>
                      </a:lnTo>
                      <a:lnTo>
                        <a:pt x="4298" y="3388"/>
                      </a:lnTo>
                      <a:lnTo>
                        <a:pt x="4300" y="3391"/>
                      </a:lnTo>
                      <a:lnTo>
                        <a:pt x="4309" y="3403"/>
                      </a:lnTo>
                      <a:lnTo>
                        <a:pt x="4312" y="3405"/>
                      </a:lnTo>
                      <a:lnTo>
                        <a:pt x="4317" y="3408"/>
                      </a:lnTo>
                      <a:lnTo>
                        <a:pt x="4323" y="3411"/>
                      </a:lnTo>
                      <a:lnTo>
                        <a:pt x="4336" y="3413"/>
                      </a:lnTo>
                      <a:lnTo>
                        <a:pt x="4345" y="3413"/>
                      </a:lnTo>
                      <a:lnTo>
                        <a:pt x="4351" y="3419"/>
                      </a:lnTo>
                      <a:lnTo>
                        <a:pt x="4353" y="3421"/>
                      </a:lnTo>
                      <a:lnTo>
                        <a:pt x="4359" y="3424"/>
                      </a:lnTo>
                      <a:lnTo>
                        <a:pt x="4376" y="3436"/>
                      </a:lnTo>
                      <a:lnTo>
                        <a:pt x="4376" y="3441"/>
                      </a:lnTo>
                      <a:lnTo>
                        <a:pt x="4376" y="3449"/>
                      </a:lnTo>
                      <a:lnTo>
                        <a:pt x="4372" y="3455"/>
                      </a:lnTo>
                      <a:lnTo>
                        <a:pt x="4364" y="3472"/>
                      </a:lnTo>
                      <a:lnTo>
                        <a:pt x="4359" y="3480"/>
                      </a:lnTo>
                      <a:lnTo>
                        <a:pt x="4353" y="3482"/>
                      </a:lnTo>
                      <a:lnTo>
                        <a:pt x="4351" y="3485"/>
                      </a:lnTo>
                      <a:lnTo>
                        <a:pt x="4348" y="3485"/>
                      </a:lnTo>
                      <a:lnTo>
                        <a:pt x="4339" y="3488"/>
                      </a:lnTo>
                      <a:lnTo>
                        <a:pt x="4320" y="3485"/>
                      </a:lnTo>
                      <a:lnTo>
                        <a:pt x="4315" y="3488"/>
                      </a:lnTo>
                      <a:lnTo>
                        <a:pt x="4312" y="3493"/>
                      </a:lnTo>
                      <a:lnTo>
                        <a:pt x="4309" y="3498"/>
                      </a:lnTo>
                      <a:lnTo>
                        <a:pt x="4309" y="3510"/>
                      </a:lnTo>
                      <a:lnTo>
                        <a:pt x="4309" y="3513"/>
                      </a:lnTo>
                      <a:lnTo>
                        <a:pt x="4312" y="3532"/>
                      </a:lnTo>
                      <a:lnTo>
                        <a:pt x="4312" y="3534"/>
                      </a:lnTo>
                      <a:lnTo>
                        <a:pt x="4315" y="3537"/>
                      </a:lnTo>
                      <a:lnTo>
                        <a:pt x="4320" y="3546"/>
                      </a:lnTo>
                      <a:lnTo>
                        <a:pt x="4331" y="3557"/>
                      </a:lnTo>
                      <a:lnTo>
                        <a:pt x="4331" y="3559"/>
                      </a:lnTo>
                      <a:lnTo>
                        <a:pt x="4336" y="3567"/>
                      </a:lnTo>
                      <a:lnTo>
                        <a:pt x="4336" y="3570"/>
                      </a:lnTo>
                      <a:lnTo>
                        <a:pt x="4336" y="3579"/>
                      </a:lnTo>
                      <a:lnTo>
                        <a:pt x="4328" y="3585"/>
                      </a:lnTo>
                      <a:lnTo>
                        <a:pt x="4312" y="3587"/>
                      </a:lnTo>
                      <a:lnTo>
                        <a:pt x="4306" y="3590"/>
                      </a:lnTo>
                      <a:lnTo>
                        <a:pt x="4300" y="3595"/>
                      </a:lnTo>
                      <a:lnTo>
                        <a:pt x="4295" y="3603"/>
                      </a:lnTo>
                      <a:lnTo>
                        <a:pt x="4292" y="3610"/>
                      </a:lnTo>
                      <a:lnTo>
                        <a:pt x="4292" y="3615"/>
                      </a:lnTo>
                      <a:lnTo>
                        <a:pt x="4295" y="3618"/>
                      </a:lnTo>
                      <a:lnTo>
                        <a:pt x="4306" y="3620"/>
                      </a:lnTo>
                      <a:lnTo>
                        <a:pt x="4315" y="3631"/>
                      </a:lnTo>
                      <a:lnTo>
                        <a:pt x="4315" y="3636"/>
                      </a:lnTo>
                      <a:lnTo>
                        <a:pt x="4312" y="3645"/>
                      </a:lnTo>
                      <a:lnTo>
                        <a:pt x="4306" y="3651"/>
                      </a:lnTo>
                      <a:lnTo>
                        <a:pt x="4295" y="3659"/>
                      </a:lnTo>
                      <a:lnTo>
                        <a:pt x="4282" y="3664"/>
                      </a:lnTo>
                      <a:lnTo>
                        <a:pt x="4270" y="3662"/>
                      </a:lnTo>
                      <a:lnTo>
                        <a:pt x="4265" y="3664"/>
                      </a:lnTo>
                      <a:lnTo>
                        <a:pt x="4259" y="3670"/>
                      </a:lnTo>
                      <a:lnTo>
                        <a:pt x="4254" y="3675"/>
                      </a:lnTo>
                      <a:lnTo>
                        <a:pt x="4254" y="3684"/>
                      </a:lnTo>
                      <a:lnTo>
                        <a:pt x="4254" y="3692"/>
                      </a:lnTo>
                      <a:lnTo>
                        <a:pt x="4256" y="3700"/>
                      </a:lnTo>
                      <a:lnTo>
                        <a:pt x="4259" y="3713"/>
                      </a:lnTo>
                      <a:lnTo>
                        <a:pt x="4262" y="3720"/>
                      </a:lnTo>
                      <a:lnTo>
                        <a:pt x="4259" y="3723"/>
                      </a:lnTo>
                      <a:lnTo>
                        <a:pt x="4259" y="3725"/>
                      </a:lnTo>
                      <a:lnTo>
                        <a:pt x="4262" y="3731"/>
                      </a:lnTo>
                      <a:lnTo>
                        <a:pt x="4267" y="3733"/>
                      </a:lnTo>
                      <a:lnTo>
                        <a:pt x="4274" y="3736"/>
                      </a:lnTo>
                      <a:lnTo>
                        <a:pt x="4276" y="3739"/>
                      </a:lnTo>
                      <a:lnTo>
                        <a:pt x="4279" y="3747"/>
                      </a:lnTo>
                      <a:lnTo>
                        <a:pt x="4276" y="3758"/>
                      </a:lnTo>
                      <a:lnTo>
                        <a:pt x="4274" y="3761"/>
                      </a:lnTo>
                      <a:lnTo>
                        <a:pt x="4267" y="3758"/>
                      </a:lnTo>
                      <a:lnTo>
                        <a:pt x="4256" y="3750"/>
                      </a:lnTo>
                      <a:lnTo>
                        <a:pt x="4248" y="3747"/>
                      </a:lnTo>
                      <a:lnTo>
                        <a:pt x="4226" y="3747"/>
                      </a:lnTo>
                      <a:lnTo>
                        <a:pt x="4223" y="3750"/>
                      </a:lnTo>
                      <a:lnTo>
                        <a:pt x="4218" y="3758"/>
                      </a:lnTo>
                      <a:lnTo>
                        <a:pt x="4215" y="3764"/>
                      </a:lnTo>
                      <a:lnTo>
                        <a:pt x="4207" y="3772"/>
                      </a:lnTo>
                      <a:lnTo>
                        <a:pt x="4201" y="3774"/>
                      </a:lnTo>
                      <a:lnTo>
                        <a:pt x="4182" y="3791"/>
                      </a:lnTo>
                      <a:lnTo>
                        <a:pt x="4177" y="3802"/>
                      </a:lnTo>
                      <a:lnTo>
                        <a:pt x="4174" y="3805"/>
                      </a:lnTo>
                      <a:lnTo>
                        <a:pt x="4168" y="3813"/>
                      </a:lnTo>
                      <a:lnTo>
                        <a:pt x="4168" y="3822"/>
                      </a:lnTo>
                      <a:lnTo>
                        <a:pt x="4162" y="3827"/>
                      </a:lnTo>
                      <a:lnTo>
                        <a:pt x="4160" y="3835"/>
                      </a:lnTo>
                      <a:lnTo>
                        <a:pt x="4160" y="3841"/>
                      </a:lnTo>
                      <a:lnTo>
                        <a:pt x="4165" y="3858"/>
                      </a:lnTo>
                      <a:lnTo>
                        <a:pt x="4165" y="3869"/>
                      </a:lnTo>
                      <a:lnTo>
                        <a:pt x="4162" y="3874"/>
                      </a:lnTo>
                      <a:lnTo>
                        <a:pt x="4160" y="3879"/>
                      </a:lnTo>
                      <a:lnTo>
                        <a:pt x="4152" y="3885"/>
                      </a:lnTo>
                      <a:lnTo>
                        <a:pt x="4129" y="3891"/>
                      </a:lnTo>
                      <a:lnTo>
                        <a:pt x="4121" y="3904"/>
                      </a:lnTo>
                      <a:lnTo>
                        <a:pt x="4116" y="3910"/>
                      </a:lnTo>
                      <a:lnTo>
                        <a:pt x="4113" y="3910"/>
                      </a:lnTo>
                      <a:lnTo>
                        <a:pt x="4099" y="3915"/>
                      </a:lnTo>
                      <a:lnTo>
                        <a:pt x="4093" y="3915"/>
                      </a:lnTo>
                      <a:lnTo>
                        <a:pt x="4088" y="3915"/>
                      </a:lnTo>
                      <a:lnTo>
                        <a:pt x="4085" y="3915"/>
                      </a:lnTo>
                      <a:lnTo>
                        <a:pt x="4075" y="3915"/>
                      </a:lnTo>
                      <a:lnTo>
                        <a:pt x="4058" y="3918"/>
                      </a:lnTo>
                      <a:lnTo>
                        <a:pt x="4052" y="3920"/>
                      </a:lnTo>
                      <a:lnTo>
                        <a:pt x="4047" y="3924"/>
                      </a:lnTo>
                      <a:lnTo>
                        <a:pt x="4036" y="3929"/>
                      </a:lnTo>
                      <a:lnTo>
                        <a:pt x="4016" y="3929"/>
                      </a:lnTo>
                      <a:lnTo>
                        <a:pt x="4011" y="3937"/>
                      </a:lnTo>
                      <a:lnTo>
                        <a:pt x="4006" y="3943"/>
                      </a:lnTo>
                      <a:lnTo>
                        <a:pt x="3989" y="3954"/>
                      </a:lnTo>
                      <a:lnTo>
                        <a:pt x="3978" y="3965"/>
                      </a:lnTo>
                      <a:lnTo>
                        <a:pt x="3961" y="3973"/>
                      </a:lnTo>
                      <a:lnTo>
                        <a:pt x="3953" y="3976"/>
                      </a:lnTo>
                      <a:lnTo>
                        <a:pt x="3950" y="3976"/>
                      </a:lnTo>
                      <a:lnTo>
                        <a:pt x="3947" y="3981"/>
                      </a:lnTo>
                      <a:lnTo>
                        <a:pt x="3939" y="3989"/>
                      </a:lnTo>
                      <a:lnTo>
                        <a:pt x="3937" y="3996"/>
                      </a:lnTo>
                      <a:lnTo>
                        <a:pt x="3937" y="4004"/>
                      </a:lnTo>
                      <a:lnTo>
                        <a:pt x="3937" y="4009"/>
                      </a:lnTo>
                      <a:lnTo>
                        <a:pt x="3939" y="4012"/>
                      </a:lnTo>
                      <a:lnTo>
                        <a:pt x="3945" y="4032"/>
                      </a:lnTo>
                      <a:lnTo>
                        <a:pt x="3945" y="4037"/>
                      </a:lnTo>
                      <a:lnTo>
                        <a:pt x="3945" y="4048"/>
                      </a:lnTo>
                      <a:lnTo>
                        <a:pt x="3945" y="4050"/>
                      </a:lnTo>
                      <a:lnTo>
                        <a:pt x="3945" y="4076"/>
                      </a:lnTo>
                      <a:lnTo>
                        <a:pt x="3947" y="4101"/>
                      </a:lnTo>
                      <a:lnTo>
                        <a:pt x="3950" y="4111"/>
                      </a:lnTo>
                      <a:lnTo>
                        <a:pt x="3947" y="4119"/>
                      </a:lnTo>
                      <a:lnTo>
                        <a:pt x="3939" y="4134"/>
                      </a:lnTo>
                      <a:lnTo>
                        <a:pt x="3937" y="4145"/>
                      </a:lnTo>
                      <a:lnTo>
                        <a:pt x="3928" y="4155"/>
                      </a:lnTo>
                      <a:lnTo>
                        <a:pt x="3920" y="4166"/>
                      </a:lnTo>
                      <a:lnTo>
                        <a:pt x="3914" y="4175"/>
                      </a:lnTo>
                      <a:lnTo>
                        <a:pt x="3914" y="4178"/>
                      </a:lnTo>
                      <a:lnTo>
                        <a:pt x="3909" y="4183"/>
                      </a:lnTo>
                      <a:lnTo>
                        <a:pt x="3892" y="4199"/>
                      </a:lnTo>
                      <a:lnTo>
                        <a:pt x="3881" y="4214"/>
                      </a:lnTo>
                      <a:lnTo>
                        <a:pt x="3876" y="4224"/>
                      </a:lnTo>
                      <a:lnTo>
                        <a:pt x="3870" y="4227"/>
                      </a:lnTo>
                      <a:lnTo>
                        <a:pt x="3868" y="4249"/>
                      </a:lnTo>
                      <a:lnTo>
                        <a:pt x="3868" y="4257"/>
                      </a:lnTo>
                      <a:lnTo>
                        <a:pt x="3876" y="4274"/>
                      </a:lnTo>
                      <a:lnTo>
                        <a:pt x="3876" y="4277"/>
                      </a:lnTo>
                      <a:lnTo>
                        <a:pt x="3884" y="4296"/>
                      </a:lnTo>
                      <a:lnTo>
                        <a:pt x="3886" y="4301"/>
                      </a:lnTo>
                      <a:lnTo>
                        <a:pt x="3892" y="4308"/>
                      </a:lnTo>
                      <a:lnTo>
                        <a:pt x="3903" y="4313"/>
                      </a:lnTo>
                      <a:lnTo>
                        <a:pt x="3917" y="4324"/>
                      </a:lnTo>
                      <a:lnTo>
                        <a:pt x="3925" y="4329"/>
                      </a:lnTo>
                      <a:lnTo>
                        <a:pt x="3934" y="4340"/>
                      </a:lnTo>
                      <a:lnTo>
                        <a:pt x="3942" y="4346"/>
                      </a:lnTo>
                      <a:lnTo>
                        <a:pt x="3953" y="4349"/>
                      </a:lnTo>
                      <a:lnTo>
                        <a:pt x="3958" y="4351"/>
                      </a:lnTo>
                      <a:lnTo>
                        <a:pt x="3961" y="4357"/>
                      </a:lnTo>
                      <a:lnTo>
                        <a:pt x="3961" y="4360"/>
                      </a:lnTo>
                      <a:lnTo>
                        <a:pt x="3958" y="4365"/>
                      </a:lnTo>
                      <a:lnTo>
                        <a:pt x="3955" y="4368"/>
                      </a:lnTo>
                      <a:lnTo>
                        <a:pt x="3955" y="4376"/>
                      </a:lnTo>
                      <a:lnTo>
                        <a:pt x="3955" y="4379"/>
                      </a:lnTo>
                      <a:lnTo>
                        <a:pt x="3958" y="4398"/>
                      </a:lnTo>
                      <a:lnTo>
                        <a:pt x="3955" y="4409"/>
                      </a:lnTo>
                      <a:lnTo>
                        <a:pt x="3955" y="4420"/>
                      </a:lnTo>
                      <a:lnTo>
                        <a:pt x="3950" y="4429"/>
                      </a:lnTo>
                      <a:lnTo>
                        <a:pt x="3953" y="4442"/>
                      </a:lnTo>
                      <a:lnTo>
                        <a:pt x="3953" y="4448"/>
                      </a:lnTo>
                      <a:lnTo>
                        <a:pt x="3953" y="4462"/>
                      </a:lnTo>
                      <a:lnTo>
                        <a:pt x="3950" y="4467"/>
                      </a:lnTo>
                      <a:lnTo>
                        <a:pt x="3945" y="4470"/>
                      </a:lnTo>
                      <a:lnTo>
                        <a:pt x="3945" y="4472"/>
                      </a:lnTo>
                      <a:lnTo>
                        <a:pt x="3942" y="4475"/>
                      </a:lnTo>
                      <a:lnTo>
                        <a:pt x="3942" y="4484"/>
                      </a:lnTo>
                      <a:lnTo>
                        <a:pt x="3939" y="4490"/>
                      </a:lnTo>
                      <a:lnTo>
                        <a:pt x="3942" y="4498"/>
                      </a:lnTo>
                      <a:lnTo>
                        <a:pt x="3939" y="4511"/>
                      </a:lnTo>
                      <a:lnTo>
                        <a:pt x="3937" y="4520"/>
                      </a:lnTo>
                      <a:lnTo>
                        <a:pt x="3934" y="4525"/>
                      </a:lnTo>
                      <a:lnTo>
                        <a:pt x="3928" y="4536"/>
                      </a:lnTo>
                      <a:lnTo>
                        <a:pt x="3920" y="4553"/>
                      </a:lnTo>
                      <a:lnTo>
                        <a:pt x="3917" y="4575"/>
                      </a:lnTo>
                      <a:lnTo>
                        <a:pt x="3914" y="4583"/>
                      </a:lnTo>
                      <a:lnTo>
                        <a:pt x="3909" y="4597"/>
                      </a:lnTo>
                      <a:lnTo>
                        <a:pt x="3903" y="4602"/>
                      </a:lnTo>
                      <a:lnTo>
                        <a:pt x="3895" y="4608"/>
                      </a:lnTo>
                      <a:lnTo>
                        <a:pt x="3884" y="4613"/>
                      </a:lnTo>
                      <a:lnTo>
                        <a:pt x="3881" y="4613"/>
                      </a:lnTo>
                      <a:lnTo>
                        <a:pt x="3870" y="4630"/>
                      </a:lnTo>
                      <a:lnTo>
                        <a:pt x="3868" y="4638"/>
                      </a:lnTo>
                      <a:lnTo>
                        <a:pt x="3865" y="4644"/>
                      </a:lnTo>
                      <a:lnTo>
                        <a:pt x="3862" y="4669"/>
                      </a:lnTo>
                      <a:lnTo>
                        <a:pt x="3862" y="4674"/>
                      </a:lnTo>
                      <a:lnTo>
                        <a:pt x="3856" y="4682"/>
                      </a:lnTo>
                      <a:lnTo>
                        <a:pt x="3840" y="4697"/>
                      </a:lnTo>
                      <a:lnTo>
                        <a:pt x="3837" y="4705"/>
                      </a:lnTo>
                      <a:lnTo>
                        <a:pt x="3832" y="4710"/>
                      </a:lnTo>
                      <a:lnTo>
                        <a:pt x="3829" y="4721"/>
                      </a:lnTo>
                      <a:lnTo>
                        <a:pt x="3823" y="4730"/>
                      </a:lnTo>
                      <a:lnTo>
                        <a:pt x="3804" y="4756"/>
                      </a:lnTo>
                      <a:lnTo>
                        <a:pt x="3793" y="4774"/>
                      </a:lnTo>
                      <a:lnTo>
                        <a:pt x="3784" y="4784"/>
                      </a:lnTo>
                      <a:lnTo>
                        <a:pt x="3782" y="4790"/>
                      </a:lnTo>
                      <a:lnTo>
                        <a:pt x="3773" y="4792"/>
                      </a:lnTo>
                      <a:lnTo>
                        <a:pt x="3763" y="4792"/>
                      </a:lnTo>
                      <a:lnTo>
                        <a:pt x="3746" y="4799"/>
                      </a:lnTo>
                      <a:lnTo>
                        <a:pt x="3727" y="4815"/>
                      </a:lnTo>
                      <a:lnTo>
                        <a:pt x="3721" y="4817"/>
                      </a:lnTo>
                      <a:lnTo>
                        <a:pt x="3715" y="4825"/>
                      </a:lnTo>
                      <a:lnTo>
                        <a:pt x="3710" y="4832"/>
                      </a:lnTo>
                      <a:lnTo>
                        <a:pt x="3705" y="4843"/>
                      </a:lnTo>
                      <a:lnTo>
                        <a:pt x="3702" y="4851"/>
                      </a:lnTo>
                      <a:lnTo>
                        <a:pt x="3679" y="4870"/>
                      </a:lnTo>
                      <a:lnTo>
                        <a:pt x="3677" y="4878"/>
                      </a:lnTo>
                      <a:lnTo>
                        <a:pt x="3677" y="4884"/>
                      </a:lnTo>
                      <a:lnTo>
                        <a:pt x="3674" y="4892"/>
                      </a:lnTo>
                      <a:lnTo>
                        <a:pt x="3669" y="4904"/>
                      </a:lnTo>
                      <a:lnTo>
                        <a:pt x="3658" y="4920"/>
                      </a:lnTo>
                      <a:lnTo>
                        <a:pt x="3655" y="4922"/>
                      </a:lnTo>
                      <a:lnTo>
                        <a:pt x="3655" y="4928"/>
                      </a:lnTo>
                      <a:lnTo>
                        <a:pt x="3655" y="4930"/>
                      </a:lnTo>
                      <a:lnTo>
                        <a:pt x="3641" y="4942"/>
                      </a:lnTo>
                      <a:lnTo>
                        <a:pt x="3630" y="4955"/>
                      </a:lnTo>
                      <a:lnTo>
                        <a:pt x="3618" y="4955"/>
                      </a:lnTo>
                      <a:lnTo>
                        <a:pt x="3616" y="4973"/>
                      </a:lnTo>
                      <a:lnTo>
                        <a:pt x="3608" y="4975"/>
                      </a:lnTo>
                      <a:lnTo>
                        <a:pt x="3602" y="4981"/>
                      </a:lnTo>
                      <a:lnTo>
                        <a:pt x="3597" y="4986"/>
                      </a:lnTo>
                      <a:lnTo>
                        <a:pt x="3597" y="4989"/>
                      </a:lnTo>
                      <a:lnTo>
                        <a:pt x="3594" y="4999"/>
                      </a:lnTo>
                      <a:lnTo>
                        <a:pt x="3594" y="5002"/>
                      </a:lnTo>
                      <a:lnTo>
                        <a:pt x="3594" y="5014"/>
                      </a:lnTo>
                      <a:lnTo>
                        <a:pt x="3594" y="5016"/>
                      </a:lnTo>
                      <a:lnTo>
                        <a:pt x="3592" y="5027"/>
                      </a:lnTo>
                      <a:lnTo>
                        <a:pt x="3580" y="5038"/>
                      </a:lnTo>
                      <a:lnTo>
                        <a:pt x="3575" y="5058"/>
                      </a:lnTo>
                      <a:lnTo>
                        <a:pt x="3575" y="5063"/>
                      </a:lnTo>
                      <a:lnTo>
                        <a:pt x="3575" y="5068"/>
                      </a:lnTo>
                      <a:lnTo>
                        <a:pt x="3572" y="5068"/>
                      </a:lnTo>
                      <a:lnTo>
                        <a:pt x="3572" y="5071"/>
                      </a:lnTo>
                      <a:lnTo>
                        <a:pt x="3577" y="5080"/>
                      </a:lnTo>
                      <a:lnTo>
                        <a:pt x="3580" y="5088"/>
                      </a:lnTo>
                      <a:lnTo>
                        <a:pt x="3575" y="5093"/>
                      </a:lnTo>
                      <a:lnTo>
                        <a:pt x="3572" y="5099"/>
                      </a:lnTo>
                      <a:lnTo>
                        <a:pt x="3572" y="5107"/>
                      </a:lnTo>
                      <a:lnTo>
                        <a:pt x="3569" y="5113"/>
                      </a:lnTo>
                      <a:lnTo>
                        <a:pt x="3567" y="5119"/>
                      </a:lnTo>
                      <a:lnTo>
                        <a:pt x="3561" y="5121"/>
                      </a:lnTo>
                      <a:lnTo>
                        <a:pt x="3561" y="5132"/>
                      </a:lnTo>
                      <a:lnTo>
                        <a:pt x="3556" y="5140"/>
                      </a:lnTo>
                      <a:lnTo>
                        <a:pt x="3556" y="5149"/>
                      </a:lnTo>
                      <a:lnTo>
                        <a:pt x="3553" y="5152"/>
                      </a:lnTo>
                      <a:lnTo>
                        <a:pt x="3553" y="5157"/>
                      </a:lnTo>
                      <a:lnTo>
                        <a:pt x="3536" y="5176"/>
                      </a:lnTo>
                      <a:lnTo>
                        <a:pt x="3533" y="5190"/>
                      </a:lnTo>
                      <a:lnTo>
                        <a:pt x="3531" y="5198"/>
                      </a:lnTo>
                      <a:lnTo>
                        <a:pt x="3528" y="5206"/>
                      </a:lnTo>
                      <a:lnTo>
                        <a:pt x="3525" y="5209"/>
                      </a:lnTo>
                      <a:lnTo>
                        <a:pt x="3273" y="5193"/>
                      </a:lnTo>
                      <a:lnTo>
                        <a:pt x="3186" y="5188"/>
                      </a:lnTo>
                      <a:lnTo>
                        <a:pt x="3086" y="5182"/>
                      </a:lnTo>
                      <a:lnTo>
                        <a:pt x="3023" y="5176"/>
                      </a:lnTo>
                      <a:lnTo>
                        <a:pt x="2700" y="5154"/>
                      </a:lnTo>
                      <a:lnTo>
                        <a:pt x="2550" y="5143"/>
                      </a:lnTo>
                      <a:lnTo>
                        <a:pt x="2529" y="5143"/>
                      </a:lnTo>
                      <a:lnTo>
                        <a:pt x="2343" y="5129"/>
                      </a:lnTo>
                      <a:lnTo>
                        <a:pt x="2159" y="5116"/>
                      </a:lnTo>
                      <a:lnTo>
                        <a:pt x="1946" y="5099"/>
                      </a:lnTo>
                      <a:lnTo>
                        <a:pt x="1742" y="5083"/>
                      </a:lnTo>
                      <a:lnTo>
                        <a:pt x="1692" y="5080"/>
                      </a:lnTo>
                      <a:lnTo>
                        <a:pt x="1584" y="5068"/>
                      </a:lnTo>
                      <a:lnTo>
                        <a:pt x="1262" y="5044"/>
                      </a:lnTo>
                      <a:lnTo>
                        <a:pt x="1113" y="5030"/>
                      </a:lnTo>
                      <a:lnTo>
                        <a:pt x="1066" y="5027"/>
                      </a:lnTo>
                      <a:lnTo>
                        <a:pt x="906" y="5014"/>
                      </a:lnTo>
                      <a:lnTo>
                        <a:pt x="894" y="5016"/>
                      </a:lnTo>
                      <a:lnTo>
                        <a:pt x="889" y="5016"/>
                      </a:lnTo>
                      <a:lnTo>
                        <a:pt x="886" y="5016"/>
                      </a:lnTo>
                      <a:lnTo>
                        <a:pt x="886" y="5019"/>
                      </a:lnTo>
                      <a:lnTo>
                        <a:pt x="878" y="5024"/>
                      </a:lnTo>
                      <a:lnTo>
                        <a:pt x="869" y="5027"/>
                      </a:lnTo>
                      <a:lnTo>
                        <a:pt x="867" y="5027"/>
                      </a:lnTo>
                      <a:lnTo>
                        <a:pt x="864" y="5022"/>
                      </a:lnTo>
                      <a:lnTo>
                        <a:pt x="864" y="5016"/>
                      </a:lnTo>
                      <a:lnTo>
                        <a:pt x="861" y="5011"/>
                      </a:lnTo>
                      <a:lnTo>
                        <a:pt x="861" y="4997"/>
                      </a:lnTo>
                      <a:lnTo>
                        <a:pt x="861" y="4991"/>
                      </a:lnTo>
                      <a:lnTo>
                        <a:pt x="859" y="4991"/>
                      </a:lnTo>
                      <a:lnTo>
                        <a:pt x="851" y="4969"/>
                      </a:lnTo>
                      <a:lnTo>
                        <a:pt x="845" y="4961"/>
                      </a:lnTo>
                      <a:lnTo>
                        <a:pt x="834" y="4958"/>
                      </a:lnTo>
                      <a:lnTo>
                        <a:pt x="828" y="4955"/>
                      </a:lnTo>
                      <a:lnTo>
                        <a:pt x="823" y="4958"/>
                      </a:lnTo>
                      <a:lnTo>
                        <a:pt x="820" y="4958"/>
                      </a:lnTo>
                      <a:lnTo>
                        <a:pt x="795" y="4955"/>
                      </a:lnTo>
                      <a:lnTo>
                        <a:pt x="790" y="4953"/>
                      </a:lnTo>
                      <a:lnTo>
                        <a:pt x="774" y="4955"/>
                      </a:lnTo>
                      <a:lnTo>
                        <a:pt x="768" y="4953"/>
                      </a:lnTo>
                      <a:lnTo>
                        <a:pt x="762" y="4950"/>
                      </a:lnTo>
                      <a:lnTo>
                        <a:pt x="756" y="4947"/>
                      </a:lnTo>
                      <a:lnTo>
                        <a:pt x="754" y="4942"/>
                      </a:lnTo>
                      <a:lnTo>
                        <a:pt x="748" y="4937"/>
                      </a:lnTo>
                      <a:lnTo>
                        <a:pt x="746" y="4933"/>
                      </a:lnTo>
                      <a:lnTo>
                        <a:pt x="746" y="4930"/>
                      </a:lnTo>
                      <a:lnTo>
                        <a:pt x="748" y="4925"/>
                      </a:lnTo>
                      <a:lnTo>
                        <a:pt x="746" y="4917"/>
                      </a:lnTo>
                      <a:lnTo>
                        <a:pt x="754" y="4906"/>
                      </a:lnTo>
                      <a:lnTo>
                        <a:pt x="754" y="4900"/>
                      </a:lnTo>
                      <a:lnTo>
                        <a:pt x="751" y="4894"/>
                      </a:lnTo>
                      <a:lnTo>
                        <a:pt x="746" y="4892"/>
                      </a:lnTo>
                      <a:lnTo>
                        <a:pt x="746" y="4884"/>
                      </a:lnTo>
                      <a:lnTo>
                        <a:pt x="740" y="4881"/>
                      </a:lnTo>
                      <a:lnTo>
                        <a:pt x="735" y="4873"/>
                      </a:lnTo>
                      <a:lnTo>
                        <a:pt x="731" y="4864"/>
                      </a:lnTo>
                      <a:lnTo>
                        <a:pt x="715" y="4856"/>
                      </a:lnTo>
                      <a:lnTo>
                        <a:pt x="693" y="4828"/>
                      </a:lnTo>
                      <a:lnTo>
                        <a:pt x="690" y="4825"/>
                      </a:lnTo>
                      <a:lnTo>
                        <a:pt x="685" y="4823"/>
                      </a:lnTo>
                      <a:lnTo>
                        <a:pt x="677" y="4820"/>
                      </a:lnTo>
                      <a:lnTo>
                        <a:pt x="671" y="4817"/>
                      </a:lnTo>
                      <a:lnTo>
                        <a:pt x="669" y="4820"/>
                      </a:lnTo>
                      <a:lnTo>
                        <a:pt x="654" y="4823"/>
                      </a:lnTo>
                      <a:lnTo>
                        <a:pt x="649" y="4823"/>
                      </a:lnTo>
                      <a:lnTo>
                        <a:pt x="646" y="4820"/>
                      </a:lnTo>
                      <a:lnTo>
                        <a:pt x="644" y="4812"/>
                      </a:lnTo>
                      <a:lnTo>
                        <a:pt x="629" y="4809"/>
                      </a:lnTo>
                      <a:lnTo>
                        <a:pt x="616" y="4809"/>
                      </a:lnTo>
                      <a:lnTo>
                        <a:pt x="608" y="4801"/>
                      </a:lnTo>
                      <a:lnTo>
                        <a:pt x="602" y="4799"/>
                      </a:lnTo>
                      <a:lnTo>
                        <a:pt x="600" y="4795"/>
                      </a:lnTo>
                      <a:lnTo>
                        <a:pt x="602" y="4784"/>
                      </a:lnTo>
                      <a:lnTo>
                        <a:pt x="602" y="4774"/>
                      </a:lnTo>
                      <a:lnTo>
                        <a:pt x="597" y="4768"/>
                      </a:lnTo>
                      <a:lnTo>
                        <a:pt x="588" y="4768"/>
                      </a:lnTo>
                      <a:lnTo>
                        <a:pt x="583" y="4768"/>
                      </a:lnTo>
                      <a:lnTo>
                        <a:pt x="575" y="4763"/>
                      </a:lnTo>
                      <a:lnTo>
                        <a:pt x="555" y="4751"/>
                      </a:lnTo>
                      <a:lnTo>
                        <a:pt x="541" y="4756"/>
                      </a:lnTo>
                      <a:lnTo>
                        <a:pt x="531" y="4756"/>
                      </a:lnTo>
                      <a:lnTo>
                        <a:pt x="528" y="4748"/>
                      </a:lnTo>
                      <a:lnTo>
                        <a:pt x="531" y="4735"/>
                      </a:lnTo>
                      <a:lnTo>
                        <a:pt x="524" y="4718"/>
                      </a:lnTo>
                      <a:lnTo>
                        <a:pt x="519" y="4710"/>
                      </a:lnTo>
                      <a:lnTo>
                        <a:pt x="516" y="4707"/>
                      </a:lnTo>
                      <a:lnTo>
                        <a:pt x="519" y="4687"/>
                      </a:lnTo>
                      <a:lnTo>
                        <a:pt x="514" y="4685"/>
                      </a:lnTo>
                      <a:lnTo>
                        <a:pt x="508" y="4682"/>
                      </a:lnTo>
                      <a:lnTo>
                        <a:pt x="508" y="4679"/>
                      </a:lnTo>
                      <a:lnTo>
                        <a:pt x="506" y="4671"/>
                      </a:lnTo>
                      <a:lnTo>
                        <a:pt x="511" y="4666"/>
                      </a:lnTo>
                      <a:lnTo>
                        <a:pt x="514" y="4658"/>
                      </a:lnTo>
                      <a:lnTo>
                        <a:pt x="511" y="4654"/>
                      </a:lnTo>
                      <a:lnTo>
                        <a:pt x="503" y="4649"/>
                      </a:lnTo>
                      <a:lnTo>
                        <a:pt x="503" y="4646"/>
                      </a:lnTo>
                      <a:lnTo>
                        <a:pt x="506" y="4641"/>
                      </a:lnTo>
                      <a:lnTo>
                        <a:pt x="506" y="4636"/>
                      </a:lnTo>
                      <a:lnTo>
                        <a:pt x="495" y="4622"/>
                      </a:lnTo>
                      <a:lnTo>
                        <a:pt x="491" y="4613"/>
                      </a:lnTo>
                      <a:lnTo>
                        <a:pt x="491" y="4610"/>
                      </a:lnTo>
                      <a:lnTo>
                        <a:pt x="500" y="4597"/>
                      </a:lnTo>
                      <a:lnTo>
                        <a:pt x="500" y="4594"/>
                      </a:lnTo>
                      <a:lnTo>
                        <a:pt x="500" y="4592"/>
                      </a:lnTo>
                      <a:lnTo>
                        <a:pt x="495" y="4580"/>
                      </a:lnTo>
                      <a:lnTo>
                        <a:pt x="495" y="4575"/>
                      </a:lnTo>
                      <a:lnTo>
                        <a:pt x="495" y="4572"/>
                      </a:lnTo>
                      <a:lnTo>
                        <a:pt x="500" y="4564"/>
                      </a:lnTo>
                      <a:lnTo>
                        <a:pt x="503" y="4549"/>
                      </a:lnTo>
                      <a:lnTo>
                        <a:pt x="508" y="4536"/>
                      </a:lnTo>
                      <a:lnTo>
                        <a:pt x="508" y="4533"/>
                      </a:lnTo>
                      <a:lnTo>
                        <a:pt x="508" y="4528"/>
                      </a:lnTo>
                      <a:lnTo>
                        <a:pt x="500" y="4514"/>
                      </a:lnTo>
                      <a:lnTo>
                        <a:pt x="495" y="4511"/>
                      </a:lnTo>
                      <a:lnTo>
                        <a:pt x="483" y="4508"/>
                      </a:lnTo>
                      <a:lnTo>
                        <a:pt x="480" y="4506"/>
                      </a:lnTo>
                      <a:lnTo>
                        <a:pt x="478" y="4500"/>
                      </a:lnTo>
                      <a:lnTo>
                        <a:pt x="475" y="4478"/>
                      </a:lnTo>
                      <a:lnTo>
                        <a:pt x="455" y="4462"/>
                      </a:lnTo>
                      <a:lnTo>
                        <a:pt x="445" y="4439"/>
                      </a:lnTo>
                      <a:lnTo>
                        <a:pt x="434" y="4429"/>
                      </a:lnTo>
                      <a:lnTo>
                        <a:pt x="434" y="4420"/>
                      </a:lnTo>
                      <a:lnTo>
                        <a:pt x="431" y="4390"/>
                      </a:lnTo>
                      <a:lnTo>
                        <a:pt x="429" y="4382"/>
                      </a:lnTo>
                      <a:lnTo>
                        <a:pt x="414" y="4357"/>
                      </a:lnTo>
                      <a:lnTo>
                        <a:pt x="412" y="4340"/>
                      </a:lnTo>
                      <a:lnTo>
                        <a:pt x="406" y="4304"/>
                      </a:lnTo>
                      <a:lnTo>
                        <a:pt x="403" y="4299"/>
                      </a:lnTo>
                      <a:lnTo>
                        <a:pt x="398" y="4296"/>
                      </a:lnTo>
                      <a:lnTo>
                        <a:pt x="393" y="4296"/>
                      </a:lnTo>
                      <a:lnTo>
                        <a:pt x="390" y="4293"/>
                      </a:lnTo>
                      <a:lnTo>
                        <a:pt x="386" y="4274"/>
                      </a:lnTo>
                      <a:lnTo>
                        <a:pt x="386" y="4271"/>
                      </a:lnTo>
                      <a:lnTo>
                        <a:pt x="376" y="4244"/>
                      </a:lnTo>
                      <a:lnTo>
                        <a:pt x="365" y="4224"/>
                      </a:lnTo>
                      <a:lnTo>
                        <a:pt x="351" y="4211"/>
                      </a:lnTo>
                      <a:lnTo>
                        <a:pt x="340" y="4188"/>
                      </a:lnTo>
                      <a:lnTo>
                        <a:pt x="337" y="4183"/>
                      </a:lnTo>
                      <a:lnTo>
                        <a:pt x="315" y="4170"/>
                      </a:lnTo>
                      <a:lnTo>
                        <a:pt x="309" y="4166"/>
                      </a:lnTo>
                      <a:lnTo>
                        <a:pt x="309" y="4170"/>
                      </a:lnTo>
                      <a:lnTo>
                        <a:pt x="304" y="4163"/>
                      </a:lnTo>
                      <a:lnTo>
                        <a:pt x="296" y="4153"/>
                      </a:lnTo>
                      <a:lnTo>
                        <a:pt x="296" y="4147"/>
                      </a:lnTo>
                      <a:lnTo>
                        <a:pt x="293" y="4134"/>
                      </a:lnTo>
                      <a:lnTo>
                        <a:pt x="296" y="4117"/>
                      </a:lnTo>
                      <a:lnTo>
                        <a:pt x="291" y="4094"/>
                      </a:lnTo>
                      <a:lnTo>
                        <a:pt x="282" y="4086"/>
                      </a:lnTo>
                      <a:lnTo>
                        <a:pt x="279" y="4076"/>
                      </a:lnTo>
                      <a:lnTo>
                        <a:pt x="273" y="4073"/>
                      </a:lnTo>
                      <a:lnTo>
                        <a:pt x="271" y="4068"/>
                      </a:lnTo>
                      <a:lnTo>
                        <a:pt x="265" y="4056"/>
                      </a:lnTo>
                      <a:lnTo>
                        <a:pt x="263" y="4056"/>
                      </a:lnTo>
                      <a:lnTo>
                        <a:pt x="255" y="4053"/>
                      </a:lnTo>
                      <a:lnTo>
                        <a:pt x="246" y="4045"/>
                      </a:lnTo>
                      <a:lnTo>
                        <a:pt x="232" y="4020"/>
                      </a:lnTo>
                      <a:lnTo>
                        <a:pt x="227" y="4015"/>
                      </a:lnTo>
                      <a:lnTo>
                        <a:pt x="222" y="4009"/>
                      </a:lnTo>
                      <a:lnTo>
                        <a:pt x="210" y="4007"/>
                      </a:lnTo>
                      <a:lnTo>
                        <a:pt x="207" y="4007"/>
                      </a:lnTo>
                      <a:lnTo>
                        <a:pt x="204" y="3999"/>
                      </a:lnTo>
                      <a:lnTo>
                        <a:pt x="199" y="3996"/>
                      </a:lnTo>
                      <a:lnTo>
                        <a:pt x="188" y="3981"/>
                      </a:lnTo>
                      <a:lnTo>
                        <a:pt x="177" y="3951"/>
                      </a:lnTo>
                      <a:lnTo>
                        <a:pt x="174" y="3937"/>
                      </a:lnTo>
                      <a:lnTo>
                        <a:pt x="169" y="3929"/>
                      </a:lnTo>
                      <a:lnTo>
                        <a:pt x="169" y="3894"/>
                      </a:lnTo>
                      <a:lnTo>
                        <a:pt x="174" y="3882"/>
                      </a:lnTo>
                      <a:lnTo>
                        <a:pt x="182" y="3874"/>
                      </a:lnTo>
                      <a:lnTo>
                        <a:pt x="191" y="3860"/>
                      </a:lnTo>
                      <a:lnTo>
                        <a:pt x="213" y="3841"/>
                      </a:lnTo>
                      <a:lnTo>
                        <a:pt x="222" y="3838"/>
                      </a:lnTo>
                      <a:lnTo>
                        <a:pt x="227" y="3830"/>
                      </a:lnTo>
                      <a:lnTo>
                        <a:pt x="230" y="3825"/>
                      </a:lnTo>
                      <a:lnTo>
                        <a:pt x="232" y="3810"/>
                      </a:lnTo>
                      <a:lnTo>
                        <a:pt x="235" y="3808"/>
                      </a:lnTo>
                      <a:lnTo>
                        <a:pt x="246" y="3808"/>
                      </a:lnTo>
                      <a:lnTo>
                        <a:pt x="248" y="3808"/>
                      </a:lnTo>
                      <a:lnTo>
                        <a:pt x="248" y="3805"/>
                      </a:lnTo>
                      <a:lnTo>
                        <a:pt x="255" y="3802"/>
                      </a:lnTo>
                      <a:lnTo>
                        <a:pt x="257" y="3797"/>
                      </a:lnTo>
                      <a:lnTo>
                        <a:pt x="420" y="3436"/>
                      </a:lnTo>
                      <a:lnTo>
                        <a:pt x="483" y="3291"/>
                      </a:lnTo>
                      <a:lnTo>
                        <a:pt x="519" y="3214"/>
                      </a:lnTo>
                      <a:lnTo>
                        <a:pt x="547" y="3148"/>
                      </a:lnTo>
                      <a:lnTo>
                        <a:pt x="669" y="2884"/>
                      </a:lnTo>
                      <a:lnTo>
                        <a:pt x="762" y="2680"/>
                      </a:lnTo>
                      <a:lnTo>
                        <a:pt x="790" y="2619"/>
                      </a:lnTo>
                      <a:lnTo>
                        <a:pt x="807" y="2580"/>
                      </a:lnTo>
                      <a:lnTo>
                        <a:pt x="817" y="2552"/>
                      </a:lnTo>
                      <a:lnTo>
                        <a:pt x="848" y="2483"/>
                      </a:lnTo>
                      <a:lnTo>
                        <a:pt x="864" y="2445"/>
                      </a:lnTo>
                      <a:lnTo>
                        <a:pt x="867" y="2442"/>
                      </a:lnTo>
                      <a:lnTo>
                        <a:pt x="914" y="2337"/>
                      </a:lnTo>
                      <a:lnTo>
                        <a:pt x="945" y="2271"/>
                      </a:lnTo>
                      <a:lnTo>
                        <a:pt x="958" y="2235"/>
                      </a:lnTo>
                      <a:lnTo>
                        <a:pt x="981" y="2191"/>
                      </a:lnTo>
                      <a:lnTo>
                        <a:pt x="1002" y="2141"/>
                      </a:lnTo>
                      <a:lnTo>
                        <a:pt x="1014" y="2117"/>
                      </a:lnTo>
                      <a:lnTo>
                        <a:pt x="1011" y="2114"/>
                      </a:lnTo>
                      <a:lnTo>
                        <a:pt x="1005" y="2114"/>
                      </a:lnTo>
                      <a:lnTo>
                        <a:pt x="999" y="2111"/>
                      </a:lnTo>
                      <a:lnTo>
                        <a:pt x="991" y="2108"/>
                      </a:lnTo>
                      <a:lnTo>
                        <a:pt x="989" y="2105"/>
                      </a:lnTo>
                      <a:lnTo>
                        <a:pt x="989" y="2102"/>
                      </a:lnTo>
                      <a:lnTo>
                        <a:pt x="1005" y="2081"/>
                      </a:lnTo>
                      <a:lnTo>
                        <a:pt x="1007" y="2076"/>
                      </a:lnTo>
                      <a:lnTo>
                        <a:pt x="1007" y="2067"/>
                      </a:lnTo>
                      <a:lnTo>
                        <a:pt x="1011" y="2061"/>
                      </a:lnTo>
                      <a:lnTo>
                        <a:pt x="1019" y="2042"/>
                      </a:lnTo>
                      <a:lnTo>
                        <a:pt x="1022" y="2040"/>
                      </a:lnTo>
                      <a:lnTo>
                        <a:pt x="1030" y="2033"/>
                      </a:lnTo>
                      <a:lnTo>
                        <a:pt x="1044" y="2031"/>
                      </a:lnTo>
                      <a:lnTo>
                        <a:pt x="1071" y="2017"/>
                      </a:lnTo>
                      <a:lnTo>
                        <a:pt x="1088" y="2007"/>
                      </a:lnTo>
                      <a:lnTo>
                        <a:pt x="1099" y="1998"/>
                      </a:lnTo>
                      <a:lnTo>
                        <a:pt x="1109" y="1987"/>
                      </a:lnTo>
                      <a:lnTo>
                        <a:pt x="1121" y="1967"/>
                      </a:lnTo>
                      <a:lnTo>
                        <a:pt x="1135" y="1946"/>
                      </a:lnTo>
                      <a:lnTo>
                        <a:pt x="1137" y="1940"/>
                      </a:lnTo>
                      <a:lnTo>
                        <a:pt x="1137" y="1938"/>
                      </a:lnTo>
                      <a:lnTo>
                        <a:pt x="1119" y="1943"/>
                      </a:lnTo>
                      <a:lnTo>
                        <a:pt x="1113" y="1943"/>
                      </a:lnTo>
                      <a:lnTo>
                        <a:pt x="1107" y="1943"/>
                      </a:lnTo>
                      <a:lnTo>
                        <a:pt x="1101" y="1943"/>
                      </a:lnTo>
                      <a:lnTo>
                        <a:pt x="1099" y="1946"/>
                      </a:lnTo>
                      <a:lnTo>
                        <a:pt x="1096" y="1948"/>
                      </a:lnTo>
                      <a:lnTo>
                        <a:pt x="1093" y="1951"/>
                      </a:lnTo>
                      <a:lnTo>
                        <a:pt x="1085" y="1948"/>
                      </a:lnTo>
                      <a:lnTo>
                        <a:pt x="1074" y="1962"/>
                      </a:lnTo>
                      <a:lnTo>
                        <a:pt x="1063" y="1964"/>
                      </a:lnTo>
                      <a:lnTo>
                        <a:pt x="1058" y="1967"/>
                      </a:lnTo>
                      <a:lnTo>
                        <a:pt x="1055" y="1971"/>
                      </a:lnTo>
                      <a:lnTo>
                        <a:pt x="1055" y="1976"/>
                      </a:lnTo>
                      <a:lnTo>
                        <a:pt x="1052" y="1976"/>
                      </a:lnTo>
                      <a:lnTo>
                        <a:pt x="1050" y="1984"/>
                      </a:lnTo>
                      <a:lnTo>
                        <a:pt x="1044" y="1987"/>
                      </a:lnTo>
                      <a:lnTo>
                        <a:pt x="1035" y="1987"/>
                      </a:lnTo>
                      <a:lnTo>
                        <a:pt x="1027" y="1984"/>
                      </a:lnTo>
                      <a:lnTo>
                        <a:pt x="1022" y="1987"/>
                      </a:lnTo>
                      <a:lnTo>
                        <a:pt x="1019" y="1992"/>
                      </a:lnTo>
                      <a:lnTo>
                        <a:pt x="1011" y="1998"/>
                      </a:lnTo>
                      <a:lnTo>
                        <a:pt x="1005" y="1998"/>
                      </a:lnTo>
                      <a:lnTo>
                        <a:pt x="999" y="1992"/>
                      </a:lnTo>
                      <a:lnTo>
                        <a:pt x="997" y="1990"/>
                      </a:lnTo>
                      <a:lnTo>
                        <a:pt x="991" y="1992"/>
                      </a:lnTo>
                      <a:lnTo>
                        <a:pt x="986" y="1995"/>
                      </a:lnTo>
                      <a:lnTo>
                        <a:pt x="983" y="1998"/>
                      </a:lnTo>
                      <a:lnTo>
                        <a:pt x="972" y="1984"/>
                      </a:lnTo>
                      <a:lnTo>
                        <a:pt x="966" y="1984"/>
                      </a:lnTo>
                      <a:lnTo>
                        <a:pt x="963" y="1984"/>
                      </a:lnTo>
                      <a:lnTo>
                        <a:pt x="958" y="1990"/>
                      </a:lnTo>
                      <a:lnTo>
                        <a:pt x="950" y="1992"/>
                      </a:lnTo>
                      <a:lnTo>
                        <a:pt x="947" y="1998"/>
                      </a:lnTo>
                      <a:lnTo>
                        <a:pt x="942" y="2000"/>
                      </a:lnTo>
                      <a:lnTo>
                        <a:pt x="938" y="1998"/>
                      </a:lnTo>
                      <a:lnTo>
                        <a:pt x="933" y="1998"/>
                      </a:lnTo>
                      <a:lnTo>
                        <a:pt x="933" y="2000"/>
                      </a:lnTo>
                      <a:lnTo>
                        <a:pt x="930" y="2012"/>
                      </a:lnTo>
                      <a:lnTo>
                        <a:pt x="928" y="2015"/>
                      </a:lnTo>
                      <a:lnTo>
                        <a:pt x="925" y="2012"/>
                      </a:lnTo>
                      <a:lnTo>
                        <a:pt x="920" y="2012"/>
                      </a:lnTo>
                      <a:lnTo>
                        <a:pt x="911" y="2015"/>
                      </a:lnTo>
                      <a:lnTo>
                        <a:pt x="900" y="2015"/>
                      </a:lnTo>
                      <a:lnTo>
                        <a:pt x="892" y="2009"/>
                      </a:lnTo>
                      <a:lnTo>
                        <a:pt x="889" y="2003"/>
                      </a:lnTo>
                      <a:lnTo>
                        <a:pt x="881" y="2000"/>
                      </a:lnTo>
                      <a:lnTo>
                        <a:pt x="873" y="1998"/>
                      </a:lnTo>
                      <a:lnTo>
                        <a:pt x="867" y="1998"/>
                      </a:lnTo>
                      <a:lnTo>
                        <a:pt x="864" y="1995"/>
                      </a:lnTo>
                      <a:lnTo>
                        <a:pt x="864" y="1984"/>
                      </a:lnTo>
                      <a:lnTo>
                        <a:pt x="873" y="1973"/>
                      </a:lnTo>
                      <a:lnTo>
                        <a:pt x="881" y="1964"/>
                      </a:lnTo>
                      <a:lnTo>
                        <a:pt x="884" y="1956"/>
                      </a:lnTo>
                      <a:lnTo>
                        <a:pt x="884" y="1954"/>
                      </a:lnTo>
                      <a:lnTo>
                        <a:pt x="884" y="1946"/>
                      </a:lnTo>
                      <a:lnTo>
                        <a:pt x="881" y="1938"/>
                      </a:lnTo>
                      <a:lnTo>
                        <a:pt x="878" y="1935"/>
                      </a:lnTo>
                      <a:lnTo>
                        <a:pt x="873" y="1929"/>
                      </a:lnTo>
                      <a:lnTo>
                        <a:pt x="867" y="1929"/>
                      </a:lnTo>
                      <a:lnTo>
                        <a:pt x="856" y="1935"/>
                      </a:lnTo>
                      <a:lnTo>
                        <a:pt x="840" y="1935"/>
                      </a:lnTo>
                      <a:lnTo>
                        <a:pt x="833" y="1935"/>
                      </a:lnTo>
                      <a:lnTo>
                        <a:pt x="828" y="1931"/>
                      </a:lnTo>
                      <a:lnTo>
                        <a:pt x="820" y="1921"/>
                      </a:lnTo>
                      <a:lnTo>
                        <a:pt x="812" y="1915"/>
                      </a:lnTo>
                      <a:lnTo>
                        <a:pt x="809" y="1913"/>
                      </a:lnTo>
                      <a:lnTo>
                        <a:pt x="807" y="1913"/>
                      </a:lnTo>
                      <a:lnTo>
                        <a:pt x="790" y="1910"/>
                      </a:lnTo>
                      <a:lnTo>
                        <a:pt x="787" y="1907"/>
                      </a:lnTo>
                      <a:lnTo>
                        <a:pt x="784" y="1898"/>
                      </a:lnTo>
                      <a:lnTo>
                        <a:pt x="779" y="1893"/>
                      </a:lnTo>
                      <a:lnTo>
                        <a:pt x="776" y="1887"/>
                      </a:lnTo>
                      <a:lnTo>
                        <a:pt x="759" y="1890"/>
                      </a:lnTo>
                      <a:lnTo>
                        <a:pt x="756" y="1887"/>
                      </a:lnTo>
                      <a:lnTo>
                        <a:pt x="748" y="1869"/>
                      </a:lnTo>
                      <a:lnTo>
                        <a:pt x="743" y="1862"/>
                      </a:lnTo>
                      <a:lnTo>
                        <a:pt x="740" y="1854"/>
                      </a:lnTo>
                      <a:lnTo>
                        <a:pt x="746" y="1849"/>
                      </a:lnTo>
                      <a:lnTo>
                        <a:pt x="746" y="1846"/>
                      </a:lnTo>
                      <a:lnTo>
                        <a:pt x="743" y="1844"/>
                      </a:lnTo>
                      <a:lnTo>
                        <a:pt x="738" y="1841"/>
                      </a:lnTo>
                      <a:lnTo>
                        <a:pt x="738" y="1838"/>
                      </a:lnTo>
                      <a:lnTo>
                        <a:pt x="738" y="1836"/>
                      </a:lnTo>
                      <a:lnTo>
                        <a:pt x="731" y="1829"/>
                      </a:lnTo>
                      <a:lnTo>
                        <a:pt x="723" y="1838"/>
                      </a:lnTo>
                      <a:lnTo>
                        <a:pt x="718" y="1826"/>
                      </a:lnTo>
                      <a:lnTo>
                        <a:pt x="710" y="1826"/>
                      </a:lnTo>
                      <a:lnTo>
                        <a:pt x="705" y="1826"/>
                      </a:lnTo>
                      <a:lnTo>
                        <a:pt x="705" y="1824"/>
                      </a:lnTo>
                      <a:lnTo>
                        <a:pt x="702" y="1821"/>
                      </a:lnTo>
                      <a:lnTo>
                        <a:pt x="705" y="1810"/>
                      </a:lnTo>
                      <a:lnTo>
                        <a:pt x="705" y="1808"/>
                      </a:lnTo>
                      <a:lnTo>
                        <a:pt x="698" y="1813"/>
                      </a:lnTo>
                      <a:lnTo>
                        <a:pt x="695" y="1808"/>
                      </a:lnTo>
                      <a:lnTo>
                        <a:pt x="693" y="1810"/>
                      </a:lnTo>
                      <a:lnTo>
                        <a:pt x="690" y="1810"/>
                      </a:lnTo>
                      <a:lnTo>
                        <a:pt x="687" y="1805"/>
                      </a:lnTo>
                      <a:lnTo>
                        <a:pt x="682" y="1808"/>
                      </a:lnTo>
                      <a:lnTo>
                        <a:pt x="679" y="1810"/>
                      </a:lnTo>
                      <a:lnTo>
                        <a:pt x="677" y="1810"/>
                      </a:lnTo>
                      <a:lnTo>
                        <a:pt x="671" y="1808"/>
                      </a:lnTo>
                      <a:lnTo>
                        <a:pt x="669" y="1805"/>
                      </a:lnTo>
                      <a:lnTo>
                        <a:pt x="671" y="1802"/>
                      </a:lnTo>
                      <a:lnTo>
                        <a:pt x="669" y="1800"/>
                      </a:lnTo>
                      <a:lnTo>
                        <a:pt x="666" y="1800"/>
                      </a:lnTo>
                      <a:lnTo>
                        <a:pt x="666" y="1802"/>
                      </a:lnTo>
                      <a:lnTo>
                        <a:pt x="662" y="1808"/>
                      </a:lnTo>
                      <a:lnTo>
                        <a:pt x="660" y="1808"/>
                      </a:lnTo>
                      <a:lnTo>
                        <a:pt x="660" y="1805"/>
                      </a:lnTo>
                      <a:lnTo>
                        <a:pt x="649" y="1805"/>
                      </a:lnTo>
                      <a:lnTo>
                        <a:pt x="646" y="1813"/>
                      </a:lnTo>
                      <a:lnTo>
                        <a:pt x="638" y="1808"/>
                      </a:lnTo>
                      <a:lnTo>
                        <a:pt x="629" y="1805"/>
                      </a:lnTo>
                      <a:lnTo>
                        <a:pt x="633" y="1810"/>
                      </a:lnTo>
                      <a:lnTo>
                        <a:pt x="627" y="1813"/>
                      </a:lnTo>
                      <a:lnTo>
                        <a:pt x="618" y="1805"/>
                      </a:lnTo>
                      <a:lnTo>
                        <a:pt x="610" y="1810"/>
                      </a:lnTo>
                      <a:lnTo>
                        <a:pt x="608" y="1805"/>
                      </a:lnTo>
                      <a:lnTo>
                        <a:pt x="613" y="1802"/>
                      </a:lnTo>
                      <a:lnTo>
                        <a:pt x="613" y="1797"/>
                      </a:lnTo>
                      <a:lnTo>
                        <a:pt x="610" y="1797"/>
                      </a:lnTo>
                      <a:lnTo>
                        <a:pt x="608" y="1793"/>
                      </a:lnTo>
                      <a:lnTo>
                        <a:pt x="608" y="1788"/>
                      </a:lnTo>
                      <a:lnTo>
                        <a:pt x="602" y="1788"/>
                      </a:lnTo>
                      <a:lnTo>
                        <a:pt x="597" y="1797"/>
                      </a:lnTo>
                      <a:lnTo>
                        <a:pt x="591" y="1793"/>
                      </a:lnTo>
                      <a:lnTo>
                        <a:pt x="593" y="1788"/>
                      </a:lnTo>
                      <a:lnTo>
                        <a:pt x="593" y="1785"/>
                      </a:lnTo>
                      <a:lnTo>
                        <a:pt x="577" y="1791"/>
                      </a:lnTo>
                      <a:lnTo>
                        <a:pt x="575" y="1785"/>
                      </a:lnTo>
                      <a:lnTo>
                        <a:pt x="575" y="1780"/>
                      </a:lnTo>
                      <a:lnTo>
                        <a:pt x="569" y="1783"/>
                      </a:lnTo>
                      <a:lnTo>
                        <a:pt x="567" y="1780"/>
                      </a:lnTo>
                      <a:lnTo>
                        <a:pt x="564" y="1774"/>
                      </a:lnTo>
                      <a:lnTo>
                        <a:pt x="555" y="1780"/>
                      </a:lnTo>
                      <a:lnTo>
                        <a:pt x="558" y="1769"/>
                      </a:lnTo>
                      <a:lnTo>
                        <a:pt x="552" y="1769"/>
                      </a:lnTo>
                      <a:lnTo>
                        <a:pt x="549" y="1761"/>
                      </a:lnTo>
                      <a:lnTo>
                        <a:pt x="547" y="1761"/>
                      </a:lnTo>
                      <a:lnTo>
                        <a:pt x="541" y="1761"/>
                      </a:lnTo>
                      <a:lnTo>
                        <a:pt x="533" y="1755"/>
                      </a:lnTo>
                      <a:lnTo>
                        <a:pt x="531" y="1757"/>
                      </a:lnTo>
                      <a:lnTo>
                        <a:pt x="528" y="1752"/>
                      </a:lnTo>
                      <a:lnTo>
                        <a:pt x="531" y="1749"/>
                      </a:lnTo>
                      <a:lnTo>
                        <a:pt x="524" y="1744"/>
                      </a:lnTo>
                      <a:lnTo>
                        <a:pt x="522" y="1747"/>
                      </a:lnTo>
                      <a:lnTo>
                        <a:pt x="522" y="1749"/>
                      </a:lnTo>
                      <a:lnTo>
                        <a:pt x="506" y="1752"/>
                      </a:lnTo>
                      <a:lnTo>
                        <a:pt x="503" y="1749"/>
                      </a:lnTo>
                      <a:lnTo>
                        <a:pt x="495" y="1755"/>
                      </a:lnTo>
                      <a:lnTo>
                        <a:pt x="489" y="1747"/>
                      </a:lnTo>
                      <a:lnTo>
                        <a:pt x="483" y="1747"/>
                      </a:lnTo>
                      <a:lnTo>
                        <a:pt x="486" y="1741"/>
                      </a:lnTo>
                      <a:lnTo>
                        <a:pt x="483" y="1736"/>
                      </a:lnTo>
                      <a:lnTo>
                        <a:pt x="480" y="1731"/>
                      </a:lnTo>
                      <a:lnTo>
                        <a:pt x="480" y="1716"/>
                      </a:lnTo>
                      <a:lnTo>
                        <a:pt x="475" y="1719"/>
                      </a:lnTo>
                      <a:lnTo>
                        <a:pt x="467" y="1716"/>
                      </a:lnTo>
                      <a:lnTo>
                        <a:pt x="467" y="1719"/>
                      </a:lnTo>
                      <a:lnTo>
                        <a:pt x="462" y="1716"/>
                      </a:lnTo>
                      <a:lnTo>
                        <a:pt x="455" y="1719"/>
                      </a:lnTo>
                      <a:lnTo>
                        <a:pt x="453" y="1719"/>
                      </a:lnTo>
                      <a:lnTo>
                        <a:pt x="453" y="1716"/>
                      </a:lnTo>
                      <a:lnTo>
                        <a:pt x="453" y="1711"/>
                      </a:lnTo>
                      <a:lnTo>
                        <a:pt x="450" y="1711"/>
                      </a:lnTo>
                      <a:lnTo>
                        <a:pt x="447" y="1711"/>
                      </a:lnTo>
                      <a:lnTo>
                        <a:pt x="445" y="1705"/>
                      </a:lnTo>
                      <a:lnTo>
                        <a:pt x="442" y="1703"/>
                      </a:lnTo>
                      <a:lnTo>
                        <a:pt x="439" y="1695"/>
                      </a:lnTo>
                      <a:lnTo>
                        <a:pt x="437" y="1695"/>
                      </a:lnTo>
                      <a:lnTo>
                        <a:pt x="437" y="1692"/>
                      </a:lnTo>
                      <a:lnTo>
                        <a:pt x="429" y="1688"/>
                      </a:lnTo>
                      <a:lnTo>
                        <a:pt x="429" y="1686"/>
                      </a:lnTo>
                      <a:lnTo>
                        <a:pt x="419" y="1683"/>
                      </a:lnTo>
                      <a:lnTo>
                        <a:pt x="414" y="1683"/>
                      </a:lnTo>
                      <a:lnTo>
                        <a:pt x="406" y="1688"/>
                      </a:lnTo>
                      <a:lnTo>
                        <a:pt x="403" y="1683"/>
                      </a:lnTo>
                      <a:lnTo>
                        <a:pt x="401" y="1686"/>
                      </a:lnTo>
                      <a:lnTo>
                        <a:pt x="398" y="1683"/>
                      </a:lnTo>
                      <a:lnTo>
                        <a:pt x="401" y="1678"/>
                      </a:lnTo>
                      <a:lnTo>
                        <a:pt x="398" y="1675"/>
                      </a:lnTo>
                      <a:lnTo>
                        <a:pt x="390" y="1672"/>
                      </a:lnTo>
                      <a:lnTo>
                        <a:pt x="384" y="1675"/>
                      </a:lnTo>
                      <a:lnTo>
                        <a:pt x="381" y="1675"/>
                      </a:lnTo>
                      <a:lnTo>
                        <a:pt x="381" y="1667"/>
                      </a:lnTo>
                      <a:lnTo>
                        <a:pt x="373" y="1664"/>
                      </a:lnTo>
                      <a:lnTo>
                        <a:pt x="373" y="1659"/>
                      </a:lnTo>
                      <a:lnTo>
                        <a:pt x="376" y="1656"/>
                      </a:lnTo>
                      <a:lnTo>
                        <a:pt x="370" y="1656"/>
                      </a:lnTo>
                      <a:lnTo>
                        <a:pt x="365" y="1650"/>
                      </a:lnTo>
                      <a:lnTo>
                        <a:pt x="365" y="1645"/>
                      </a:lnTo>
                      <a:lnTo>
                        <a:pt x="365" y="1639"/>
                      </a:lnTo>
                      <a:lnTo>
                        <a:pt x="368" y="1637"/>
                      </a:lnTo>
                      <a:lnTo>
                        <a:pt x="368" y="1628"/>
                      </a:lnTo>
                      <a:lnTo>
                        <a:pt x="376" y="1603"/>
                      </a:lnTo>
                      <a:lnTo>
                        <a:pt x="378" y="1601"/>
                      </a:lnTo>
                      <a:lnTo>
                        <a:pt x="378" y="1593"/>
                      </a:lnTo>
                      <a:lnTo>
                        <a:pt x="373" y="1587"/>
                      </a:lnTo>
                      <a:lnTo>
                        <a:pt x="376" y="1578"/>
                      </a:lnTo>
                      <a:lnTo>
                        <a:pt x="376" y="1573"/>
                      </a:lnTo>
                      <a:lnTo>
                        <a:pt x="373" y="1570"/>
                      </a:lnTo>
                      <a:lnTo>
                        <a:pt x="362" y="1568"/>
                      </a:lnTo>
                      <a:lnTo>
                        <a:pt x="360" y="1559"/>
                      </a:lnTo>
                      <a:lnTo>
                        <a:pt x="360" y="1557"/>
                      </a:lnTo>
                      <a:lnTo>
                        <a:pt x="357" y="1551"/>
                      </a:lnTo>
                      <a:lnTo>
                        <a:pt x="350" y="1548"/>
                      </a:lnTo>
                      <a:lnTo>
                        <a:pt x="348" y="1548"/>
                      </a:lnTo>
                      <a:lnTo>
                        <a:pt x="332" y="1559"/>
                      </a:lnTo>
                      <a:lnTo>
                        <a:pt x="329" y="1565"/>
                      </a:lnTo>
                      <a:lnTo>
                        <a:pt x="332" y="1568"/>
                      </a:lnTo>
                      <a:lnTo>
                        <a:pt x="326" y="1573"/>
                      </a:lnTo>
                      <a:lnTo>
                        <a:pt x="315" y="1576"/>
                      </a:lnTo>
                      <a:lnTo>
                        <a:pt x="315" y="1584"/>
                      </a:lnTo>
                      <a:lnTo>
                        <a:pt x="312" y="1587"/>
                      </a:lnTo>
                      <a:lnTo>
                        <a:pt x="301" y="1601"/>
                      </a:lnTo>
                      <a:lnTo>
                        <a:pt x="299" y="1603"/>
                      </a:lnTo>
                      <a:lnTo>
                        <a:pt x="291" y="1593"/>
                      </a:lnTo>
                      <a:lnTo>
                        <a:pt x="284" y="1590"/>
                      </a:lnTo>
                      <a:lnTo>
                        <a:pt x="276" y="1576"/>
                      </a:lnTo>
                      <a:lnTo>
                        <a:pt x="265" y="1573"/>
                      </a:lnTo>
                      <a:lnTo>
                        <a:pt x="260" y="1562"/>
                      </a:lnTo>
                      <a:lnTo>
                        <a:pt x="255" y="1562"/>
                      </a:lnTo>
                      <a:lnTo>
                        <a:pt x="255" y="1565"/>
                      </a:lnTo>
                      <a:lnTo>
                        <a:pt x="232" y="1568"/>
                      </a:lnTo>
                      <a:lnTo>
                        <a:pt x="235" y="1562"/>
                      </a:lnTo>
                      <a:lnTo>
                        <a:pt x="227" y="1559"/>
                      </a:lnTo>
                      <a:lnTo>
                        <a:pt x="224" y="1551"/>
                      </a:lnTo>
                      <a:lnTo>
                        <a:pt x="222" y="1554"/>
                      </a:lnTo>
                      <a:lnTo>
                        <a:pt x="219" y="1551"/>
                      </a:lnTo>
                      <a:lnTo>
                        <a:pt x="219" y="1548"/>
                      </a:lnTo>
                      <a:lnTo>
                        <a:pt x="215" y="1545"/>
                      </a:lnTo>
                      <a:lnTo>
                        <a:pt x="215" y="1534"/>
                      </a:lnTo>
                      <a:lnTo>
                        <a:pt x="207" y="1526"/>
                      </a:lnTo>
                      <a:lnTo>
                        <a:pt x="204" y="1524"/>
                      </a:lnTo>
                      <a:lnTo>
                        <a:pt x="202" y="1524"/>
                      </a:lnTo>
                      <a:lnTo>
                        <a:pt x="199" y="1524"/>
                      </a:lnTo>
                      <a:lnTo>
                        <a:pt x="196" y="1524"/>
                      </a:lnTo>
                      <a:lnTo>
                        <a:pt x="191" y="1518"/>
                      </a:lnTo>
                      <a:lnTo>
                        <a:pt x="194" y="1509"/>
                      </a:lnTo>
                      <a:lnTo>
                        <a:pt x="191" y="1507"/>
                      </a:lnTo>
                      <a:lnTo>
                        <a:pt x="194" y="1501"/>
                      </a:lnTo>
                      <a:lnTo>
                        <a:pt x="196" y="1499"/>
                      </a:lnTo>
                      <a:lnTo>
                        <a:pt x="196" y="1496"/>
                      </a:lnTo>
                      <a:lnTo>
                        <a:pt x="196" y="1493"/>
                      </a:lnTo>
                      <a:lnTo>
                        <a:pt x="191" y="1491"/>
                      </a:lnTo>
                      <a:lnTo>
                        <a:pt x="191" y="1485"/>
                      </a:lnTo>
                      <a:lnTo>
                        <a:pt x="179" y="1476"/>
                      </a:lnTo>
                      <a:lnTo>
                        <a:pt x="182" y="1468"/>
                      </a:lnTo>
                      <a:lnTo>
                        <a:pt x="179" y="1463"/>
                      </a:lnTo>
                      <a:lnTo>
                        <a:pt x="188" y="1460"/>
                      </a:lnTo>
                      <a:lnTo>
                        <a:pt x="188" y="1457"/>
                      </a:lnTo>
                      <a:lnTo>
                        <a:pt x="177" y="1449"/>
                      </a:lnTo>
                      <a:lnTo>
                        <a:pt x="174" y="1449"/>
                      </a:lnTo>
                      <a:lnTo>
                        <a:pt x="174" y="1452"/>
                      </a:lnTo>
                      <a:lnTo>
                        <a:pt x="171" y="1452"/>
                      </a:lnTo>
                      <a:lnTo>
                        <a:pt x="169" y="1447"/>
                      </a:lnTo>
                      <a:lnTo>
                        <a:pt x="166" y="1447"/>
                      </a:lnTo>
                      <a:lnTo>
                        <a:pt x="163" y="1440"/>
                      </a:lnTo>
                      <a:lnTo>
                        <a:pt x="163" y="1435"/>
                      </a:lnTo>
                      <a:lnTo>
                        <a:pt x="161" y="1438"/>
                      </a:lnTo>
                      <a:lnTo>
                        <a:pt x="158" y="1435"/>
                      </a:lnTo>
                      <a:lnTo>
                        <a:pt x="155" y="1438"/>
                      </a:lnTo>
                      <a:lnTo>
                        <a:pt x="153" y="1438"/>
                      </a:lnTo>
                      <a:lnTo>
                        <a:pt x="153" y="1435"/>
                      </a:lnTo>
                      <a:lnTo>
                        <a:pt x="135" y="1424"/>
                      </a:lnTo>
                      <a:lnTo>
                        <a:pt x="135" y="1422"/>
                      </a:lnTo>
                      <a:lnTo>
                        <a:pt x="133" y="1419"/>
                      </a:lnTo>
                      <a:lnTo>
                        <a:pt x="133" y="1416"/>
                      </a:lnTo>
                      <a:lnTo>
                        <a:pt x="130" y="1416"/>
                      </a:lnTo>
                      <a:lnTo>
                        <a:pt x="125" y="1410"/>
                      </a:lnTo>
                      <a:lnTo>
                        <a:pt x="125" y="1407"/>
                      </a:lnTo>
                      <a:lnTo>
                        <a:pt x="119" y="1407"/>
                      </a:lnTo>
                      <a:lnTo>
                        <a:pt x="113" y="1404"/>
                      </a:lnTo>
                      <a:lnTo>
                        <a:pt x="105" y="1388"/>
                      </a:lnTo>
                      <a:lnTo>
                        <a:pt x="100" y="1386"/>
                      </a:lnTo>
                      <a:lnTo>
                        <a:pt x="97" y="1388"/>
                      </a:lnTo>
                      <a:lnTo>
                        <a:pt x="94" y="1386"/>
                      </a:lnTo>
                      <a:lnTo>
                        <a:pt x="94" y="1383"/>
                      </a:lnTo>
                      <a:lnTo>
                        <a:pt x="86" y="1374"/>
                      </a:lnTo>
                      <a:lnTo>
                        <a:pt x="77" y="1371"/>
                      </a:lnTo>
                      <a:lnTo>
                        <a:pt x="77" y="1369"/>
                      </a:lnTo>
                      <a:lnTo>
                        <a:pt x="75" y="1358"/>
                      </a:lnTo>
                      <a:lnTo>
                        <a:pt x="72" y="1358"/>
                      </a:lnTo>
                      <a:lnTo>
                        <a:pt x="72" y="1355"/>
                      </a:lnTo>
                      <a:lnTo>
                        <a:pt x="67" y="1350"/>
                      </a:lnTo>
                      <a:lnTo>
                        <a:pt x="67" y="1344"/>
                      </a:lnTo>
                      <a:lnTo>
                        <a:pt x="69" y="1342"/>
                      </a:lnTo>
                      <a:lnTo>
                        <a:pt x="69" y="1333"/>
                      </a:lnTo>
                      <a:lnTo>
                        <a:pt x="67" y="1330"/>
                      </a:lnTo>
                      <a:lnTo>
                        <a:pt x="67" y="1322"/>
                      </a:lnTo>
                      <a:lnTo>
                        <a:pt x="72" y="1322"/>
                      </a:lnTo>
                      <a:lnTo>
                        <a:pt x="75" y="1317"/>
                      </a:lnTo>
                      <a:lnTo>
                        <a:pt x="75" y="1314"/>
                      </a:lnTo>
                      <a:lnTo>
                        <a:pt x="75" y="1305"/>
                      </a:lnTo>
                      <a:lnTo>
                        <a:pt x="72" y="1300"/>
                      </a:lnTo>
                      <a:lnTo>
                        <a:pt x="69" y="1297"/>
                      </a:lnTo>
                      <a:lnTo>
                        <a:pt x="67" y="1286"/>
                      </a:lnTo>
                      <a:lnTo>
                        <a:pt x="69" y="1273"/>
                      </a:lnTo>
                      <a:lnTo>
                        <a:pt x="67" y="1269"/>
                      </a:lnTo>
                      <a:lnTo>
                        <a:pt x="64" y="1269"/>
                      </a:lnTo>
                      <a:lnTo>
                        <a:pt x="61" y="1261"/>
                      </a:lnTo>
                      <a:lnTo>
                        <a:pt x="53" y="1258"/>
                      </a:lnTo>
                      <a:lnTo>
                        <a:pt x="48" y="1250"/>
                      </a:lnTo>
                      <a:lnTo>
                        <a:pt x="41" y="1248"/>
                      </a:lnTo>
                      <a:lnTo>
                        <a:pt x="39" y="1250"/>
                      </a:lnTo>
                      <a:lnTo>
                        <a:pt x="39" y="1248"/>
                      </a:lnTo>
                      <a:lnTo>
                        <a:pt x="31" y="1248"/>
                      </a:lnTo>
                      <a:lnTo>
                        <a:pt x="31" y="1245"/>
                      </a:lnTo>
                      <a:lnTo>
                        <a:pt x="20" y="1240"/>
                      </a:lnTo>
                      <a:lnTo>
                        <a:pt x="8" y="1231"/>
                      </a:lnTo>
                      <a:lnTo>
                        <a:pt x="8" y="1212"/>
                      </a:lnTo>
                      <a:lnTo>
                        <a:pt x="12" y="1206"/>
                      </a:lnTo>
                      <a:lnTo>
                        <a:pt x="12" y="1204"/>
                      </a:lnTo>
                      <a:lnTo>
                        <a:pt x="12" y="1197"/>
                      </a:lnTo>
                      <a:lnTo>
                        <a:pt x="8" y="1197"/>
                      </a:lnTo>
                      <a:lnTo>
                        <a:pt x="5" y="1184"/>
                      </a:lnTo>
                      <a:lnTo>
                        <a:pt x="5" y="1171"/>
                      </a:lnTo>
                      <a:lnTo>
                        <a:pt x="15" y="1154"/>
                      </a:lnTo>
                      <a:lnTo>
                        <a:pt x="15" y="1148"/>
                      </a:lnTo>
                      <a:lnTo>
                        <a:pt x="12" y="1145"/>
                      </a:lnTo>
                      <a:lnTo>
                        <a:pt x="15" y="1120"/>
                      </a:lnTo>
                      <a:lnTo>
                        <a:pt x="8" y="1115"/>
                      </a:lnTo>
                      <a:lnTo>
                        <a:pt x="5" y="1115"/>
                      </a:lnTo>
                      <a:lnTo>
                        <a:pt x="3" y="1112"/>
                      </a:lnTo>
                      <a:lnTo>
                        <a:pt x="3" y="1102"/>
                      </a:lnTo>
                      <a:lnTo>
                        <a:pt x="0" y="1095"/>
                      </a:lnTo>
                      <a:lnTo>
                        <a:pt x="0" y="1093"/>
                      </a:lnTo>
                      <a:lnTo>
                        <a:pt x="0" y="977"/>
                      </a:lnTo>
                      <a:lnTo>
                        <a:pt x="0" y="571"/>
                      </a:lnTo>
                      <a:lnTo>
                        <a:pt x="0" y="571"/>
                      </a:lnTo>
                      <a:close/>
                      <a:moveTo>
                        <a:pt x="5206" y="1537"/>
                      </a:moveTo>
                      <a:lnTo>
                        <a:pt x="5206" y="1534"/>
                      </a:lnTo>
                      <a:lnTo>
                        <a:pt x="5206" y="1532"/>
                      </a:lnTo>
                      <a:lnTo>
                        <a:pt x="5209" y="1532"/>
                      </a:lnTo>
                      <a:lnTo>
                        <a:pt x="5214" y="1532"/>
                      </a:lnTo>
                      <a:lnTo>
                        <a:pt x="5211" y="1534"/>
                      </a:lnTo>
                      <a:lnTo>
                        <a:pt x="5214" y="1534"/>
                      </a:lnTo>
                      <a:lnTo>
                        <a:pt x="5217" y="1545"/>
                      </a:lnTo>
                      <a:lnTo>
                        <a:pt x="5217" y="1551"/>
                      </a:lnTo>
                      <a:lnTo>
                        <a:pt x="5214" y="1548"/>
                      </a:lnTo>
                      <a:lnTo>
                        <a:pt x="5209" y="1540"/>
                      </a:lnTo>
                      <a:lnTo>
                        <a:pt x="5206" y="1537"/>
                      </a:lnTo>
                      <a:close/>
                      <a:moveTo>
                        <a:pt x="4831" y="1386"/>
                      </a:moveTo>
                      <a:lnTo>
                        <a:pt x="4828" y="1388"/>
                      </a:lnTo>
                      <a:lnTo>
                        <a:pt x="4831" y="1386"/>
                      </a:lnTo>
                      <a:close/>
                      <a:moveTo>
                        <a:pt x="5161" y="1479"/>
                      </a:moveTo>
                      <a:lnTo>
                        <a:pt x="5161" y="1482"/>
                      </a:lnTo>
                      <a:lnTo>
                        <a:pt x="5159" y="1482"/>
                      </a:lnTo>
                      <a:lnTo>
                        <a:pt x="5159" y="1479"/>
                      </a:lnTo>
                      <a:lnTo>
                        <a:pt x="5161" y="1479"/>
                      </a:lnTo>
                      <a:close/>
                      <a:moveTo>
                        <a:pt x="4819" y="1388"/>
                      </a:moveTo>
                      <a:lnTo>
                        <a:pt x="4823" y="1388"/>
                      </a:lnTo>
                      <a:lnTo>
                        <a:pt x="4819" y="1388"/>
                      </a:lnTo>
                      <a:lnTo>
                        <a:pt x="4819" y="1391"/>
                      </a:lnTo>
                      <a:lnTo>
                        <a:pt x="4819" y="1388"/>
                      </a:lnTo>
                      <a:close/>
                      <a:moveTo>
                        <a:pt x="4996" y="1432"/>
                      </a:moveTo>
                      <a:lnTo>
                        <a:pt x="4999" y="1432"/>
                      </a:lnTo>
                      <a:lnTo>
                        <a:pt x="4999" y="1435"/>
                      </a:lnTo>
                      <a:lnTo>
                        <a:pt x="4996" y="1435"/>
                      </a:lnTo>
                      <a:lnTo>
                        <a:pt x="4996" y="1432"/>
                      </a:lnTo>
                      <a:close/>
                      <a:moveTo>
                        <a:pt x="5112" y="1488"/>
                      </a:moveTo>
                      <a:lnTo>
                        <a:pt x="5109" y="1485"/>
                      </a:lnTo>
                      <a:lnTo>
                        <a:pt x="5112" y="1482"/>
                      </a:lnTo>
                      <a:lnTo>
                        <a:pt x="5115" y="1485"/>
                      </a:lnTo>
                      <a:lnTo>
                        <a:pt x="5112" y="1485"/>
                      </a:lnTo>
                      <a:lnTo>
                        <a:pt x="5115" y="1488"/>
                      </a:lnTo>
                      <a:lnTo>
                        <a:pt x="5112" y="1488"/>
                      </a:lnTo>
                      <a:close/>
                      <a:moveTo>
                        <a:pt x="5062" y="1509"/>
                      </a:moveTo>
                      <a:lnTo>
                        <a:pt x="5059" y="1509"/>
                      </a:lnTo>
                      <a:lnTo>
                        <a:pt x="5062" y="1509"/>
                      </a:lnTo>
                      <a:lnTo>
                        <a:pt x="5062" y="1506"/>
                      </a:lnTo>
                      <a:lnTo>
                        <a:pt x="5065" y="1506"/>
                      </a:lnTo>
                      <a:lnTo>
                        <a:pt x="5065" y="1509"/>
                      </a:lnTo>
                      <a:lnTo>
                        <a:pt x="5062" y="1509"/>
                      </a:lnTo>
                      <a:close/>
                      <a:moveTo>
                        <a:pt x="4494" y="1363"/>
                      </a:moveTo>
                      <a:lnTo>
                        <a:pt x="4496" y="1360"/>
                      </a:lnTo>
                      <a:lnTo>
                        <a:pt x="4499" y="1363"/>
                      </a:lnTo>
                      <a:lnTo>
                        <a:pt x="4496" y="1363"/>
                      </a:lnTo>
                      <a:lnTo>
                        <a:pt x="4496" y="1366"/>
                      </a:lnTo>
                      <a:lnTo>
                        <a:pt x="4494" y="1368"/>
                      </a:lnTo>
                      <a:lnTo>
                        <a:pt x="4494" y="1366"/>
                      </a:lnTo>
                      <a:lnTo>
                        <a:pt x="4494" y="1363"/>
                      </a:lnTo>
                      <a:close/>
                      <a:moveTo>
                        <a:pt x="5087" y="1509"/>
                      </a:moveTo>
                      <a:lnTo>
                        <a:pt x="5087" y="1504"/>
                      </a:lnTo>
                      <a:lnTo>
                        <a:pt x="5090" y="1501"/>
                      </a:lnTo>
                      <a:lnTo>
                        <a:pt x="5092" y="1501"/>
                      </a:lnTo>
                      <a:lnTo>
                        <a:pt x="5090" y="1504"/>
                      </a:lnTo>
                      <a:lnTo>
                        <a:pt x="5090" y="1512"/>
                      </a:lnTo>
                      <a:lnTo>
                        <a:pt x="5087" y="1512"/>
                      </a:lnTo>
                      <a:lnTo>
                        <a:pt x="5087" y="1509"/>
                      </a:lnTo>
                      <a:close/>
                      <a:moveTo>
                        <a:pt x="4823" y="1377"/>
                      </a:moveTo>
                      <a:lnTo>
                        <a:pt x="4828" y="1377"/>
                      </a:lnTo>
                      <a:lnTo>
                        <a:pt x="4828" y="1380"/>
                      </a:lnTo>
                      <a:lnTo>
                        <a:pt x="4831" y="1377"/>
                      </a:lnTo>
                      <a:lnTo>
                        <a:pt x="4833" y="1380"/>
                      </a:lnTo>
                      <a:lnTo>
                        <a:pt x="4823" y="1383"/>
                      </a:lnTo>
                      <a:lnTo>
                        <a:pt x="4823" y="1377"/>
                      </a:lnTo>
                      <a:close/>
                      <a:moveTo>
                        <a:pt x="5082" y="1485"/>
                      </a:moveTo>
                      <a:lnTo>
                        <a:pt x="5079" y="1488"/>
                      </a:lnTo>
                      <a:lnTo>
                        <a:pt x="5076" y="1488"/>
                      </a:lnTo>
                      <a:lnTo>
                        <a:pt x="5076" y="1493"/>
                      </a:lnTo>
                      <a:lnTo>
                        <a:pt x="5065" y="1501"/>
                      </a:lnTo>
                      <a:lnTo>
                        <a:pt x="5068" y="1493"/>
                      </a:lnTo>
                      <a:lnTo>
                        <a:pt x="5074" y="1482"/>
                      </a:lnTo>
                      <a:lnTo>
                        <a:pt x="5074" y="1479"/>
                      </a:lnTo>
                      <a:lnTo>
                        <a:pt x="5076" y="1476"/>
                      </a:lnTo>
                      <a:lnTo>
                        <a:pt x="5079" y="1479"/>
                      </a:lnTo>
                      <a:lnTo>
                        <a:pt x="5082" y="1482"/>
                      </a:lnTo>
                      <a:lnTo>
                        <a:pt x="5082" y="1485"/>
                      </a:lnTo>
                      <a:close/>
                    </a:path>
                  </a:pathLst>
                </a:custGeom>
                <a:grpFill/>
                <a:ln w="12700" cap="flat" cmpd="sng" algn="ctr">
                  <a:solidFill>
                    <a:schemeClr val="bg1">
                      <a:lumMod val="85000"/>
                    </a:schemeClr>
                  </a:solidFill>
                  <a:prstDash val="solid"/>
                  <a:round/>
                  <a:headEnd type="none" w="med" len="med"/>
                  <a:tailEnd type="none" w="med" len="med"/>
                </a:ln>
              </p:spPr>
            </p:sp>
            <p:sp>
              <p:nvSpPr>
                <p:cNvPr id="53" name="ee4p_BR_14"/>
                <p:cNvSpPr>
                  <a:spLocks/>
                </p:cNvSpPr>
                <p:nvPr>
                  <p:custDataLst>
                    <p:tags r:id="rId15"/>
                  </p:custDataLst>
                </p:nvPr>
              </p:nvSpPr>
              <p:spPr bwMode="auto">
                <a:xfrm>
                  <a:off x="4545772" y="4805202"/>
                  <a:ext cx="696897" cy="495196"/>
                </a:xfrm>
                <a:custGeom>
                  <a:avLst/>
                  <a:gdLst/>
                  <a:ahLst/>
                  <a:cxnLst>
                    <a:cxn ang="0">
                      <a:pos x="94" y="952"/>
                    </a:cxn>
                    <a:cxn ang="0">
                      <a:pos x="138" y="648"/>
                    </a:cxn>
                    <a:cxn ang="0">
                      <a:pos x="326" y="364"/>
                    </a:cxn>
                    <a:cxn ang="0">
                      <a:pos x="511" y="113"/>
                    </a:cxn>
                    <a:cxn ang="0">
                      <a:pos x="721" y="42"/>
                    </a:cxn>
                    <a:cxn ang="0">
                      <a:pos x="952" y="44"/>
                    </a:cxn>
                    <a:cxn ang="0">
                      <a:pos x="1115" y="47"/>
                    </a:cxn>
                    <a:cxn ang="0">
                      <a:pos x="1319" y="60"/>
                    </a:cxn>
                    <a:cxn ang="0">
                      <a:pos x="1543" y="146"/>
                    </a:cxn>
                    <a:cxn ang="0">
                      <a:pos x="1672" y="182"/>
                    </a:cxn>
                    <a:cxn ang="0">
                      <a:pos x="1817" y="177"/>
                    </a:cxn>
                    <a:cxn ang="0">
                      <a:pos x="1916" y="206"/>
                    </a:cxn>
                    <a:cxn ang="0">
                      <a:pos x="1999" y="267"/>
                    </a:cxn>
                    <a:cxn ang="0">
                      <a:pos x="2034" y="369"/>
                    </a:cxn>
                    <a:cxn ang="0">
                      <a:pos x="2037" y="430"/>
                    </a:cxn>
                    <a:cxn ang="0">
                      <a:pos x="2062" y="513"/>
                    </a:cxn>
                    <a:cxn ang="0">
                      <a:pos x="2050" y="579"/>
                    </a:cxn>
                    <a:cxn ang="0">
                      <a:pos x="2086" y="623"/>
                    </a:cxn>
                    <a:cxn ang="0">
                      <a:pos x="2131" y="673"/>
                    </a:cxn>
                    <a:cxn ang="0">
                      <a:pos x="2181" y="756"/>
                    </a:cxn>
                    <a:cxn ang="0">
                      <a:pos x="2167" y="839"/>
                    </a:cxn>
                    <a:cxn ang="0">
                      <a:pos x="2181" y="913"/>
                    </a:cxn>
                    <a:cxn ang="0">
                      <a:pos x="2269" y="894"/>
                    </a:cxn>
                    <a:cxn ang="0">
                      <a:pos x="2349" y="902"/>
                    </a:cxn>
                    <a:cxn ang="0">
                      <a:pos x="2429" y="908"/>
                    </a:cxn>
                    <a:cxn ang="0">
                      <a:pos x="2474" y="955"/>
                    </a:cxn>
                    <a:cxn ang="0">
                      <a:pos x="2451" y="1040"/>
                    </a:cxn>
                    <a:cxn ang="0">
                      <a:pos x="2537" y="1040"/>
                    </a:cxn>
                    <a:cxn ang="0">
                      <a:pos x="2589" y="1032"/>
                    </a:cxn>
                    <a:cxn ang="0">
                      <a:pos x="2625" y="1128"/>
                    </a:cxn>
                    <a:cxn ang="0">
                      <a:pos x="2597" y="1239"/>
                    </a:cxn>
                    <a:cxn ang="0">
                      <a:pos x="2448" y="1448"/>
                    </a:cxn>
                    <a:cxn ang="0">
                      <a:pos x="2288" y="1462"/>
                    </a:cxn>
                    <a:cxn ang="0">
                      <a:pos x="2216" y="1462"/>
                    </a:cxn>
                    <a:cxn ang="0">
                      <a:pos x="2167" y="1504"/>
                    </a:cxn>
                    <a:cxn ang="0">
                      <a:pos x="2109" y="1531"/>
                    </a:cxn>
                    <a:cxn ang="0">
                      <a:pos x="2060" y="1556"/>
                    </a:cxn>
                    <a:cxn ang="0">
                      <a:pos x="2009" y="1542"/>
                    </a:cxn>
                    <a:cxn ang="0">
                      <a:pos x="1946" y="1489"/>
                    </a:cxn>
                    <a:cxn ang="0">
                      <a:pos x="1879" y="1468"/>
                    </a:cxn>
                    <a:cxn ang="0">
                      <a:pos x="1808" y="1479"/>
                    </a:cxn>
                    <a:cxn ang="0">
                      <a:pos x="1745" y="1512"/>
                    </a:cxn>
                    <a:cxn ang="0">
                      <a:pos x="1684" y="1471"/>
                    </a:cxn>
                    <a:cxn ang="0">
                      <a:pos x="1615" y="1497"/>
                    </a:cxn>
                    <a:cxn ang="0">
                      <a:pos x="1513" y="1581"/>
                    </a:cxn>
                    <a:cxn ang="0">
                      <a:pos x="1403" y="1584"/>
                    </a:cxn>
                    <a:cxn ang="0">
                      <a:pos x="1363" y="1653"/>
                    </a:cxn>
                    <a:cxn ang="0">
                      <a:pos x="1358" y="1730"/>
                    </a:cxn>
                    <a:cxn ang="0">
                      <a:pos x="1265" y="1705"/>
                    </a:cxn>
                    <a:cxn ang="0">
                      <a:pos x="1058" y="1691"/>
                    </a:cxn>
                    <a:cxn ang="0">
                      <a:pos x="928" y="1647"/>
                    </a:cxn>
                    <a:cxn ang="0">
                      <a:pos x="806" y="1625"/>
                    </a:cxn>
                    <a:cxn ang="0">
                      <a:pos x="688" y="1611"/>
                    </a:cxn>
                    <a:cxn ang="0">
                      <a:pos x="547" y="1569"/>
                    </a:cxn>
                    <a:cxn ang="0">
                      <a:pos x="406" y="1569"/>
                    </a:cxn>
                    <a:cxn ang="0">
                      <a:pos x="351" y="1479"/>
                    </a:cxn>
                    <a:cxn ang="0">
                      <a:pos x="326" y="1432"/>
                    </a:cxn>
                    <a:cxn ang="0">
                      <a:pos x="320" y="1382"/>
                    </a:cxn>
                    <a:cxn ang="0">
                      <a:pos x="310" y="1327"/>
                    </a:cxn>
                    <a:cxn ang="0">
                      <a:pos x="262" y="1300"/>
                    </a:cxn>
                    <a:cxn ang="0">
                      <a:pos x="169" y="1269"/>
                    </a:cxn>
                    <a:cxn ang="0">
                      <a:pos x="61" y="1308"/>
                    </a:cxn>
                  </a:cxnLst>
                  <a:rect l="0" t="0" r="r" b="b"/>
                  <a:pathLst>
                    <a:path w="2681" h="1760">
                      <a:moveTo>
                        <a:pt x="6" y="1228"/>
                      </a:moveTo>
                      <a:lnTo>
                        <a:pt x="8" y="1225"/>
                      </a:lnTo>
                      <a:lnTo>
                        <a:pt x="8" y="1219"/>
                      </a:lnTo>
                      <a:lnTo>
                        <a:pt x="14" y="1208"/>
                      </a:lnTo>
                      <a:lnTo>
                        <a:pt x="16" y="1203"/>
                      </a:lnTo>
                      <a:lnTo>
                        <a:pt x="22" y="1195"/>
                      </a:lnTo>
                      <a:lnTo>
                        <a:pt x="31" y="1189"/>
                      </a:lnTo>
                      <a:lnTo>
                        <a:pt x="42" y="1175"/>
                      </a:lnTo>
                      <a:lnTo>
                        <a:pt x="47" y="1167"/>
                      </a:lnTo>
                      <a:lnTo>
                        <a:pt x="52" y="1156"/>
                      </a:lnTo>
                      <a:lnTo>
                        <a:pt x="55" y="1139"/>
                      </a:lnTo>
                      <a:lnTo>
                        <a:pt x="61" y="1131"/>
                      </a:lnTo>
                      <a:lnTo>
                        <a:pt x="64" y="1123"/>
                      </a:lnTo>
                      <a:lnTo>
                        <a:pt x="69" y="1114"/>
                      </a:lnTo>
                      <a:lnTo>
                        <a:pt x="75" y="1114"/>
                      </a:lnTo>
                      <a:lnTo>
                        <a:pt x="77" y="1109"/>
                      </a:lnTo>
                      <a:lnTo>
                        <a:pt x="75" y="1098"/>
                      </a:lnTo>
                      <a:lnTo>
                        <a:pt x="72" y="1093"/>
                      </a:lnTo>
                      <a:lnTo>
                        <a:pt x="67" y="1087"/>
                      </a:lnTo>
                      <a:lnTo>
                        <a:pt x="64" y="1082"/>
                      </a:lnTo>
                      <a:lnTo>
                        <a:pt x="67" y="1075"/>
                      </a:lnTo>
                      <a:lnTo>
                        <a:pt x="64" y="1067"/>
                      </a:lnTo>
                      <a:lnTo>
                        <a:pt x="64" y="1059"/>
                      </a:lnTo>
                      <a:lnTo>
                        <a:pt x="72" y="1037"/>
                      </a:lnTo>
                      <a:lnTo>
                        <a:pt x="72" y="1021"/>
                      </a:lnTo>
                      <a:lnTo>
                        <a:pt x="77" y="1009"/>
                      </a:lnTo>
                      <a:lnTo>
                        <a:pt x="80" y="998"/>
                      </a:lnTo>
                      <a:lnTo>
                        <a:pt x="85" y="977"/>
                      </a:lnTo>
                      <a:lnTo>
                        <a:pt x="94" y="952"/>
                      </a:lnTo>
                      <a:lnTo>
                        <a:pt x="97" y="944"/>
                      </a:lnTo>
                      <a:lnTo>
                        <a:pt x="102" y="940"/>
                      </a:lnTo>
                      <a:lnTo>
                        <a:pt x="105" y="935"/>
                      </a:lnTo>
                      <a:lnTo>
                        <a:pt x="111" y="921"/>
                      </a:lnTo>
                      <a:lnTo>
                        <a:pt x="113" y="913"/>
                      </a:lnTo>
                      <a:lnTo>
                        <a:pt x="119" y="899"/>
                      </a:lnTo>
                      <a:lnTo>
                        <a:pt x="121" y="869"/>
                      </a:lnTo>
                      <a:lnTo>
                        <a:pt x="121" y="863"/>
                      </a:lnTo>
                      <a:lnTo>
                        <a:pt x="116" y="844"/>
                      </a:lnTo>
                      <a:lnTo>
                        <a:pt x="113" y="833"/>
                      </a:lnTo>
                      <a:lnTo>
                        <a:pt x="119" y="814"/>
                      </a:lnTo>
                      <a:lnTo>
                        <a:pt x="130" y="803"/>
                      </a:lnTo>
                      <a:lnTo>
                        <a:pt x="138" y="791"/>
                      </a:lnTo>
                      <a:lnTo>
                        <a:pt x="144" y="778"/>
                      </a:lnTo>
                      <a:lnTo>
                        <a:pt x="146" y="773"/>
                      </a:lnTo>
                      <a:lnTo>
                        <a:pt x="141" y="750"/>
                      </a:lnTo>
                      <a:lnTo>
                        <a:pt x="136" y="742"/>
                      </a:lnTo>
                      <a:lnTo>
                        <a:pt x="121" y="728"/>
                      </a:lnTo>
                      <a:lnTo>
                        <a:pt x="119" y="720"/>
                      </a:lnTo>
                      <a:lnTo>
                        <a:pt x="119" y="712"/>
                      </a:lnTo>
                      <a:lnTo>
                        <a:pt x="119" y="709"/>
                      </a:lnTo>
                      <a:lnTo>
                        <a:pt x="119" y="704"/>
                      </a:lnTo>
                      <a:lnTo>
                        <a:pt x="113" y="689"/>
                      </a:lnTo>
                      <a:lnTo>
                        <a:pt x="113" y="684"/>
                      </a:lnTo>
                      <a:lnTo>
                        <a:pt x="111" y="681"/>
                      </a:lnTo>
                      <a:lnTo>
                        <a:pt x="116" y="671"/>
                      </a:lnTo>
                      <a:lnTo>
                        <a:pt x="127" y="661"/>
                      </a:lnTo>
                      <a:lnTo>
                        <a:pt x="136" y="651"/>
                      </a:lnTo>
                      <a:lnTo>
                        <a:pt x="138" y="648"/>
                      </a:lnTo>
                      <a:lnTo>
                        <a:pt x="141" y="648"/>
                      </a:lnTo>
                      <a:lnTo>
                        <a:pt x="152" y="645"/>
                      </a:lnTo>
                      <a:lnTo>
                        <a:pt x="182" y="623"/>
                      </a:lnTo>
                      <a:lnTo>
                        <a:pt x="199" y="615"/>
                      </a:lnTo>
                      <a:lnTo>
                        <a:pt x="207" y="607"/>
                      </a:lnTo>
                      <a:lnTo>
                        <a:pt x="210" y="602"/>
                      </a:lnTo>
                      <a:lnTo>
                        <a:pt x="218" y="576"/>
                      </a:lnTo>
                      <a:lnTo>
                        <a:pt x="218" y="566"/>
                      </a:lnTo>
                      <a:lnTo>
                        <a:pt x="215" y="557"/>
                      </a:lnTo>
                      <a:lnTo>
                        <a:pt x="218" y="551"/>
                      </a:lnTo>
                      <a:lnTo>
                        <a:pt x="215" y="549"/>
                      </a:lnTo>
                      <a:lnTo>
                        <a:pt x="218" y="541"/>
                      </a:lnTo>
                      <a:lnTo>
                        <a:pt x="221" y="524"/>
                      </a:lnTo>
                      <a:lnTo>
                        <a:pt x="229" y="510"/>
                      </a:lnTo>
                      <a:lnTo>
                        <a:pt x="229" y="507"/>
                      </a:lnTo>
                      <a:lnTo>
                        <a:pt x="232" y="491"/>
                      </a:lnTo>
                      <a:lnTo>
                        <a:pt x="235" y="482"/>
                      </a:lnTo>
                      <a:lnTo>
                        <a:pt x="238" y="477"/>
                      </a:lnTo>
                      <a:lnTo>
                        <a:pt x="241" y="466"/>
                      </a:lnTo>
                      <a:lnTo>
                        <a:pt x="243" y="449"/>
                      </a:lnTo>
                      <a:lnTo>
                        <a:pt x="249" y="433"/>
                      </a:lnTo>
                      <a:lnTo>
                        <a:pt x="249" y="416"/>
                      </a:lnTo>
                      <a:lnTo>
                        <a:pt x="259" y="397"/>
                      </a:lnTo>
                      <a:lnTo>
                        <a:pt x="259" y="395"/>
                      </a:lnTo>
                      <a:lnTo>
                        <a:pt x="266" y="392"/>
                      </a:lnTo>
                      <a:lnTo>
                        <a:pt x="268" y="389"/>
                      </a:lnTo>
                      <a:lnTo>
                        <a:pt x="279" y="392"/>
                      </a:lnTo>
                      <a:lnTo>
                        <a:pt x="301" y="380"/>
                      </a:lnTo>
                      <a:lnTo>
                        <a:pt x="326" y="364"/>
                      </a:lnTo>
                      <a:lnTo>
                        <a:pt x="345" y="359"/>
                      </a:lnTo>
                      <a:lnTo>
                        <a:pt x="348" y="356"/>
                      </a:lnTo>
                      <a:lnTo>
                        <a:pt x="361" y="336"/>
                      </a:lnTo>
                      <a:lnTo>
                        <a:pt x="367" y="326"/>
                      </a:lnTo>
                      <a:lnTo>
                        <a:pt x="367" y="323"/>
                      </a:lnTo>
                      <a:lnTo>
                        <a:pt x="373" y="308"/>
                      </a:lnTo>
                      <a:lnTo>
                        <a:pt x="378" y="290"/>
                      </a:lnTo>
                      <a:lnTo>
                        <a:pt x="389" y="273"/>
                      </a:lnTo>
                      <a:lnTo>
                        <a:pt x="389" y="267"/>
                      </a:lnTo>
                      <a:lnTo>
                        <a:pt x="400" y="257"/>
                      </a:lnTo>
                      <a:lnTo>
                        <a:pt x="400" y="210"/>
                      </a:lnTo>
                      <a:lnTo>
                        <a:pt x="400" y="204"/>
                      </a:lnTo>
                      <a:lnTo>
                        <a:pt x="409" y="193"/>
                      </a:lnTo>
                      <a:lnTo>
                        <a:pt x="412" y="182"/>
                      </a:lnTo>
                      <a:lnTo>
                        <a:pt x="420" y="177"/>
                      </a:lnTo>
                      <a:lnTo>
                        <a:pt x="425" y="173"/>
                      </a:lnTo>
                      <a:lnTo>
                        <a:pt x="430" y="168"/>
                      </a:lnTo>
                      <a:lnTo>
                        <a:pt x="430" y="165"/>
                      </a:lnTo>
                      <a:lnTo>
                        <a:pt x="436" y="157"/>
                      </a:lnTo>
                      <a:lnTo>
                        <a:pt x="442" y="154"/>
                      </a:lnTo>
                      <a:lnTo>
                        <a:pt x="447" y="152"/>
                      </a:lnTo>
                      <a:lnTo>
                        <a:pt x="461" y="146"/>
                      </a:lnTo>
                      <a:lnTo>
                        <a:pt x="475" y="137"/>
                      </a:lnTo>
                      <a:lnTo>
                        <a:pt x="483" y="135"/>
                      </a:lnTo>
                      <a:lnTo>
                        <a:pt x="491" y="127"/>
                      </a:lnTo>
                      <a:lnTo>
                        <a:pt x="491" y="124"/>
                      </a:lnTo>
                      <a:lnTo>
                        <a:pt x="494" y="124"/>
                      </a:lnTo>
                      <a:lnTo>
                        <a:pt x="505" y="121"/>
                      </a:lnTo>
                      <a:lnTo>
                        <a:pt x="511" y="113"/>
                      </a:lnTo>
                      <a:lnTo>
                        <a:pt x="514" y="110"/>
                      </a:lnTo>
                      <a:lnTo>
                        <a:pt x="519" y="108"/>
                      </a:lnTo>
                      <a:lnTo>
                        <a:pt x="525" y="105"/>
                      </a:lnTo>
                      <a:lnTo>
                        <a:pt x="533" y="101"/>
                      </a:lnTo>
                      <a:lnTo>
                        <a:pt x="558" y="93"/>
                      </a:lnTo>
                      <a:lnTo>
                        <a:pt x="560" y="93"/>
                      </a:lnTo>
                      <a:lnTo>
                        <a:pt x="560" y="91"/>
                      </a:lnTo>
                      <a:lnTo>
                        <a:pt x="568" y="91"/>
                      </a:lnTo>
                      <a:lnTo>
                        <a:pt x="577" y="91"/>
                      </a:lnTo>
                      <a:lnTo>
                        <a:pt x="580" y="88"/>
                      </a:lnTo>
                      <a:lnTo>
                        <a:pt x="585" y="83"/>
                      </a:lnTo>
                      <a:lnTo>
                        <a:pt x="604" y="58"/>
                      </a:lnTo>
                      <a:lnTo>
                        <a:pt x="607" y="58"/>
                      </a:lnTo>
                      <a:lnTo>
                        <a:pt x="616" y="44"/>
                      </a:lnTo>
                      <a:lnTo>
                        <a:pt x="619" y="52"/>
                      </a:lnTo>
                      <a:lnTo>
                        <a:pt x="621" y="60"/>
                      </a:lnTo>
                      <a:lnTo>
                        <a:pt x="627" y="52"/>
                      </a:lnTo>
                      <a:lnTo>
                        <a:pt x="637" y="50"/>
                      </a:lnTo>
                      <a:lnTo>
                        <a:pt x="644" y="44"/>
                      </a:lnTo>
                      <a:lnTo>
                        <a:pt x="649" y="39"/>
                      </a:lnTo>
                      <a:lnTo>
                        <a:pt x="654" y="36"/>
                      </a:lnTo>
                      <a:lnTo>
                        <a:pt x="654" y="32"/>
                      </a:lnTo>
                      <a:lnTo>
                        <a:pt x="660" y="30"/>
                      </a:lnTo>
                      <a:lnTo>
                        <a:pt x="665" y="27"/>
                      </a:lnTo>
                      <a:lnTo>
                        <a:pt x="668" y="24"/>
                      </a:lnTo>
                      <a:lnTo>
                        <a:pt x="688" y="22"/>
                      </a:lnTo>
                      <a:lnTo>
                        <a:pt x="696" y="24"/>
                      </a:lnTo>
                      <a:lnTo>
                        <a:pt x="715" y="39"/>
                      </a:lnTo>
                      <a:lnTo>
                        <a:pt x="721" y="42"/>
                      </a:lnTo>
                      <a:lnTo>
                        <a:pt x="734" y="36"/>
                      </a:lnTo>
                      <a:lnTo>
                        <a:pt x="742" y="36"/>
                      </a:lnTo>
                      <a:lnTo>
                        <a:pt x="745" y="36"/>
                      </a:lnTo>
                      <a:lnTo>
                        <a:pt x="749" y="39"/>
                      </a:lnTo>
                      <a:lnTo>
                        <a:pt x="759" y="42"/>
                      </a:lnTo>
                      <a:lnTo>
                        <a:pt x="770" y="47"/>
                      </a:lnTo>
                      <a:lnTo>
                        <a:pt x="778" y="47"/>
                      </a:lnTo>
                      <a:lnTo>
                        <a:pt x="795" y="42"/>
                      </a:lnTo>
                      <a:lnTo>
                        <a:pt x="820" y="24"/>
                      </a:lnTo>
                      <a:lnTo>
                        <a:pt x="826" y="22"/>
                      </a:lnTo>
                      <a:lnTo>
                        <a:pt x="828" y="22"/>
                      </a:lnTo>
                      <a:lnTo>
                        <a:pt x="834" y="30"/>
                      </a:lnTo>
                      <a:lnTo>
                        <a:pt x="844" y="42"/>
                      </a:lnTo>
                      <a:lnTo>
                        <a:pt x="847" y="42"/>
                      </a:lnTo>
                      <a:lnTo>
                        <a:pt x="853" y="44"/>
                      </a:lnTo>
                      <a:lnTo>
                        <a:pt x="861" y="50"/>
                      </a:lnTo>
                      <a:lnTo>
                        <a:pt x="864" y="50"/>
                      </a:lnTo>
                      <a:lnTo>
                        <a:pt x="878" y="42"/>
                      </a:lnTo>
                      <a:lnTo>
                        <a:pt x="883" y="42"/>
                      </a:lnTo>
                      <a:lnTo>
                        <a:pt x="883" y="39"/>
                      </a:lnTo>
                      <a:lnTo>
                        <a:pt x="889" y="39"/>
                      </a:lnTo>
                      <a:lnTo>
                        <a:pt x="892" y="42"/>
                      </a:lnTo>
                      <a:lnTo>
                        <a:pt x="895" y="42"/>
                      </a:lnTo>
                      <a:lnTo>
                        <a:pt x="900" y="44"/>
                      </a:lnTo>
                      <a:lnTo>
                        <a:pt x="913" y="50"/>
                      </a:lnTo>
                      <a:lnTo>
                        <a:pt x="933" y="50"/>
                      </a:lnTo>
                      <a:lnTo>
                        <a:pt x="941" y="52"/>
                      </a:lnTo>
                      <a:lnTo>
                        <a:pt x="947" y="47"/>
                      </a:lnTo>
                      <a:lnTo>
                        <a:pt x="952" y="44"/>
                      </a:lnTo>
                      <a:lnTo>
                        <a:pt x="964" y="42"/>
                      </a:lnTo>
                      <a:lnTo>
                        <a:pt x="966" y="44"/>
                      </a:lnTo>
                      <a:lnTo>
                        <a:pt x="972" y="52"/>
                      </a:lnTo>
                      <a:lnTo>
                        <a:pt x="972" y="63"/>
                      </a:lnTo>
                      <a:lnTo>
                        <a:pt x="972" y="66"/>
                      </a:lnTo>
                      <a:lnTo>
                        <a:pt x="974" y="66"/>
                      </a:lnTo>
                      <a:lnTo>
                        <a:pt x="985" y="60"/>
                      </a:lnTo>
                      <a:lnTo>
                        <a:pt x="991" y="58"/>
                      </a:lnTo>
                      <a:lnTo>
                        <a:pt x="1002" y="55"/>
                      </a:lnTo>
                      <a:lnTo>
                        <a:pt x="999" y="39"/>
                      </a:lnTo>
                      <a:lnTo>
                        <a:pt x="999" y="36"/>
                      </a:lnTo>
                      <a:lnTo>
                        <a:pt x="1002" y="24"/>
                      </a:lnTo>
                      <a:lnTo>
                        <a:pt x="1002" y="22"/>
                      </a:lnTo>
                      <a:lnTo>
                        <a:pt x="1005" y="14"/>
                      </a:lnTo>
                      <a:lnTo>
                        <a:pt x="1010" y="6"/>
                      </a:lnTo>
                      <a:lnTo>
                        <a:pt x="1013" y="3"/>
                      </a:lnTo>
                      <a:lnTo>
                        <a:pt x="1018" y="0"/>
                      </a:lnTo>
                      <a:lnTo>
                        <a:pt x="1022" y="0"/>
                      </a:lnTo>
                      <a:lnTo>
                        <a:pt x="1027" y="3"/>
                      </a:lnTo>
                      <a:lnTo>
                        <a:pt x="1041" y="11"/>
                      </a:lnTo>
                      <a:lnTo>
                        <a:pt x="1051" y="11"/>
                      </a:lnTo>
                      <a:lnTo>
                        <a:pt x="1054" y="11"/>
                      </a:lnTo>
                      <a:lnTo>
                        <a:pt x="1066" y="14"/>
                      </a:lnTo>
                      <a:lnTo>
                        <a:pt x="1079" y="22"/>
                      </a:lnTo>
                      <a:lnTo>
                        <a:pt x="1087" y="22"/>
                      </a:lnTo>
                      <a:lnTo>
                        <a:pt x="1104" y="36"/>
                      </a:lnTo>
                      <a:lnTo>
                        <a:pt x="1107" y="39"/>
                      </a:lnTo>
                      <a:lnTo>
                        <a:pt x="1110" y="42"/>
                      </a:lnTo>
                      <a:lnTo>
                        <a:pt x="1115" y="47"/>
                      </a:lnTo>
                      <a:lnTo>
                        <a:pt x="1123" y="50"/>
                      </a:lnTo>
                      <a:lnTo>
                        <a:pt x="1127" y="50"/>
                      </a:lnTo>
                      <a:lnTo>
                        <a:pt x="1156" y="42"/>
                      </a:lnTo>
                      <a:lnTo>
                        <a:pt x="1163" y="44"/>
                      </a:lnTo>
                      <a:lnTo>
                        <a:pt x="1165" y="44"/>
                      </a:lnTo>
                      <a:lnTo>
                        <a:pt x="1168" y="47"/>
                      </a:lnTo>
                      <a:lnTo>
                        <a:pt x="1173" y="47"/>
                      </a:lnTo>
                      <a:lnTo>
                        <a:pt x="1173" y="50"/>
                      </a:lnTo>
                      <a:lnTo>
                        <a:pt x="1176" y="60"/>
                      </a:lnTo>
                      <a:lnTo>
                        <a:pt x="1179" y="66"/>
                      </a:lnTo>
                      <a:lnTo>
                        <a:pt x="1187" y="66"/>
                      </a:lnTo>
                      <a:lnTo>
                        <a:pt x="1196" y="60"/>
                      </a:lnTo>
                      <a:lnTo>
                        <a:pt x="1201" y="60"/>
                      </a:lnTo>
                      <a:lnTo>
                        <a:pt x="1215" y="60"/>
                      </a:lnTo>
                      <a:lnTo>
                        <a:pt x="1220" y="63"/>
                      </a:lnTo>
                      <a:lnTo>
                        <a:pt x="1232" y="72"/>
                      </a:lnTo>
                      <a:lnTo>
                        <a:pt x="1240" y="75"/>
                      </a:lnTo>
                      <a:lnTo>
                        <a:pt x="1245" y="77"/>
                      </a:lnTo>
                      <a:lnTo>
                        <a:pt x="1248" y="75"/>
                      </a:lnTo>
                      <a:lnTo>
                        <a:pt x="1258" y="72"/>
                      </a:lnTo>
                      <a:lnTo>
                        <a:pt x="1261" y="75"/>
                      </a:lnTo>
                      <a:lnTo>
                        <a:pt x="1267" y="75"/>
                      </a:lnTo>
                      <a:lnTo>
                        <a:pt x="1278" y="68"/>
                      </a:lnTo>
                      <a:lnTo>
                        <a:pt x="1281" y="68"/>
                      </a:lnTo>
                      <a:lnTo>
                        <a:pt x="1289" y="58"/>
                      </a:lnTo>
                      <a:lnTo>
                        <a:pt x="1298" y="58"/>
                      </a:lnTo>
                      <a:lnTo>
                        <a:pt x="1309" y="63"/>
                      </a:lnTo>
                      <a:lnTo>
                        <a:pt x="1314" y="63"/>
                      </a:lnTo>
                      <a:lnTo>
                        <a:pt x="1319" y="60"/>
                      </a:lnTo>
                      <a:lnTo>
                        <a:pt x="1330" y="63"/>
                      </a:lnTo>
                      <a:lnTo>
                        <a:pt x="1336" y="63"/>
                      </a:lnTo>
                      <a:lnTo>
                        <a:pt x="1347" y="66"/>
                      </a:lnTo>
                      <a:lnTo>
                        <a:pt x="1350" y="66"/>
                      </a:lnTo>
                      <a:lnTo>
                        <a:pt x="1358" y="63"/>
                      </a:lnTo>
                      <a:lnTo>
                        <a:pt x="1363" y="66"/>
                      </a:lnTo>
                      <a:lnTo>
                        <a:pt x="1370" y="72"/>
                      </a:lnTo>
                      <a:lnTo>
                        <a:pt x="1372" y="72"/>
                      </a:lnTo>
                      <a:lnTo>
                        <a:pt x="1375" y="83"/>
                      </a:lnTo>
                      <a:lnTo>
                        <a:pt x="1383" y="88"/>
                      </a:lnTo>
                      <a:lnTo>
                        <a:pt x="1386" y="88"/>
                      </a:lnTo>
                      <a:lnTo>
                        <a:pt x="1394" y="91"/>
                      </a:lnTo>
                      <a:lnTo>
                        <a:pt x="1400" y="93"/>
                      </a:lnTo>
                      <a:lnTo>
                        <a:pt x="1408" y="99"/>
                      </a:lnTo>
                      <a:lnTo>
                        <a:pt x="1424" y="105"/>
                      </a:lnTo>
                      <a:lnTo>
                        <a:pt x="1447" y="105"/>
                      </a:lnTo>
                      <a:lnTo>
                        <a:pt x="1469" y="116"/>
                      </a:lnTo>
                      <a:lnTo>
                        <a:pt x="1474" y="116"/>
                      </a:lnTo>
                      <a:lnTo>
                        <a:pt x="1480" y="113"/>
                      </a:lnTo>
                      <a:lnTo>
                        <a:pt x="1488" y="113"/>
                      </a:lnTo>
                      <a:lnTo>
                        <a:pt x="1493" y="121"/>
                      </a:lnTo>
                      <a:lnTo>
                        <a:pt x="1496" y="121"/>
                      </a:lnTo>
                      <a:lnTo>
                        <a:pt x="1501" y="119"/>
                      </a:lnTo>
                      <a:lnTo>
                        <a:pt x="1505" y="119"/>
                      </a:lnTo>
                      <a:lnTo>
                        <a:pt x="1516" y="119"/>
                      </a:lnTo>
                      <a:lnTo>
                        <a:pt x="1518" y="121"/>
                      </a:lnTo>
                      <a:lnTo>
                        <a:pt x="1534" y="132"/>
                      </a:lnTo>
                      <a:lnTo>
                        <a:pt x="1541" y="144"/>
                      </a:lnTo>
                      <a:lnTo>
                        <a:pt x="1543" y="146"/>
                      </a:lnTo>
                      <a:lnTo>
                        <a:pt x="1546" y="154"/>
                      </a:lnTo>
                      <a:lnTo>
                        <a:pt x="1554" y="157"/>
                      </a:lnTo>
                      <a:lnTo>
                        <a:pt x="1554" y="160"/>
                      </a:lnTo>
                      <a:lnTo>
                        <a:pt x="1554" y="162"/>
                      </a:lnTo>
                      <a:lnTo>
                        <a:pt x="1551" y="179"/>
                      </a:lnTo>
                      <a:lnTo>
                        <a:pt x="1554" y="182"/>
                      </a:lnTo>
                      <a:lnTo>
                        <a:pt x="1562" y="182"/>
                      </a:lnTo>
                      <a:lnTo>
                        <a:pt x="1570" y="182"/>
                      </a:lnTo>
                      <a:lnTo>
                        <a:pt x="1574" y="185"/>
                      </a:lnTo>
                      <a:lnTo>
                        <a:pt x="1577" y="188"/>
                      </a:lnTo>
                      <a:lnTo>
                        <a:pt x="1579" y="188"/>
                      </a:lnTo>
                      <a:lnTo>
                        <a:pt x="1582" y="188"/>
                      </a:lnTo>
                      <a:lnTo>
                        <a:pt x="1590" y="185"/>
                      </a:lnTo>
                      <a:lnTo>
                        <a:pt x="1601" y="165"/>
                      </a:lnTo>
                      <a:lnTo>
                        <a:pt x="1603" y="162"/>
                      </a:lnTo>
                      <a:lnTo>
                        <a:pt x="1607" y="160"/>
                      </a:lnTo>
                      <a:lnTo>
                        <a:pt x="1610" y="160"/>
                      </a:lnTo>
                      <a:lnTo>
                        <a:pt x="1615" y="160"/>
                      </a:lnTo>
                      <a:lnTo>
                        <a:pt x="1618" y="165"/>
                      </a:lnTo>
                      <a:lnTo>
                        <a:pt x="1626" y="168"/>
                      </a:lnTo>
                      <a:lnTo>
                        <a:pt x="1631" y="170"/>
                      </a:lnTo>
                      <a:lnTo>
                        <a:pt x="1637" y="168"/>
                      </a:lnTo>
                      <a:lnTo>
                        <a:pt x="1643" y="162"/>
                      </a:lnTo>
                      <a:lnTo>
                        <a:pt x="1654" y="165"/>
                      </a:lnTo>
                      <a:lnTo>
                        <a:pt x="1659" y="168"/>
                      </a:lnTo>
                      <a:lnTo>
                        <a:pt x="1662" y="170"/>
                      </a:lnTo>
                      <a:lnTo>
                        <a:pt x="1664" y="177"/>
                      </a:lnTo>
                      <a:lnTo>
                        <a:pt x="1667" y="179"/>
                      </a:lnTo>
                      <a:lnTo>
                        <a:pt x="1672" y="182"/>
                      </a:lnTo>
                      <a:lnTo>
                        <a:pt x="1679" y="177"/>
                      </a:lnTo>
                      <a:lnTo>
                        <a:pt x="1681" y="177"/>
                      </a:lnTo>
                      <a:lnTo>
                        <a:pt x="1689" y="182"/>
                      </a:lnTo>
                      <a:lnTo>
                        <a:pt x="1695" y="179"/>
                      </a:lnTo>
                      <a:lnTo>
                        <a:pt x="1703" y="182"/>
                      </a:lnTo>
                      <a:lnTo>
                        <a:pt x="1706" y="177"/>
                      </a:lnTo>
                      <a:lnTo>
                        <a:pt x="1708" y="177"/>
                      </a:lnTo>
                      <a:lnTo>
                        <a:pt x="1708" y="168"/>
                      </a:lnTo>
                      <a:lnTo>
                        <a:pt x="1712" y="165"/>
                      </a:lnTo>
                      <a:lnTo>
                        <a:pt x="1717" y="165"/>
                      </a:lnTo>
                      <a:lnTo>
                        <a:pt x="1723" y="162"/>
                      </a:lnTo>
                      <a:lnTo>
                        <a:pt x="1731" y="168"/>
                      </a:lnTo>
                      <a:lnTo>
                        <a:pt x="1731" y="170"/>
                      </a:lnTo>
                      <a:lnTo>
                        <a:pt x="1736" y="177"/>
                      </a:lnTo>
                      <a:lnTo>
                        <a:pt x="1739" y="182"/>
                      </a:lnTo>
                      <a:lnTo>
                        <a:pt x="1748" y="182"/>
                      </a:lnTo>
                      <a:lnTo>
                        <a:pt x="1753" y="182"/>
                      </a:lnTo>
                      <a:lnTo>
                        <a:pt x="1756" y="177"/>
                      </a:lnTo>
                      <a:lnTo>
                        <a:pt x="1761" y="177"/>
                      </a:lnTo>
                      <a:lnTo>
                        <a:pt x="1766" y="173"/>
                      </a:lnTo>
                      <a:lnTo>
                        <a:pt x="1778" y="179"/>
                      </a:lnTo>
                      <a:lnTo>
                        <a:pt x="1781" y="182"/>
                      </a:lnTo>
                      <a:lnTo>
                        <a:pt x="1781" y="185"/>
                      </a:lnTo>
                      <a:lnTo>
                        <a:pt x="1784" y="185"/>
                      </a:lnTo>
                      <a:lnTo>
                        <a:pt x="1789" y="182"/>
                      </a:lnTo>
                      <a:lnTo>
                        <a:pt x="1794" y="185"/>
                      </a:lnTo>
                      <a:lnTo>
                        <a:pt x="1802" y="185"/>
                      </a:lnTo>
                      <a:lnTo>
                        <a:pt x="1810" y="182"/>
                      </a:lnTo>
                      <a:lnTo>
                        <a:pt x="1817" y="177"/>
                      </a:lnTo>
                      <a:lnTo>
                        <a:pt x="1825" y="179"/>
                      </a:lnTo>
                      <a:lnTo>
                        <a:pt x="1830" y="179"/>
                      </a:lnTo>
                      <a:lnTo>
                        <a:pt x="1833" y="179"/>
                      </a:lnTo>
                      <a:lnTo>
                        <a:pt x="1838" y="170"/>
                      </a:lnTo>
                      <a:lnTo>
                        <a:pt x="1844" y="170"/>
                      </a:lnTo>
                      <a:lnTo>
                        <a:pt x="1850" y="173"/>
                      </a:lnTo>
                      <a:lnTo>
                        <a:pt x="1858" y="165"/>
                      </a:lnTo>
                      <a:lnTo>
                        <a:pt x="1858" y="162"/>
                      </a:lnTo>
                      <a:lnTo>
                        <a:pt x="1866" y="165"/>
                      </a:lnTo>
                      <a:lnTo>
                        <a:pt x="1871" y="165"/>
                      </a:lnTo>
                      <a:lnTo>
                        <a:pt x="1874" y="173"/>
                      </a:lnTo>
                      <a:lnTo>
                        <a:pt x="1877" y="173"/>
                      </a:lnTo>
                      <a:lnTo>
                        <a:pt x="1879" y="173"/>
                      </a:lnTo>
                      <a:lnTo>
                        <a:pt x="1883" y="170"/>
                      </a:lnTo>
                      <a:lnTo>
                        <a:pt x="1879" y="165"/>
                      </a:lnTo>
                      <a:lnTo>
                        <a:pt x="1879" y="162"/>
                      </a:lnTo>
                      <a:lnTo>
                        <a:pt x="1883" y="160"/>
                      </a:lnTo>
                      <a:lnTo>
                        <a:pt x="1891" y="165"/>
                      </a:lnTo>
                      <a:lnTo>
                        <a:pt x="1891" y="168"/>
                      </a:lnTo>
                      <a:lnTo>
                        <a:pt x="1894" y="173"/>
                      </a:lnTo>
                      <a:lnTo>
                        <a:pt x="1891" y="182"/>
                      </a:lnTo>
                      <a:lnTo>
                        <a:pt x="1888" y="185"/>
                      </a:lnTo>
                      <a:lnTo>
                        <a:pt x="1888" y="188"/>
                      </a:lnTo>
                      <a:lnTo>
                        <a:pt x="1896" y="196"/>
                      </a:lnTo>
                      <a:lnTo>
                        <a:pt x="1904" y="196"/>
                      </a:lnTo>
                      <a:lnTo>
                        <a:pt x="1910" y="198"/>
                      </a:lnTo>
                      <a:lnTo>
                        <a:pt x="1919" y="204"/>
                      </a:lnTo>
                      <a:lnTo>
                        <a:pt x="1919" y="206"/>
                      </a:lnTo>
                      <a:lnTo>
                        <a:pt x="1916" y="206"/>
                      </a:lnTo>
                      <a:lnTo>
                        <a:pt x="1916" y="210"/>
                      </a:lnTo>
                      <a:lnTo>
                        <a:pt x="1913" y="215"/>
                      </a:lnTo>
                      <a:lnTo>
                        <a:pt x="1913" y="218"/>
                      </a:lnTo>
                      <a:lnTo>
                        <a:pt x="1913" y="226"/>
                      </a:lnTo>
                      <a:lnTo>
                        <a:pt x="1919" y="226"/>
                      </a:lnTo>
                      <a:lnTo>
                        <a:pt x="1924" y="231"/>
                      </a:lnTo>
                      <a:lnTo>
                        <a:pt x="1927" y="229"/>
                      </a:lnTo>
                      <a:lnTo>
                        <a:pt x="1930" y="231"/>
                      </a:lnTo>
                      <a:lnTo>
                        <a:pt x="1932" y="234"/>
                      </a:lnTo>
                      <a:lnTo>
                        <a:pt x="1938" y="234"/>
                      </a:lnTo>
                      <a:lnTo>
                        <a:pt x="1946" y="231"/>
                      </a:lnTo>
                      <a:lnTo>
                        <a:pt x="1948" y="234"/>
                      </a:lnTo>
                      <a:lnTo>
                        <a:pt x="1952" y="237"/>
                      </a:lnTo>
                      <a:lnTo>
                        <a:pt x="1955" y="237"/>
                      </a:lnTo>
                      <a:lnTo>
                        <a:pt x="1955" y="240"/>
                      </a:lnTo>
                      <a:lnTo>
                        <a:pt x="1957" y="242"/>
                      </a:lnTo>
                      <a:lnTo>
                        <a:pt x="1960" y="242"/>
                      </a:lnTo>
                      <a:lnTo>
                        <a:pt x="1963" y="246"/>
                      </a:lnTo>
                      <a:lnTo>
                        <a:pt x="1968" y="246"/>
                      </a:lnTo>
                      <a:lnTo>
                        <a:pt x="1973" y="249"/>
                      </a:lnTo>
                      <a:lnTo>
                        <a:pt x="1979" y="246"/>
                      </a:lnTo>
                      <a:lnTo>
                        <a:pt x="1985" y="246"/>
                      </a:lnTo>
                      <a:lnTo>
                        <a:pt x="1988" y="249"/>
                      </a:lnTo>
                      <a:lnTo>
                        <a:pt x="1991" y="251"/>
                      </a:lnTo>
                      <a:lnTo>
                        <a:pt x="1985" y="259"/>
                      </a:lnTo>
                      <a:lnTo>
                        <a:pt x="1988" y="262"/>
                      </a:lnTo>
                      <a:lnTo>
                        <a:pt x="1993" y="265"/>
                      </a:lnTo>
                      <a:lnTo>
                        <a:pt x="1996" y="270"/>
                      </a:lnTo>
                      <a:lnTo>
                        <a:pt x="1999" y="267"/>
                      </a:lnTo>
                      <a:lnTo>
                        <a:pt x="1999" y="270"/>
                      </a:lnTo>
                      <a:lnTo>
                        <a:pt x="2001" y="273"/>
                      </a:lnTo>
                      <a:lnTo>
                        <a:pt x="2009" y="273"/>
                      </a:lnTo>
                      <a:lnTo>
                        <a:pt x="2007" y="275"/>
                      </a:lnTo>
                      <a:lnTo>
                        <a:pt x="2009" y="279"/>
                      </a:lnTo>
                      <a:lnTo>
                        <a:pt x="2017" y="292"/>
                      </a:lnTo>
                      <a:lnTo>
                        <a:pt x="2017" y="298"/>
                      </a:lnTo>
                      <a:lnTo>
                        <a:pt x="2017" y="300"/>
                      </a:lnTo>
                      <a:lnTo>
                        <a:pt x="2021" y="303"/>
                      </a:lnTo>
                      <a:lnTo>
                        <a:pt x="2024" y="303"/>
                      </a:lnTo>
                      <a:lnTo>
                        <a:pt x="2021" y="308"/>
                      </a:lnTo>
                      <a:lnTo>
                        <a:pt x="2024" y="311"/>
                      </a:lnTo>
                      <a:lnTo>
                        <a:pt x="2029" y="323"/>
                      </a:lnTo>
                      <a:lnTo>
                        <a:pt x="2029" y="331"/>
                      </a:lnTo>
                      <a:lnTo>
                        <a:pt x="2032" y="336"/>
                      </a:lnTo>
                      <a:lnTo>
                        <a:pt x="2032" y="342"/>
                      </a:lnTo>
                      <a:lnTo>
                        <a:pt x="2029" y="347"/>
                      </a:lnTo>
                      <a:lnTo>
                        <a:pt x="2026" y="344"/>
                      </a:lnTo>
                      <a:lnTo>
                        <a:pt x="2026" y="351"/>
                      </a:lnTo>
                      <a:lnTo>
                        <a:pt x="2026" y="353"/>
                      </a:lnTo>
                      <a:lnTo>
                        <a:pt x="2034" y="353"/>
                      </a:lnTo>
                      <a:lnTo>
                        <a:pt x="2042" y="359"/>
                      </a:lnTo>
                      <a:lnTo>
                        <a:pt x="2042" y="361"/>
                      </a:lnTo>
                      <a:lnTo>
                        <a:pt x="2045" y="364"/>
                      </a:lnTo>
                      <a:lnTo>
                        <a:pt x="2042" y="367"/>
                      </a:lnTo>
                      <a:lnTo>
                        <a:pt x="2040" y="364"/>
                      </a:lnTo>
                      <a:lnTo>
                        <a:pt x="2032" y="367"/>
                      </a:lnTo>
                      <a:lnTo>
                        <a:pt x="2032" y="369"/>
                      </a:lnTo>
                      <a:lnTo>
                        <a:pt x="2034" y="369"/>
                      </a:lnTo>
                      <a:lnTo>
                        <a:pt x="2037" y="369"/>
                      </a:lnTo>
                      <a:lnTo>
                        <a:pt x="2040" y="369"/>
                      </a:lnTo>
                      <a:lnTo>
                        <a:pt x="2040" y="372"/>
                      </a:lnTo>
                      <a:lnTo>
                        <a:pt x="2040" y="375"/>
                      </a:lnTo>
                      <a:lnTo>
                        <a:pt x="2042" y="375"/>
                      </a:lnTo>
                      <a:lnTo>
                        <a:pt x="2045" y="377"/>
                      </a:lnTo>
                      <a:lnTo>
                        <a:pt x="2048" y="377"/>
                      </a:lnTo>
                      <a:lnTo>
                        <a:pt x="2048" y="384"/>
                      </a:lnTo>
                      <a:lnTo>
                        <a:pt x="2054" y="384"/>
                      </a:lnTo>
                      <a:lnTo>
                        <a:pt x="2050" y="387"/>
                      </a:lnTo>
                      <a:lnTo>
                        <a:pt x="2054" y="389"/>
                      </a:lnTo>
                      <a:lnTo>
                        <a:pt x="2050" y="389"/>
                      </a:lnTo>
                      <a:lnTo>
                        <a:pt x="2048" y="387"/>
                      </a:lnTo>
                      <a:lnTo>
                        <a:pt x="2045" y="387"/>
                      </a:lnTo>
                      <a:lnTo>
                        <a:pt x="2042" y="389"/>
                      </a:lnTo>
                      <a:lnTo>
                        <a:pt x="2040" y="392"/>
                      </a:lnTo>
                      <a:lnTo>
                        <a:pt x="2040" y="395"/>
                      </a:lnTo>
                      <a:lnTo>
                        <a:pt x="2040" y="400"/>
                      </a:lnTo>
                      <a:lnTo>
                        <a:pt x="2040" y="403"/>
                      </a:lnTo>
                      <a:lnTo>
                        <a:pt x="2040" y="405"/>
                      </a:lnTo>
                      <a:lnTo>
                        <a:pt x="2034" y="403"/>
                      </a:lnTo>
                      <a:lnTo>
                        <a:pt x="2034" y="408"/>
                      </a:lnTo>
                      <a:lnTo>
                        <a:pt x="2032" y="411"/>
                      </a:lnTo>
                      <a:lnTo>
                        <a:pt x="2034" y="416"/>
                      </a:lnTo>
                      <a:lnTo>
                        <a:pt x="2032" y="416"/>
                      </a:lnTo>
                      <a:lnTo>
                        <a:pt x="2029" y="420"/>
                      </a:lnTo>
                      <a:lnTo>
                        <a:pt x="2032" y="422"/>
                      </a:lnTo>
                      <a:lnTo>
                        <a:pt x="2040" y="428"/>
                      </a:lnTo>
                      <a:lnTo>
                        <a:pt x="2037" y="430"/>
                      </a:lnTo>
                      <a:lnTo>
                        <a:pt x="2040" y="436"/>
                      </a:lnTo>
                      <a:lnTo>
                        <a:pt x="2037" y="441"/>
                      </a:lnTo>
                      <a:lnTo>
                        <a:pt x="2040" y="444"/>
                      </a:lnTo>
                      <a:lnTo>
                        <a:pt x="2040" y="446"/>
                      </a:lnTo>
                      <a:lnTo>
                        <a:pt x="2034" y="452"/>
                      </a:lnTo>
                      <a:lnTo>
                        <a:pt x="2032" y="458"/>
                      </a:lnTo>
                      <a:lnTo>
                        <a:pt x="2034" y="461"/>
                      </a:lnTo>
                      <a:lnTo>
                        <a:pt x="2034" y="464"/>
                      </a:lnTo>
                      <a:lnTo>
                        <a:pt x="2034" y="466"/>
                      </a:lnTo>
                      <a:lnTo>
                        <a:pt x="2037" y="466"/>
                      </a:lnTo>
                      <a:lnTo>
                        <a:pt x="2037" y="469"/>
                      </a:lnTo>
                      <a:lnTo>
                        <a:pt x="2034" y="472"/>
                      </a:lnTo>
                      <a:lnTo>
                        <a:pt x="2040" y="474"/>
                      </a:lnTo>
                      <a:lnTo>
                        <a:pt x="2040" y="477"/>
                      </a:lnTo>
                      <a:lnTo>
                        <a:pt x="2045" y="480"/>
                      </a:lnTo>
                      <a:lnTo>
                        <a:pt x="2045" y="482"/>
                      </a:lnTo>
                      <a:lnTo>
                        <a:pt x="2048" y="482"/>
                      </a:lnTo>
                      <a:lnTo>
                        <a:pt x="2048" y="485"/>
                      </a:lnTo>
                      <a:lnTo>
                        <a:pt x="2048" y="489"/>
                      </a:lnTo>
                      <a:lnTo>
                        <a:pt x="2050" y="489"/>
                      </a:lnTo>
                      <a:lnTo>
                        <a:pt x="2054" y="491"/>
                      </a:lnTo>
                      <a:lnTo>
                        <a:pt x="2057" y="491"/>
                      </a:lnTo>
                      <a:lnTo>
                        <a:pt x="2057" y="494"/>
                      </a:lnTo>
                      <a:lnTo>
                        <a:pt x="2060" y="494"/>
                      </a:lnTo>
                      <a:lnTo>
                        <a:pt x="2060" y="497"/>
                      </a:lnTo>
                      <a:lnTo>
                        <a:pt x="2062" y="499"/>
                      </a:lnTo>
                      <a:lnTo>
                        <a:pt x="2060" y="505"/>
                      </a:lnTo>
                      <a:lnTo>
                        <a:pt x="2060" y="507"/>
                      </a:lnTo>
                      <a:lnTo>
                        <a:pt x="2062" y="513"/>
                      </a:lnTo>
                      <a:lnTo>
                        <a:pt x="2060" y="513"/>
                      </a:lnTo>
                      <a:lnTo>
                        <a:pt x="2054" y="510"/>
                      </a:lnTo>
                      <a:lnTo>
                        <a:pt x="2054" y="513"/>
                      </a:lnTo>
                      <a:lnTo>
                        <a:pt x="2054" y="515"/>
                      </a:lnTo>
                      <a:lnTo>
                        <a:pt x="2054" y="518"/>
                      </a:lnTo>
                      <a:lnTo>
                        <a:pt x="2050" y="521"/>
                      </a:lnTo>
                      <a:lnTo>
                        <a:pt x="2057" y="524"/>
                      </a:lnTo>
                      <a:lnTo>
                        <a:pt x="2054" y="527"/>
                      </a:lnTo>
                      <a:lnTo>
                        <a:pt x="2054" y="530"/>
                      </a:lnTo>
                      <a:lnTo>
                        <a:pt x="2057" y="535"/>
                      </a:lnTo>
                      <a:lnTo>
                        <a:pt x="2057" y="541"/>
                      </a:lnTo>
                      <a:lnTo>
                        <a:pt x="2057" y="543"/>
                      </a:lnTo>
                      <a:lnTo>
                        <a:pt x="2057" y="546"/>
                      </a:lnTo>
                      <a:lnTo>
                        <a:pt x="2050" y="549"/>
                      </a:lnTo>
                      <a:lnTo>
                        <a:pt x="2045" y="551"/>
                      </a:lnTo>
                      <a:lnTo>
                        <a:pt x="2042" y="551"/>
                      </a:lnTo>
                      <a:lnTo>
                        <a:pt x="2042" y="554"/>
                      </a:lnTo>
                      <a:lnTo>
                        <a:pt x="2045" y="557"/>
                      </a:lnTo>
                      <a:lnTo>
                        <a:pt x="2040" y="554"/>
                      </a:lnTo>
                      <a:lnTo>
                        <a:pt x="2037" y="554"/>
                      </a:lnTo>
                      <a:lnTo>
                        <a:pt x="2042" y="557"/>
                      </a:lnTo>
                      <a:lnTo>
                        <a:pt x="2040" y="560"/>
                      </a:lnTo>
                      <a:lnTo>
                        <a:pt x="2037" y="560"/>
                      </a:lnTo>
                      <a:lnTo>
                        <a:pt x="2040" y="563"/>
                      </a:lnTo>
                      <a:lnTo>
                        <a:pt x="2040" y="568"/>
                      </a:lnTo>
                      <a:lnTo>
                        <a:pt x="2042" y="571"/>
                      </a:lnTo>
                      <a:lnTo>
                        <a:pt x="2045" y="576"/>
                      </a:lnTo>
                      <a:lnTo>
                        <a:pt x="2050" y="571"/>
                      </a:lnTo>
                      <a:lnTo>
                        <a:pt x="2050" y="579"/>
                      </a:lnTo>
                      <a:lnTo>
                        <a:pt x="2054" y="582"/>
                      </a:lnTo>
                      <a:lnTo>
                        <a:pt x="2057" y="584"/>
                      </a:lnTo>
                      <a:lnTo>
                        <a:pt x="2060" y="587"/>
                      </a:lnTo>
                      <a:lnTo>
                        <a:pt x="2060" y="590"/>
                      </a:lnTo>
                      <a:lnTo>
                        <a:pt x="2062" y="590"/>
                      </a:lnTo>
                      <a:lnTo>
                        <a:pt x="2068" y="592"/>
                      </a:lnTo>
                      <a:lnTo>
                        <a:pt x="2068" y="590"/>
                      </a:lnTo>
                      <a:lnTo>
                        <a:pt x="2073" y="587"/>
                      </a:lnTo>
                      <a:lnTo>
                        <a:pt x="2073" y="590"/>
                      </a:lnTo>
                      <a:lnTo>
                        <a:pt x="2076" y="590"/>
                      </a:lnTo>
                      <a:lnTo>
                        <a:pt x="2076" y="592"/>
                      </a:lnTo>
                      <a:lnTo>
                        <a:pt x="2078" y="596"/>
                      </a:lnTo>
                      <a:lnTo>
                        <a:pt x="2076" y="596"/>
                      </a:lnTo>
                      <a:lnTo>
                        <a:pt x="2070" y="596"/>
                      </a:lnTo>
                      <a:lnTo>
                        <a:pt x="2073" y="602"/>
                      </a:lnTo>
                      <a:lnTo>
                        <a:pt x="2076" y="599"/>
                      </a:lnTo>
                      <a:lnTo>
                        <a:pt x="2078" y="602"/>
                      </a:lnTo>
                      <a:lnTo>
                        <a:pt x="2078" y="604"/>
                      </a:lnTo>
                      <a:lnTo>
                        <a:pt x="2081" y="604"/>
                      </a:lnTo>
                      <a:lnTo>
                        <a:pt x="2081" y="607"/>
                      </a:lnTo>
                      <a:lnTo>
                        <a:pt x="2076" y="607"/>
                      </a:lnTo>
                      <a:lnTo>
                        <a:pt x="2076" y="610"/>
                      </a:lnTo>
                      <a:lnTo>
                        <a:pt x="2078" y="610"/>
                      </a:lnTo>
                      <a:lnTo>
                        <a:pt x="2084" y="612"/>
                      </a:lnTo>
                      <a:lnTo>
                        <a:pt x="2084" y="615"/>
                      </a:lnTo>
                      <a:lnTo>
                        <a:pt x="2081" y="618"/>
                      </a:lnTo>
                      <a:lnTo>
                        <a:pt x="2081" y="620"/>
                      </a:lnTo>
                      <a:lnTo>
                        <a:pt x="2084" y="620"/>
                      </a:lnTo>
                      <a:lnTo>
                        <a:pt x="2086" y="623"/>
                      </a:lnTo>
                      <a:lnTo>
                        <a:pt x="2086" y="626"/>
                      </a:lnTo>
                      <a:lnTo>
                        <a:pt x="2090" y="626"/>
                      </a:lnTo>
                      <a:lnTo>
                        <a:pt x="2086" y="629"/>
                      </a:lnTo>
                      <a:lnTo>
                        <a:pt x="2084" y="629"/>
                      </a:lnTo>
                      <a:lnTo>
                        <a:pt x="2086" y="629"/>
                      </a:lnTo>
                      <a:lnTo>
                        <a:pt x="2084" y="632"/>
                      </a:lnTo>
                      <a:lnTo>
                        <a:pt x="2086" y="632"/>
                      </a:lnTo>
                      <a:lnTo>
                        <a:pt x="2090" y="632"/>
                      </a:lnTo>
                      <a:lnTo>
                        <a:pt x="2093" y="632"/>
                      </a:lnTo>
                      <a:lnTo>
                        <a:pt x="2093" y="635"/>
                      </a:lnTo>
                      <a:lnTo>
                        <a:pt x="2095" y="635"/>
                      </a:lnTo>
                      <a:lnTo>
                        <a:pt x="2095" y="640"/>
                      </a:lnTo>
                      <a:lnTo>
                        <a:pt x="2098" y="643"/>
                      </a:lnTo>
                      <a:lnTo>
                        <a:pt x="2101" y="645"/>
                      </a:lnTo>
                      <a:lnTo>
                        <a:pt x="2106" y="648"/>
                      </a:lnTo>
                      <a:lnTo>
                        <a:pt x="2106" y="651"/>
                      </a:lnTo>
                      <a:lnTo>
                        <a:pt x="2109" y="651"/>
                      </a:lnTo>
                      <a:lnTo>
                        <a:pt x="2106" y="653"/>
                      </a:lnTo>
                      <a:lnTo>
                        <a:pt x="2109" y="656"/>
                      </a:lnTo>
                      <a:lnTo>
                        <a:pt x="2109" y="659"/>
                      </a:lnTo>
                      <a:lnTo>
                        <a:pt x="2112" y="659"/>
                      </a:lnTo>
                      <a:lnTo>
                        <a:pt x="2120" y="661"/>
                      </a:lnTo>
                      <a:lnTo>
                        <a:pt x="2117" y="665"/>
                      </a:lnTo>
                      <a:lnTo>
                        <a:pt x="2120" y="665"/>
                      </a:lnTo>
                      <a:lnTo>
                        <a:pt x="2117" y="668"/>
                      </a:lnTo>
                      <a:lnTo>
                        <a:pt x="2126" y="671"/>
                      </a:lnTo>
                      <a:lnTo>
                        <a:pt x="2126" y="673"/>
                      </a:lnTo>
                      <a:lnTo>
                        <a:pt x="2129" y="671"/>
                      </a:lnTo>
                      <a:lnTo>
                        <a:pt x="2131" y="673"/>
                      </a:lnTo>
                      <a:lnTo>
                        <a:pt x="2134" y="671"/>
                      </a:lnTo>
                      <a:lnTo>
                        <a:pt x="2137" y="673"/>
                      </a:lnTo>
                      <a:lnTo>
                        <a:pt x="2137" y="676"/>
                      </a:lnTo>
                      <a:lnTo>
                        <a:pt x="2145" y="681"/>
                      </a:lnTo>
                      <a:lnTo>
                        <a:pt x="2147" y="681"/>
                      </a:lnTo>
                      <a:lnTo>
                        <a:pt x="2147" y="684"/>
                      </a:lnTo>
                      <a:lnTo>
                        <a:pt x="2150" y="687"/>
                      </a:lnTo>
                      <a:lnTo>
                        <a:pt x="2145" y="689"/>
                      </a:lnTo>
                      <a:lnTo>
                        <a:pt x="2145" y="695"/>
                      </a:lnTo>
                      <a:lnTo>
                        <a:pt x="2145" y="704"/>
                      </a:lnTo>
                      <a:lnTo>
                        <a:pt x="2145" y="709"/>
                      </a:lnTo>
                      <a:lnTo>
                        <a:pt x="2139" y="712"/>
                      </a:lnTo>
                      <a:lnTo>
                        <a:pt x="2142" y="714"/>
                      </a:lnTo>
                      <a:lnTo>
                        <a:pt x="2153" y="722"/>
                      </a:lnTo>
                      <a:lnTo>
                        <a:pt x="2153" y="725"/>
                      </a:lnTo>
                      <a:lnTo>
                        <a:pt x="2159" y="725"/>
                      </a:lnTo>
                      <a:lnTo>
                        <a:pt x="2162" y="728"/>
                      </a:lnTo>
                      <a:lnTo>
                        <a:pt x="2159" y="731"/>
                      </a:lnTo>
                      <a:lnTo>
                        <a:pt x="2162" y="731"/>
                      </a:lnTo>
                      <a:lnTo>
                        <a:pt x="2164" y="734"/>
                      </a:lnTo>
                      <a:lnTo>
                        <a:pt x="2162" y="740"/>
                      </a:lnTo>
                      <a:lnTo>
                        <a:pt x="2164" y="742"/>
                      </a:lnTo>
                      <a:lnTo>
                        <a:pt x="2167" y="745"/>
                      </a:lnTo>
                      <a:lnTo>
                        <a:pt x="2167" y="748"/>
                      </a:lnTo>
                      <a:lnTo>
                        <a:pt x="2167" y="750"/>
                      </a:lnTo>
                      <a:lnTo>
                        <a:pt x="2170" y="753"/>
                      </a:lnTo>
                      <a:lnTo>
                        <a:pt x="2172" y="750"/>
                      </a:lnTo>
                      <a:lnTo>
                        <a:pt x="2175" y="750"/>
                      </a:lnTo>
                      <a:lnTo>
                        <a:pt x="2181" y="756"/>
                      </a:lnTo>
                      <a:lnTo>
                        <a:pt x="2183" y="756"/>
                      </a:lnTo>
                      <a:lnTo>
                        <a:pt x="2183" y="761"/>
                      </a:lnTo>
                      <a:lnTo>
                        <a:pt x="2192" y="761"/>
                      </a:lnTo>
                      <a:lnTo>
                        <a:pt x="2195" y="764"/>
                      </a:lnTo>
                      <a:lnTo>
                        <a:pt x="2200" y="764"/>
                      </a:lnTo>
                      <a:lnTo>
                        <a:pt x="2203" y="766"/>
                      </a:lnTo>
                      <a:lnTo>
                        <a:pt x="2195" y="775"/>
                      </a:lnTo>
                      <a:lnTo>
                        <a:pt x="2192" y="775"/>
                      </a:lnTo>
                      <a:lnTo>
                        <a:pt x="2186" y="783"/>
                      </a:lnTo>
                      <a:lnTo>
                        <a:pt x="2181" y="791"/>
                      </a:lnTo>
                      <a:lnTo>
                        <a:pt x="2181" y="794"/>
                      </a:lnTo>
                      <a:lnTo>
                        <a:pt x="2183" y="797"/>
                      </a:lnTo>
                      <a:lnTo>
                        <a:pt x="2186" y="791"/>
                      </a:lnTo>
                      <a:lnTo>
                        <a:pt x="2189" y="791"/>
                      </a:lnTo>
                      <a:lnTo>
                        <a:pt x="2189" y="794"/>
                      </a:lnTo>
                      <a:lnTo>
                        <a:pt x="2186" y="800"/>
                      </a:lnTo>
                      <a:lnTo>
                        <a:pt x="2181" y="806"/>
                      </a:lnTo>
                      <a:lnTo>
                        <a:pt x="2183" y="809"/>
                      </a:lnTo>
                      <a:lnTo>
                        <a:pt x="2181" y="814"/>
                      </a:lnTo>
                      <a:lnTo>
                        <a:pt x="2183" y="814"/>
                      </a:lnTo>
                      <a:lnTo>
                        <a:pt x="2183" y="817"/>
                      </a:lnTo>
                      <a:lnTo>
                        <a:pt x="2183" y="819"/>
                      </a:lnTo>
                      <a:lnTo>
                        <a:pt x="2181" y="819"/>
                      </a:lnTo>
                      <a:lnTo>
                        <a:pt x="2178" y="822"/>
                      </a:lnTo>
                      <a:lnTo>
                        <a:pt x="2175" y="825"/>
                      </a:lnTo>
                      <a:lnTo>
                        <a:pt x="2175" y="830"/>
                      </a:lnTo>
                      <a:lnTo>
                        <a:pt x="2167" y="833"/>
                      </a:lnTo>
                      <a:lnTo>
                        <a:pt x="2164" y="833"/>
                      </a:lnTo>
                      <a:lnTo>
                        <a:pt x="2167" y="839"/>
                      </a:lnTo>
                      <a:lnTo>
                        <a:pt x="2167" y="844"/>
                      </a:lnTo>
                      <a:lnTo>
                        <a:pt x="2170" y="847"/>
                      </a:lnTo>
                      <a:lnTo>
                        <a:pt x="2167" y="850"/>
                      </a:lnTo>
                      <a:lnTo>
                        <a:pt x="2164" y="855"/>
                      </a:lnTo>
                      <a:lnTo>
                        <a:pt x="2162" y="852"/>
                      </a:lnTo>
                      <a:lnTo>
                        <a:pt x="2159" y="855"/>
                      </a:lnTo>
                      <a:lnTo>
                        <a:pt x="2156" y="855"/>
                      </a:lnTo>
                      <a:lnTo>
                        <a:pt x="2156" y="858"/>
                      </a:lnTo>
                      <a:lnTo>
                        <a:pt x="2156" y="860"/>
                      </a:lnTo>
                      <a:lnTo>
                        <a:pt x="2159" y="866"/>
                      </a:lnTo>
                      <a:lnTo>
                        <a:pt x="2159" y="869"/>
                      </a:lnTo>
                      <a:lnTo>
                        <a:pt x="2156" y="869"/>
                      </a:lnTo>
                      <a:lnTo>
                        <a:pt x="2162" y="871"/>
                      </a:lnTo>
                      <a:lnTo>
                        <a:pt x="2159" y="875"/>
                      </a:lnTo>
                      <a:lnTo>
                        <a:pt x="2156" y="878"/>
                      </a:lnTo>
                      <a:lnTo>
                        <a:pt x="2156" y="880"/>
                      </a:lnTo>
                      <a:lnTo>
                        <a:pt x="2159" y="883"/>
                      </a:lnTo>
                      <a:lnTo>
                        <a:pt x="2156" y="891"/>
                      </a:lnTo>
                      <a:lnTo>
                        <a:pt x="2159" y="891"/>
                      </a:lnTo>
                      <a:lnTo>
                        <a:pt x="2159" y="894"/>
                      </a:lnTo>
                      <a:lnTo>
                        <a:pt x="2162" y="894"/>
                      </a:lnTo>
                      <a:lnTo>
                        <a:pt x="2162" y="896"/>
                      </a:lnTo>
                      <a:lnTo>
                        <a:pt x="2159" y="902"/>
                      </a:lnTo>
                      <a:lnTo>
                        <a:pt x="2162" y="902"/>
                      </a:lnTo>
                      <a:lnTo>
                        <a:pt x="2162" y="904"/>
                      </a:lnTo>
                      <a:lnTo>
                        <a:pt x="2164" y="904"/>
                      </a:lnTo>
                      <a:lnTo>
                        <a:pt x="2172" y="913"/>
                      </a:lnTo>
                      <a:lnTo>
                        <a:pt x="2178" y="913"/>
                      </a:lnTo>
                      <a:lnTo>
                        <a:pt x="2181" y="913"/>
                      </a:lnTo>
                      <a:lnTo>
                        <a:pt x="2186" y="916"/>
                      </a:lnTo>
                      <a:lnTo>
                        <a:pt x="2189" y="916"/>
                      </a:lnTo>
                      <a:lnTo>
                        <a:pt x="2200" y="916"/>
                      </a:lnTo>
                      <a:lnTo>
                        <a:pt x="2200" y="911"/>
                      </a:lnTo>
                      <a:lnTo>
                        <a:pt x="2206" y="911"/>
                      </a:lnTo>
                      <a:lnTo>
                        <a:pt x="2206" y="908"/>
                      </a:lnTo>
                      <a:lnTo>
                        <a:pt x="2208" y="904"/>
                      </a:lnTo>
                      <a:lnTo>
                        <a:pt x="2214" y="904"/>
                      </a:lnTo>
                      <a:lnTo>
                        <a:pt x="2216" y="904"/>
                      </a:lnTo>
                      <a:lnTo>
                        <a:pt x="2219" y="904"/>
                      </a:lnTo>
                      <a:lnTo>
                        <a:pt x="2231" y="904"/>
                      </a:lnTo>
                      <a:lnTo>
                        <a:pt x="2233" y="908"/>
                      </a:lnTo>
                      <a:lnTo>
                        <a:pt x="2239" y="911"/>
                      </a:lnTo>
                      <a:lnTo>
                        <a:pt x="2241" y="904"/>
                      </a:lnTo>
                      <a:lnTo>
                        <a:pt x="2244" y="904"/>
                      </a:lnTo>
                      <a:lnTo>
                        <a:pt x="2244" y="908"/>
                      </a:lnTo>
                      <a:lnTo>
                        <a:pt x="2249" y="908"/>
                      </a:lnTo>
                      <a:lnTo>
                        <a:pt x="2249" y="904"/>
                      </a:lnTo>
                      <a:lnTo>
                        <a:pt x="2252" y="904"/>
                      </a:lnTo>
                      <a:lnTo>
                        <a:pt x="2255" y="911"/>
                      </a:lnTo>
                      <a:lnTo>
                        <a:pt x="2259" y="911"/>
                      </a:lnTo>
                      <a:lnTo>
                        <a:pt x="2261" y="908"/>
                      </a:lnTo>
                      <a:lnTo>
                        <a:pt x="2264" y="908"/>
                      </a:lnTo>
                      <a:lnTo>
                        <a:pt x="2267" y="902"/>
                      </a:lnTo>
                      <a:lnTo>
                        <a:pt x="2269" y="899"/>
                      </a:lnTo>
                      <a:lnTo>
                        <a:pt x="2269" y="896"/>
                      </a:lnTo>
                      <a:lnTo>
                        <a:pt x="2269" y="894"/>
                      </a:lnTo>
                      <a:lnTo>
                        <a:pt x="2272" y="891"/>
                      </a:lnTo>
                      <a:lnTo>
                        <a:pt x="2269" y="894"/>
                      </a:lnTo>
                      <a:lnTo>
                        <a:pt x="2267" y="891"/>
                      </a:lnTo>
                      <a:lnTo>
                        <a:pt x="2269" y="888"/>
                      </a:lnTo>
                      <a:lnTo>
                        <a:pt x="2272" y="888"/>
                      </a:lnTo>
                      <a:lnTo>
                        <a:pt x="2277" y="891"/>
                      </a:lnTo>
                      <a:lnTo>
                        <a:pt x="2283" y="888"/>
                      </a:lnTo>
                      <a:lnTo>
                        <a:pt x="2285" y="888"/>
                      </a:lnTo>
                      <a:lnTo>
                        <a:pt x="2285" y="891"/>
                      </a:lnTo>
                      <a:lnTo>
                        <a:pt x="2283" y="891"/>
                      </a:lnTo>
                      <a:lnTo>
                        <a:pt x="2280" y="899"/>
                      </a:lnTo>
                      <a:lnTo>
                        <a:pt x="2285" y="896"/>
                      </a:lnTo>
                      <a:lnTo>
                        <a:pt x="2288" y="896"/>
                      </a:lnTo>
                      <a:lnTo>
                        <a:pt x="2288" y="902"/>
                      </a:lnTo>
                      <a:lnTo>
                        <a:pt x="2294" y="902"/>
                      </a:lnTo>
                      <a:lnTo>
                        <a:pt x="2294" y="904"/>
                      </a:lnTo>
                      <a:lnTo>
                        <a:pt x="2300" y="904"/>
                      </a:lnTo>
                      <a:lnTo>
                        <a:pt x="2302" y="911"/>
                      </a:lnTo>
                      <a:lnTo>
                        <a:pt x="2308" y="904"/>
                      </a:lnTo>
                      <a:lnTo>
                        <a:pt x="2313" y="904"/>
                      </a:lnTo>
                      <a:lnTo>
                        <a:pt x="2316" y="904"/>
                      </a:lnTo>
                      <a:lnTo>
                        <a:pt x="2318" y="908"/>
                      </a:lnTo>
                      <a:lnTo>
                        <a:pt x="2321" y="908"/>
                      </a:lnTo>
                      <a:lnTo>
                        <a:pt x="2321" y="904"/>
                      </a:lnTo>
                      <a:lnTo>
                        <a:pt x="2324" y="904"/>
                      </a:lnTo>
                      <a:lnTo>
                        <a:pt x="2338" y="902"/>
                      </a:lnTo>
                      <a:lnTo>
                        <a:pt x="2344" y="904"/>
                      </a:lnTo>
                      <a:lnTo>
                        <a:pt x="2346" y="904"/>
                      </a:lnTo>
                      <a:lnTo>
                        <a:pt x="2341" y="899"/>
                      </a:lnTo>
                      <a:lnTo>
                        <a:pt x="2344" y="896"/>
                      </a:lnTo>
                      <a:lnTo>
                        <a:pt x="2349" y="902"/>
                      </a:lnTo>
                      <a:lnTo>
                        <a:pt x="2354" y="896"/>
                      </a:lnTo>
                      <a:lnTo>
                        <a:pt x="2357" y="899"/>
                      </a:lnTo>
                      <a:lnTo>
                        <a:pt x="2360" y="904"/>
                      </a:lnTo>
                      <a:lnTo>
                        <a:pt x="2366" y="904"/>
                      </a:lnTo>
                      <a:lnTo>
                        <a:pt x="2371" y="908"/>
                      </a:lnTo>
                      <a:lnTo>
                        <a:pt x="2374" y="916"/>
                      </a:lnTo>
                      <a:lnTo>
                        <a:pt x="2379" y="913"/>
                      </a:lnTo>
                      <a:lnTo>
                        <a:pt x="2382" y="908"/>
                      </a:lnTo>
                      <a:lnTo>
                        <a:pt x="2385" y="908"/>
                      </a:lnTo>
                      <a:lnTo>
                        <a:pt x="2385" y="913"/>
                      </a:lnTo>
                      <a:lnTo>
                        <a:pt x="2387" y="913"/>
                      </a:lnTo>
                      <a:lnTo>
                        <a:pt x="2393" y="911"/>
                      </a:lnTo>
                      <a:lnTo>
                        <a:pt x="2405" y="908"/>
                      </a:lnTo>
                      <a:lnTo>
                        <a:pt x="2407" y="911"/>
                      </a:lnTo>
                      <a:lnTo>
                        <a:pt x="2410" y="913"/>
                      </a:lnTo>
                      <a:lnTo>
                        <a:pt x="2410" y="908"/>
                      </a:lnTo>
                      <a:lnTo>
                        <a:pt x="2410" y="904"/>
                      </a:lnTo>
                      <a:lnTo>
                        <a:pt x="2410" y="902"/>
                      </a:lnTo>
                      <a:lnTo>
                        <a:pt x="2415" y="904"/>
                      </a:lnTo>
                      <a:lnTo>
                        <a:pt x="2418" y="908"/>
                      </a:lnTo>
                      <a:lnTo>
                        <a:pt x="2415" y="911"/>
                      </a:lnTo>
                      <a:lnTo>
                        <a:pt x="2418" y="911"/>
                      </a:lnTo>
                      <a:lnTo>
                        <a:pt x="2415" y="913"/>
                      </a:lnTo>
                      <a:lnTo>
                        <a:pt x="2418" y="916"/>
                      </a:lnTo>
                      <a:lnTo>
                        <a:pt x="2415" y="916"/>
                      </a:lnTo>
                      <a:lnTo>
                        <a:pt x="2421" y="919"/>
                      </a:lnTo>
                      <a:lnTo>
                        <a:pt x="2423" y="913"/>
                      </a:lnTo>
                      <a:lnTo>
                        <a:pt x="2429" y="911"/>
                      </a:lnTo>
                      <a:lnTo>
                        <a:pt x="2429" y="908"/>
                      </a:lnTo>
                      <a:lnTo>
                        <a:pt x="2435" y="908"/>
                      </a:lnTo>
                      <a:lnTo>
                        <a:pt x="2440" y="902"/>
                      </a:lnTo>
                      <a:lnTo>
                        <a:pt x="2443" y="904"/>
                      </a:lnTo>
                      <a:lnTo>
                        <a:pt x="2446" y="902"/>
                      </a:lnTo>
                      <a:lnTo>
                        <a:pt x="2448" y="904"/>
                      </a:lnTo>
                      <a:lnTo>
                        <a:pt x="2451" y="908"/>
                      </a:lnTo>
                      <a:lnTo>
                        <a:pt x="2454" y="904"/>
                      </a:lnTo>
                      <a:lnTo>
                        <a:pt x="2456" y="911"/>
                      </a:lnTo>
                      <a:lnTo>
                        <a:pt x="2459" y="913"/>
                      </a:lnTo>
                      <a:lnTo>
                        <a:pt x="2459" y="916"/>
                      </a:lnTo>
                      <a:lnTo>
                        <a:pt x="2462" y="921"/>
                      </a:lnTo>
                      <a:lnTo>
                        <a:pt x="2468" y="921"/>
                      </a:lnTo>
                      <a:lnTo>
                        <a:pt x="2468" y="924"/>
                      </a:lnTo>
                      <a:lnTo>
                        <a:pt x="2471" y="924"/>
                      </a:lnTo>
                      <a:lnTo>
                        <a:pt x="2471" y="927"/>
                      </a:lnTo>
                      <a:lnTo>
                        <a:pt x="2474" y="927"/>
                      </a:lnTo>
                      <a:lnTo>
                        <a:pt x="2476" y="929"/>
                      </a:lnTo>
                      <a:lnTo>
                        <a:pt x="2476" y="932"/>
                      </a:lnTo>
                      <a:lnTo>
                        <a:pt x="2479" y="932"/>
                      </a:lnTo>
                      <a:lnTo>
                        <a:pt x="2484" y="932"/>
                      </a:lnTo>
                      <a:lnTo>
                        <a:pt x="2484" y="929"/>
                      </a:lnTo>
                      <a:lnTo>
                        <a:pt x="2487" y="932"/>
                      </a:lnTo>
                      <a:lnTo>
                        <a:pt x="2487" y="935"/>
                      </a:lnTo>
                      <a:lnTo>
                        <a:pt x="2484" y="937"/>
                      </a:lnTo>
                      <a:lnTo>
                        <a:pt x="2484" y="944"/>
                      </a:lnTo>
                      <a:lnTo>
                        <a:pt x="2482" y="944"/>
                      </a:lnTo>
                      <a:lnTo>
                        <a:pt x="2482" y="949"/>
                      </a:lnTo>
                      <a:lnTo>
                        <a:pt x="2476" y="952"/>
                      </a:lnTo>
                      <a:lnTo>
                        <a:pt x="2474" y="955"/>
                      </a:lnTo>
                      <a:lnTo>
                        <a:pt x="2464" y="960"/>
                      </a:lnTo>
                      <a:lnTo>
                        <a:pt x="2464" y="965"/>
                      </a:lnTo>
                      <a:lnTo>
                        <a:pt x="2464" y="968"/>
                      </a:lnTo>
                      <a:lnTo>
                        <a:pt x="2462" y="971"/>
                      </a:lnTo>
                      <a:lnTo>
                        <a:pt x="2459" y="977"/>
                      </a:lnTo>
                      <a:lnTo>
                        <a:pt x="2462" y="982"/>
                      </a:lnTo>
                      <a:lnTo>
                        <a:pt x="2459" y="985"/>
                      </a:lnTo>
                      <a:lnTo>
                        <a:pt x="2468" y="985"/>
                      </a:lnTo>
                      <a:lnTo>
                        <a:pt x="2468" y="988"/>
                      </a:lnTo>
                      <a:lnTo>
                        <a:pt x="2468" y="990"/>
                      </a:lnTo>
                      <a:lnTo>
                        <a:pt x="2464" y="993"/>
                      </a:lnTo>
                      <a:lnTo>
                        <a:pt x="2462" y="996"/>
                      </a:lnTo>
                      <a:lnTo>
                        <a:pt x="2464" y="996"/>
                      </a:lnTo>
                      <a:lnTo>
                        <a:pt x="2462" y="1001"/>
                      </a:lnTo>
                      <a:lnTo>
                        <a:pt x="2462" y="998"/>
                      </a:lnTo>
                      <a:lnTo>
                        <a:pt x="2459" y="998"/>
                      </a:lnTo>
                      <a:lnTo>
                        <a:pt x="2459" y="1001"/>
                      </a:lnTo>
                      <a:lnTo>
                        <a:pt x="2459" y="1006"/>
                      </a:lnTo>
                      <a:lnTo>
                        <a:pt x="2459" y="1009"/>
                      </a:lnTo>
                      <a:lnTo>
                        <a:pt x="2459" y="1013"/>
                      </a:lnTo>
                      <a:lnTo>
                        <a:pt x="2462" y="1016"/>
                      </a:lnTo>
                      <a:lnTo>
                        <a:pt x="2459" y="1018"/>
                      </a:lnTo>
                      <a:lnTo>
                        <a:pt x="2462" y="1021"/>
                      </a:lnTo>
                      <a:lnTo>
                        <a:pt x="2459" y="1024"/>
                      </a:lnTo>
                      <a:lnTo>
                        <a:pt x="2459" y="1026"/>
                      </a:lnTo>
                      <a:lnTo>
                        <a:pt x="2459" y="1029"/>
                      </a:lnTo>
                      <a:lnTo>
                        <a:pt x="2456" y="1034"/>
                      </a:lnTo>
                      <a:lnTo>
                        <a:pt x="2451" y="1037"/>
                      </a:lnTo>
                      <a:lnTo>
                        <a:pt x="2451" y="1040"/>
                      </a:lnTo>
                      <a:lnTo>
                        <a:pt x="2448" y="1040"/>
                      </a:lnTo>
                      <a:lnTo>
                        <a:pt x="2448" y="1042"/>
                      </a:lnTo>
                      <a:lnTo>
                        <a:pt x="2448" y="1045"/>
                      </a:lnTo>
                      <a:lnTo>
                        <a:pt x="2448" y="1049"/>
                      </a:lnTo>
                      <a:lnTo>
                        <a:pt x="2448" y="1051"/>
                      </a:lnTo>
                      <a:lnTo>
                        <a:pt x="2451" y="1051"/>
                      </a:lnTo>
                      <a:lnTo>
                        <a:pt x="2451" y="1054"/>
                      </a:lnTo>
                      <a:lnTo>
                        <a:pt x="2454" y="1057"/>
                      </a:lnTo>
                      <a:lnTo>
                        <a:pt x="2454" y="1062"/>
                      </a:lnTo>
                      <a:lnTo>
                        <a:pt x="2459" y="1062"/>
                      </a:lnTo>
                      <a:lnTo>
                        <a:pt x="2459" y="1065"/>
                      </a:lnTo>
                      <a:lnTo>
                        <a:pt x="2462" y="1067"/>
                      </a:lnTo>
                      <a:lnTo>
                        <a:pt x="2462" y="1073"/>
                      </a:lnTo>
                      <a:lnTo>
                        <a:pt x="2464" y="1075"/>
                      </a:lnTo>
                      <a:lnTo>
                        <a:pt x="2468" y="1078"/>
                      </a:lnTo>
                      <a:lnTo>
                        <a:pt x="2474" y="1084"/>
                      </a:lnTo>
                      <a:lnTo>
                        <a:pt x="2476" y="1084"/>
                      </a:lnTo>
                      <a:lnTo>
                        <a:pt x="2479" y="1078"/>
                      </a:lnTo>
                      <a:lnTo>
                        <a:pt x="2482" y="1075"/>
                      </a:lnTo>
                      <a:lnTo>
                        <a:pt x="2487" y="1067"/>
                      </a:lnTo>
                      <a:lnTo>
                        <a:pt x="2490" y="1065"/>
                      </a:lnTo>
                      <a:lnTo>
                        <a:pt x="2495" y="1065"/>
                      </a:lnTo>
                      <a:lnTo>
                        <a:pt x="2495" y="1059"/>
                      </a:lnTo>
                      <a:lnTo>
                        <a:pt x="2498" y="1049"/>
                      </a:lnTo>
                      <a:lnTo>
                        <a:pt x="2515" y="1037"/>
                      </a:lnTo>
                      <a:lnTo>
                        <a:pt x="2520" y="1037"/>
                      </a:lnTo>
                      <a:lnTo>
                        <a:pt x="2523" y="1034"/>
                      </a:lnTo>
                      <a:lnTo>
                        <a:pt x="2531" y="1037"/>
                      </a:lnTo>
                      <a:lnTo>
                        <a:pt x="2537" y="1040"/>
                      </a:lnTo>
                      <a:lnTo>
                        <a:pt x="2537" y="1042"/>
                      </a:lnTo>
                      <a:lnTo>
                        <a:pt x="2540" y="1042"/>
                      </a:lnTo>
                      <a:lnTo>
                        <a:pt x="2548" y="1051"/>
                      </a:lnTo>
                      <a:lnTo>
                        <a:pt x="2548" y="1054"/>
                      </a:lnTo>
                      <a:lnTo>
                        <a:pt x="2548" y="1057"/>
                      </a:lnTo>
                      <a:lnTo>
                        <a:pt x="2553" y="1057"/>
                      </a:lnTo>
                      <a:lnTo>
                        <a:pt x="2553" y="1059"/>
                      </a:lnTo>
                      <a:lnTo>
                        <a:pt x="2556" y="1057"/>
                      </a:lnTo>
                      <a:lnTo>
                        <a:pt x="2559" y="1057"/>
                      </a:lnTo>
                      <a:lnTo>
                        <a:pt x="2559" y="1065"/>
                      </a:lnTo>
                      <a:lnTo>
                        <a:pt x="2556" y="1065"/>
                      </a:lnTo>
                      <a:lnTo>
                        <a:pt x="2556" y="1070"/>
                      </a:lnTo>
                      <a:lnTo>
                        <a:pt x="2561" y="1065"/>
                      </a:lnTo>
                      <a:lnTo>
                        <a:pt x="2564" y="1059"/>
                      </a:lnTo>
                      <a:lnTo>
                        <a:pt x="2570" y="1054"/>
                      </a:lnTo>
                      <a:lnTo>
                        <a:pt x="2570" y="1051"/>
                      </a:lnTo>
                      <a:lnTo>
                        <a:pt x="2573" y="1051"/>
                      </a:lnTo>
                      <a:lnTo>
                        <a:pt x="2576" y="1057"/>
                      </a:lnTo>
                      <a:lnTo>
                        <a:pt x="2578" y="1057"/>
                      </a:lnTo>
                      <a:lnTo>
                        <a:pt x="2578" y="1051"/>
                      </a:lnTo>
                      <a:lnTo>
                        <a:pt x="2578" y="1049"/>
                      </a:lnTo>
                      <a:lnTo>
                        <a:pt x="2581" y="1045"/>
                      </a:lnTo>
                      <a:lnTo>
                        <a:pt x="2581" y="1042"/>
                      </a:lnTo>
                      <a:lnTo>
                        <a:pt x="2581" y="1040"/>
                      </a:lnTo>
                      <a:lnTo>
                        <a:pt x="2584" y="1040"/>
                      </a:lnTo>
                      <a:lnTo>
                        <a:pt x="2586" y="1040"/>
                      </a:lnTo>
                      <a:lnTo>
                        <a:pt x="2586" y="1037"/>
                      </a:lnTo>
                      <a:lnTo>
                        <a:pt x="2586" y="1034"/>
                      </a:lnTo>
                      <a:lnTo>
                        <a:pt x="2589" y="1032"/>
                      </a:lnTo>
                      <a:lnTo>
                        <a:pt x="2592" y="1037"/>
                      </a:lnTo>
                      <a:lnTo>
                        <a:pt x="2595" y="1040"/>
                      </a:lnTo>
                      <a:lnTo>
                        <a:pt x="2597" y="1042"/>
                      </a:lnTo>
                      <a:lnTo>
                        <a:pt x="2597" y="1045"/>
                      </a:lnTo>
                      <a:lnTo>
                        <a:pt x="2600" y="1045"/>
                      </a:lnTo>
                      <a:lnTo>
                        <a:pt x="2597" y="1049"/>
                      </a:lnTo>
                      <a:lnTo>
                        <a:pt x="2597" y="1051"/>
                      </a:lnTo>
                      <a:lnTo>
                        <a:pt x="2604" y="1054"/>
                      </a:lnTo>
                      <a:lnTo>
                        <a:pt x="2606" y="1054"/>
                      </a:lnTo>
                      <a:lnTo>
                        <a:pt x="2606" y="1057"/>
                      </a:lnTo>
                      <a:lnTo>
                        <a:pt x="2604" y="1059"/>
                      </a:lnTo>
                      <a:lnTo>
                        <a:pt x="2606" y="1067"/>
                      </a:lnTo>
                      <a:lnTo>
                        <a:pt x="2604" y="1073"/>
                      </a:lnTo>
                      <a:lnTo>
                        <a:pt x="2606" y="1075"/>
                      </a:lnTo>
                      <a:lnTo>
                        <a:pt x="2606" y="1078"/>
                      </a:lnTo>
                      <a:lnTo>
                        <a:pt x="2612" y="1087"/>
                      </a:lnTo>
                      <a:lnTo>
                        <a:pt x="2612" y="1090"/>
                      </a:lnTo>
                      <a:lnTo>
                        <a:pt x="2617" y="1095"/>
                      </a:lnTo>
                      <a:lnTo>
                        <a:pt x="2617" y="1098"/>
                      </a:lnTo>
                      <a:lnTo>
                        <a:pt x="2622" y="1101"/>
                      </a:lnTo>
                      <a:lnTo>
                        <a:pt x="2628" y="1103"/>
                      </a:lnTo>
                      <a:lnTo>
                        <a:pt x="2625" y="1106"/>
                      </a:lnTo>
                      <a:lnTo>
                        <a:pt x="2622" y="1106"/>
                      </a:lnTo>
                      <a:lnTo>
                        <a:pt x="2622" y="1111"/>
                      </a:lnTo>
                      <a:lnTo>
                        <a:pt x="2620" y="1118"/>
                      </a:lnTo>
                      <a:lnTo>
                        <a:pt x="2612" y="1120"/>
                      </a:lnTo>
                      <a:lnTo>
                        <a:pt x="2614" y="1126"/>
                      </a:lnTo>
                      <a:lnTo>
                        <a:pt x="2620" y="1128"/>
                      </a:lnTo>
                      <a:lnTo>
                        <a:pt x="2625" y="1128"/>
                      </a:lnTo>
                      <a:lnTo>
                        <a:pt x="2628" y="1134"/>
                      </a:lnTo>
                      <a:lnTo>
                        <a:pt x="2630" y="1136"/>
                      </a:lnTo>
                      <a:lnTo>
                        <a:pt x="2645" y="1147"/>
                      </a:lnTo>
                      <a:lnTo>
                        <a:pt x="2650" y="1145"/>
                      </a:lnTo>
                      <a:lnTo>
                        <a:pt x="2655" y="1142"/>
                      </a:lnTo>
                      <a:lnTo>
                        <a:pt x="2658" y="1145"/>
                      </a:lnTo>
                      <a:lnTo>
                        <a:pt x="2661" y="1142"/>
                      </a:lnTo>
                      <a:lnTo>
                        <a:pt x="2666" y="1142"/>
                      </a:lnTo>
                      <a:lnTo>
                        <a:pt x="2666" y="1139"/>
                      </a:lnTo>
                      <a:lnTo>
                        <a:pt x="2666" y="1136"/>
                      </a:lnTo>
                      <a:lnTo>
                        <a:pt x="2666" y="1134"/>
                      </a:lnTo>
                      <a:lnTo>
                        <a:pt x="2673" y="1136"/>
                      </a:lnTo>
                      <a:lnTo>
                        <a:pt x="2675" y="1134"/>
                      </a:lnTo>
                      <a:lnTo>
                        <a:pt x="2678" y="1134"/>
                      </a:lnTo>
                      <a:lnTo>
                        <a:pt x="2681" y="1134"/>
                      </a:lnTo>
                      <a:lnTo>
                        <a:pt x="2678" y="1136"/>
                      </a:lnTo>
                      <a:lnTo>
                        <a:pt x="2681" y="1139"/>
                      </a:lnTo>
                      <a:lnTo>
                        <a:pt x="2655" y="1162"/>
                      </a:lnTo>
                      <a:lnTo>
                        <a:pt x="2650" y="1167"/>
                      </a:lnTo>
                      <a:lnTo>
                        <a:pt x="2650" y="1172"/>
                      </a:lnTo>
                      <a:lnTo>
                        <a:pt x="2653" y="1172"/>
                      </a:lnTo>
                      <a:lnTo>
                        <a:pt x="2650" y="1175"/>
                      </a:lnTo>
                      <a:lnTo>
                        <a:pt x="2637" y="1187"/>
                      </a:lnTo>
                      <a:lnTo>
                        <a:pt x="2628" y="1195"/>
                      </a:lnTo>
                      <a:lnTo>
                        <a:pt x="2617" y="1211"/>
                      </a:lnTo>
                      <a:lnTo>
                        <a:pt x="2609" y="1223"/>
                      </a:lnTo>
                      <a:lnTo>
                        <a:pt x="2606" y="1236"/>
                      </a:lnTo>
                      <a:lnTo>
                        <a:pt x="2604" y="1239"/>
                      </a:lnTo>
                      <a:lnTo>
                        <a:pt x="2597" y="1239"/>
                      </a:lnTo>
                      <a:lnTo>
                        <a:pt x="2586" y="1241"/>
                      </a:lnTo>
                      <a:lnTo>
                        <a:pt x="2576" y="1247"/>
                      </a:lnTo>
                      <a:lnTo>
                        <a:pt x="2564" y="1249"/>
                      </a:lnTo>
                      <a:lnTo>
                        <a:pt x="2578" y="1258"/>
                      </a:lnTo>
                      <a:lnTo>
                        <a:pt x="2573" y="1272"/>
                      </a:lnTo>
                      <a:lnTo>
                        <a:pt x="2570" y="1272"/>
                      </a:lnTo>
                      <a:lnTo>
                        <a:pt x="2570" y="1277"/>
                      </a:lnTo>
                      <a:lnTo>
                        <a:pt x="2570" y="1280"/>
                      </a:lnTo>
                      <a:lnTo>
                        <a:pt x="2567" y="1280"/>
                      </a:lnTo>
                      <a:lnTo>
                        <a:pt x="2564" y="1283"/>
                      </a:lnTo>
                      <a:lnTo>
                        <a:pt x="2561" y="1288"/>
                      </a:lnTo>
                      <a:lnTo>
                        <a:pt x="2545" y="1288"/>
                      </a:lnTo>
                      <a:lnTo>
                        <a:pt x="2537" y="1292"/>
                      </a:lnTo>
                      <a:lnTo>
                        <a:pt x="2523" y="1302"/>
                      </a:lnTo>
                      <a:lnTo>
                        <a:pt x="2512" y="1316"/>
                      </a:lnTo>
                      <a:lnTo>
                        <a:pt x="2498" y="1341"/>
                      </a:lnTo>
                      <a:lnTo>
                        <a:pt x="2476" y="1377"/>
                      </a:lnTo>
                      <a:lnTo>
                        <a:pt x="2474" y="1393"/>
                      </a:lnTo>
                      <a:lnTo>
                        <a:pt x="2474" y="1399"/>
                      </a:lnTo>
                      <a:lnTo>
                        <a:pt x="2471" y="1396"/>
                      </a:lnTo>
                      <a:lnTo>
                        <a:pt x="2468" y="1399"/>
                      </a:lnTo>
                      <a:lnTo>
                        <a:pt x="2462" y="1402"/>
                      </a:lnTo>
                      <a:lnTo>
                        <a:pt x="2462" y="1404"/>
                      </a:lnTo>
                      <a:lnTo>
                        <a:pt x="2462" y="1407"/>
                      </a:lnTo>
                      <a:lnTo>
                        <a:pt x="2459" y="1412"/>
                      </a:lnTo>
                      <a:lnTo>
                        <a:pt x="2462" y="1415"/>
                      </a:lnTo>
                      <a:lnTo>
                        <a:pt x="2456" y="1426"/>
                      </a:lnTo>
                      <a:lnTo>
                        <a:pt x="2451" y="1446"/>
                      </a:lnTo>
                      <a:lnTo>
                        <a:pt x="2448" y="1448"/>
                      </a:lnTo>
                      <a:lnTo>
                        <a:pt x="2451" y="1451"/>
                      </a:lnTo>
                      <a:lnTo>
                        <a:pt x="2448" y="1451"/>
                      </a:lnTo>
                      <a:lnTo>
                        <a:pt x="2446" y="1454"/>
                      </a:lnTo>
                      <a:lnTo>
                        <a:pt x="2443" y="1451"/>
                      </a:lnTo>
                      <a:lnTo>
                        <a:pt x="2443" y="1454"/>
                      </a:lnTo>
                      <a:lnTo>
                        <a:pt x="2440" y="1454"/>
                      </a:lnTo>
                      <a:lnTo>
                        <a:pt x="2438" y="1454"/>
                      </a:lnTo>
                      <a:lnTo>
                        <a:pt x="2438" y="1451"/>
                      </a:lnTo>
                      <a:lnTo>
                        <a:pt x="2435" y="1451"/>
                      </a:lnTo>
                      <a:lnTo>
                        <a:pt x="2435" y="1448"/>
                      </a:lnTo>
                      <a:lnTo>
                        <a:pt x="2432" y="1446"/>
                      </a:lnTo>
                      <a:lnTo>
                        <a:pt x="2429" y="1443"/>
                      </a:lnTo>
                      <a:lnTo>
                        <a:pt x="2421" y="1448"/>
                      </a:lnTo>
                      <a:lnTo>
                        <a:pt x="2421" y="1451"/>
                      </a:lnTo>
                      <a:lnTo>
                        <a:pt x="2418" y="1451"/>
                      </a:lnTo>
                      <a:lnTo>
                        <a:pt x="2415" y="1451"/>
                      </a:lnTo>
                      <a:lnTo>
                        <a:pt x="2415" y="1454"/>
                      </a:lnTo>
                      <a:lnTo>
                        <a:pt x="2402" y="1454"/>
                      </a:lnTo>
                      <a:lnTo>
                        <a:pt x="2357" y="1454"/>
                      </a:lnTo>
                      <a:lnTo>
                        <a:pt x="2300" y="1454"/>
                      </a:lnTo>
                      <a:lnTo>
                        <a:pt x="2305" y="1456"/>
                      </a:lnTo>
                      <a:lnTo>
                        <a:pt x="2302" y="1456"/>
                      </a:lnTo>
                      <a:lnTo>
                        <a:pt x="2300" y="1456"/>
                      </a:lnTo>
                      <a:lnTo>
                        <a:pt x="2300" y="1454"/>
                      </a:lnTo>
                      <a:lnTo>
                        <a:pt x="2297" y="1454"/>
                      </a:lnTo>
                      <a:lnTo>
                        <a:pt x="2294" y="1456"/>
                      </a:lnTo>
                      <a:lnTo>
                        <a:pt x="2291" y="1459"/>
                      </a:lnTo>
                      <a:lnTo>
                        <a:pt x="2291" y="1462"/>
                      </a:lnTo>
                      <a:lnTo>
                        <a:pt x="2288" y="1462"/>
                      </a:lnTo>
                      <a:lnTo>
                        <a:pt x="2285" y="1464"/>
                      </a:lnTo>
                      <a:lnTo>
                        <a:pt x="2283" y="1464"/>
                      </a:lnTo>
                      <a:lnTo>
                        <a:pt x="2283" y="1468"/>
                      </a:lnTo>
                      <a:lnTo>
                        <a:pt x="2277" y="1468"/>
                      </a:lnTo>
                      <a:lnTo>
                        <a:pt x="2275" y="1468"/>
                      </a:lnTo>
                      <a:lnTo>
                        <a:pt x="2272" y="1462"/>
                      </a:lnTo>
                      <a:lnTo>
                        <a:pt x="2269" y="1462"/>
                      </a:lnTo>
                      <a:lnTo>
                        <a:pt x="2267" y="1468"/>
                      </a:lnTo>
                      <a:lnTo>
                        <a:pt x="2264" y="1468"/>
                      </a:lnTo>
                      <a:lnTo>
                        <a:pt x="2261" y="1471"/>
                      </a:lnTo>
                      <a:lnTo>
                        <a:pt x="2255" y="1464"/>
                      </a:lnTo>
                      <a:lnTo>
                        <a:pt x="2255" y="1459"/>
                      </a:lnTo>
                      <a:lnTo>
                        <a:pt x="2252" y="1462"/>
                      </a:lnTo>
                      <a:lnTo>
                        <a:pt x="2247" y="1462"/>
                      </a:lnTo>
                      <a:lnTo>
                        <a:pt x="2247" y="1464"/>
                      </a:lnTo>
                      <a:lnTo>
                        <a:pt x="2244" y="1464"/>
                      </a:lnTo>
                      <a:lnTo>
                        <a:pt x="2241" y="1459"/>
                      </a:lnTo>
                      <a:lnTo>
                        <a:pt x="2239" y="1462"/>
                      </a:lnTo>
                      <a:lnTo>
                        <a:pt x="2233" y="1459"/>
                      </a:lnTo>
                      <a:lnTo>
                        <a:pt x="2231" y="1462"/>
                      </a:lnTo>
                      <a:lnTo>
                        <a:pt x="2233" y="1462"/>
                      </a:lnTo>
                      <a:lnTo>
                        <a:pt x="2231" y="1462"/>
                      </a:lnTo>
                      <a:lnTo>
                        <a:pt x="2228" y="1468"/>
                      </a:lnTo>
                      <a:lnTo>
                        <a:pt x="2228" y="1464"/>
                      </a:lnTo>
                      <a:lnTo>
                        <a:pt x="2225" y="1464"/>
                      </a:lnTo>
                      <a:lnTo>
                        <a:pt x="2225" y="1468"/>
                      </a:lnTo>
                      <a:lnTo>
                        <a:pt x="2222" y="1464"/>
                      </a:lnTo>
                      <a:lnTo>
                        <a:pt x="2219" y="1464"/>
                      </a:lnTo>
                      <a:lnTo>
                        <a:pt x="2216" y="1462"/>
                      </a:lnTo>
                      <a:lnTo>
                        <a:pt x="2214" y="1462"/>
                      </a:lnTo>
                      <a:lnTo>
                        <a:pt x="2211" y="1464"/>
                      </a:lnTo>
                      <a:lnTo>
                        <a:pt x="2206" y="1464"/>
                      </a:lnTo>
                      <a:lnTo>
                        <a:pt x="2206" y="1468"/>
                      </a:lnTo>
                      <a:lnTo>
                        <a:pt x="2200" y="1468"/>
                      </a:lnTo>
                      <a:lnTo>
                        <a:pt x="2198" y="1471"/>
                      </a:lnTo>
                      <a:lnTo>
                        <a:pt x="2192" y="1473"/>
                      </a:lnTo>
                      <a:lnTo>
                        <a:pt x="2189" y="1473"/>
                      </a:lnTo>
                      <a:lnTo>
                        <a:pt x="2186" y="1473"/>
                      </a:lnTo>
                      <a:lnTo>
                        <a:pt x="2189" y="1476"/>
                      </a:lnTo>
                      <a:lnTo>
                        <a:pt x="2186" y="1479"/>
                      </a:lnTo>
                      <a:lnTo>
                        <a:pt x="2181" y="1481"/>
                      </a:lnTo>
                      <a:lnTo>
                        <a:pt x="2181" y="1484"/>
                      </a:lnTo>
                      <a:lnTo>
                        <a:pt x="2181" y="1487"/>
                      </a:lnTo>
                      <a:lnTo>
                        <a:pt x="2181" y="1489"/>
                      </a:lnTo>
                      <a:lnTo>
                        <a:pt x="2175" y="1489"/>
                      </a:lnTo>
                      <a:lnTo>
                        <a:pt x="2178" y="1489"/>
                      </a:lnTo>
                      <a:lnTo>
                        <a:pt x="2175" y="1492"/>
                      </a:lnTo>
                      <a:lnTo>
                        <a:pt x="2175" y="1495"/>
                      </a:lnTo>
                      <a:lnTo>
                        <a:pt x="2172" y="1492"/>
                      </a:lnTo>
                      <a:lnTo>
                        <a:pt x="2172" y="1495"/>
                      </a:lnTo>
                      <a:lnTo>
                        <a:pt x="2170" y="1492"/>
                      </a:lnTo>
                      <a:lnTo>
                        <a:pt x="2167" y="1492"/>
                      </a:lnTo>
                      <a:lnTo>
                        <a:pt x="2164" y="1495"/>
                      </a:lnTo>
                      <a:lnTo>
                        <a:pt x="2164" y="1497"/>
                      </a:lnTo>
                      <a:lnTo>
                        <a:pt x="2167" y="1501"/>
                      </a:lnTo>
                      <a:lnTo>
                        <a:pt x="2164" y="1501"/>
                      </a:lnTo>
                      <a:lnTo>
                        <a:pt x="2167" y="1501"/>
                      </a:lnTo>
                      <a:lnTo>
                        <a:pt x="2167" y="1504"/>
                      </a:lnTo>
                      <a:lnTo>
                        <a:pt x="2162" y="1504"/>
                      </a:lnTo>
                      <a:lnTo>
                        <a:pt x="2164" y="1507"/>
                      </a:lnTo>
                      <a:lnTo>
                        <a:pt x="2162" y="1509"/>
                      </a:lnTo>
                      <a:lnTo>
                        <a:pt x="2162" y="1507"/>
                      </a:lnTo>
                      <a:lnTo>
                        <a:pt x="2159" y="1507"/>
                      </a:lnTo>
                      <a:lnTo>
                        <a:pt x="2156" y="1507"/>
                      </a:lnTo>
                      <a:lnTo>
                        <a:pt x="2147" y="1512"/>
                      </a:lnTo>
                      <a:lnTo>
                        <a:pt x="2145" y="1515"/>
                      </a:lnTo>
                      <a:lnTo>
                        <a:pt x="2142" y="1515"/>
                      </a:lnTo>
                      <a:lnTo>
                        <a:pt x="2142" y="1517"/>
                      </a:lnTo>
                      <a:lnTo>
                        <a:pt x="2139" y="1517"/>
                      </a:lnTo>
                      <a:lnTo>
                        <a:pt x="2139" y="1520"/>
                      </a:lnTo>
                      <a:lnTo>
                        <a:pt x="2137" y="1517"/>
                      </a:lnTo>
                      <a:lnTo>
                        <a:pt x="2139" y="1520"/>
                      </a:lnTo>
                      <a:lnTo>
                        <a:pt x="2137" y="1520"/>
                      </a:lnTo>
                      <a:lnTo>
                        <a:pt x="2137" y="1523"/>
                      </a:lnTo>
                      <a:lnTo>
                        <a:pt x="2134" y="1523"/>
                      </a:lnTo>
                      <a:lnTo>
                        <a:pt x="2134" y="1525"/>
                      </a:lnTo>
                      <a:lnTo>
                        <a:pt x="2129" y="1525"/>
                      </a:lnTo>
                      <a:lnTo>
                        <a:pt x="2126" y="1525"/>
                      </a:lnTo>
                      <a:lnTo>
                        <a:pt x="2126" y="1528"/>
                      </a:lnTo>
                      <a:lnTo>
                        <a:pt x="2123" y="1525"/>
                      </a:lnTo>
                      <a:lnTo>
                        <a:pt x="2123" y="1523"/>
                      </a:lnTo>
                      <a:lnTo>
                        <a:pt x="2120" y="1528"/>
                      </a:lnTo>
                      <a:lnTo>
                        <a:pt x="2114" y="1525"/>
                      </a:lnTo>
                      <a:lnTo>
                        <a:pt x="2114" y="1531"/>
                      </a:lnTo>
                      <a:lnTo>
                        <a:pt x="2114" y="1528"/>
                      </a:lnTo>
                      <a:lnTo>
                        <a:pt x="2112" y="1531"/>
                      </a:lnTo>
                      <a:lnTo>
                        <a:pt x="2109" y="1531"/>
                      </a:lnTo>
                      <a:lnTo>
                        <a:pt x="2106" y="1533"/>
                      </a:lnTo>
                      <a:lnTo>
                        <a:pt x="2106" y="1528"/>
                      </a:lnTo>
                      <a:lnTo>
                        <a:pt x="2103" y="1528"/>
                      </a:lnTo>
                      <a:lnTo>
                        <a:pt x="2098" y="1528"/>
                      </a:lnTo>
                      <a:lnTo>
                        <a:pt x="2095" y="1533"/>
                      </a:lnTo>
                      <a:lnTo>
                        <a:pt x="2090" y="1540"/>
                      </a:lnTo>
                      <a:lnTo>
                        <a:pt x="2086" y="1537"/>
                      </a:lnTo>
                      <a:lnTo>
                        <a:pt x="2086" y="1540"/>
                      </a:lnTo>
                      <a:lnTo>
                        <a:pt x="2084" y="1542"/>
                      </a:lnTo>
                      <a:lnTo>
                        <a:pt x="2086" y="1542"/>
                      </a:lnTo>
                      <a:lnTo>
                        <a:pt x="2084" y="1545"/>
                      </a:lnTo>
                      <a:lnTo>
                        <a:pt x="2081" y="1545"/>
                      </a:lnTo>
                      <a:lnTo>
                        <a:pt x="2084" y="1550"/>
                      </a:lnTo>
                      <a:lnTo>
                        <a:pt x="2084" y="1548"/>
                      </a:lnTo>
                      <a:lnTo>
                        <a:pt x="2084" y="1550"/>
                      </a:lnTo>
                      <a:lnTo>
                        <a:pt x="2081" y="1553"/>
                      </a:lnTo>
                      <a:lnTo>
                        <a:pt x="2078" y="1553"/>
                      </a:lnTo>
                      <a:lnTo>
                        <a:pt x="2078" y="1556"/>
                      </a:lnTo>
                      <a:lnTo>
                        <a:pt x="2076" y="1553"/>
                      </a:lnTo>
                      <a:lnTo>
                        <a:pt x="2073" y="1556"/>
                      </a:lnTo>
                      <a:lnTo>
                        <a:pt x="2070" y="1553"/>
                      </a:lnTo>
                      <a:lnTo>
                        <a:pt x="2070" y="1556"/>
                      </a:lnTo>
                      <a:lnTo>
                        <a:pt x="2068" y="1550"/>
                      </a:lnTo>
                      <a:lnTo>
                        <a:pt x="2065" y="1550"/>
                      </a:lnTo>
                      <a:lnTo>
                        <a:pt x="2065" y="1553"/>
                      </a:lnTo>
                      <a:lnTo>
                        <a:pt x="2068" y="1556"/>
                      </a:lnTo>
                      <a:lnTo>
                        <a:pt x="2065" y="1556"/>
                      </a:lnTo>
                      <a:lnTo>
                        <a:pt x="2062" y="1556"/>
                      </a:lnTo>
                      <a:lnTo>
                        <a:pt x="2060" y="1556"/>
                      </a:lnTo>
                      <a:lnTo>
                        <a:pt x="2062" y="1556"/>
                      </a:lnTo>
                      <a:lnTo>
                        <a:pt x="2060" y="1561"/>
                      </a:lnTo>
                      <a:lnTo>
                        <a:pt x="2054" y="1558"/>
                      </a:lnTo>
                      <a:lnTo>
                        <a:pt x="2048" y="1550"/>
                      </a:lnTo>
                      <a:lnTo>
                        <a:pt x="2048" y="1556"/>
                      </a:lnTo>
                      <a:lnTo>
                        <a:pt x="2045" y="1556"/>
                      </a:lnTo>
                      <a:lnTo>
                        <a:pt x="2045" y="1553"/>
                      </a:lnTo>
                      <a:lnTo>
                        <a:pt x="2042" y="1553"/>
                      </a:lnTo>
                      <a:lnTo>
                        <a:pt x="2040" y="1553"/>
                      </a:lnTo>
                      <a:lnTo>
                        <a:pt x="2040" y="1556"/>
                      </a:lnTo>
                      <a:lnTo>
                        <a:pt x="2037" y="1550"/>
                      </a:lnTo>
                      <a:lnTo>
                        <a:pt x="2034" y="1550"/>
                      </a:lnTo>
                      <a:lnTo>
                        <a:pt x="2034" y="1548"/>
                      </a:lnTo>
                      <a:lnTo>
                        <a:pt x="2034" y="1550"/>
                      </a:lnTo>
                      <a:lnTo>
                        <a:pt x="2032" y="1550"/>
                      </a:lnTo>
                      <a:lnTo>
                        <a:pt x="2026" y="1548"/>
                      </a:lnTo>
                      <a:lnTo>
                        <a:pt x="2029" y="1545"/>
                      </a:lnTo>
                      <a:lnTo>
                        <a:pt x="2029" y="1540"/>
                      </a:lnTo>
                      <a:lnTo>
                        <a:pt x="2026" y="1540"/>
                      </a:lnTo>
                      <a:lnTo>
                        <a:pt x="2026" y="1545"/>
                      </a:lnTo>
                      <a:lnTo>
                        <a:pt x="2021" y="1548"/>
                      </a:lnTo>
                      <a:lnTo>
                        <a:pt x="2021" y="1545"/>
                      </a:lnTo>
                      <a:lnTo>
                        <a:pt x="2021" y="1542"/>
                      </a:lnTo>
                      <a:lnTo>
                        <a:pt x="2017" y="1542"/>
                      </a:lnTo>
                      <a:lnTo>
                        <a:pt x="2017" y="1540"/>
                      </a:lnTo>
                      <a:lnTo>
                        <a:pt x="2015" y="1540"/>
                      </a:lnTo>
                      <a:lnTo>
                        <a:pt x="2015" y="1542"/>
                      </a:lnTo>
                      <a:lnTo>
                        <a:pt x="2012" y="1540"/>
                      </a:lnTo>
                      <a:lnTo>
                        <a:pt x="2009" y="1542"/>
                      </a:lnTo>
                      <a:lnTo>
                        <a:pt x="2007" y="1540"/>
                      </a:lnTo>
                      <a:lnTo>
                        <a:pt x="2004" y="1540"/>
                      </a:lnTo>
                      <a:lnTo>
                        <a:pt x="2009" y="1533"/>
                      </a:lnTo>
                      <a:lnTo>
                        <a:pt x="2004" y="1533"/>
                      </a:lnTo>
                      <a:lnTo>
                        <a:pt x="2001" y="1528"/>
                      </a:lnTo>
                      <a:lnTo>
                        <a:pt x="1996" y="1525"/>
                      </a:lnTo>
                      <a:lnTo>
                        <a:pt x="1991" y="1531"/>
                      </a:lnTo>
                      <a:lnTo>
                        <a:pt x="1988" y="1531"/>
                      </a:lnTo>
                      <a:lnTo>
                        <a:pt x="1985" y="1525"/>
                      </a:lnTo>
                      <a:lnTo>
                        <a:pt x="1991" y="1520"/>
                      </a:lnTo>
                      <a:lnTo>
                        <a:pt x="1985" y="1520"/>
                      </a:lnTo>
                      <a:lnTo>
                        <a:pt x="1979" y="1520"/>
                      </a:lnTo>
                      <a:lnTo>
                        <a:pt x="1979" y="1512"/>
                      </a:lnTo>
                      <a:lnTo>
                        <a:pt x="1973" y="1509"/>
                      </a:lnTo>
                      <a:lnTo>
                        <a:pt x="1971" y="1504"/>
                      </a:lnTo>
                      <a:lnTo>
                        <a:pt x="1968" y="1504"/>
                      </a:lnTo>
                      <a:lnTo>
                        <a:pt x="1968" y="1507"/>
                      </a:lnTo>
                      <a:lnTo>
                        <a:pt x="1971" y="1507"/>
                      </a:lnTo>
                      <a:lnTo>
                        <a:pt x="1971" y="1512"/>
                      </a:lnTo>
                      <a:lnTo>
                        <a:pt x="1968" y="1512"/>
                      </a:lnTo>
                      <a:lnTo>
                        <a:pt x="1965" y="1504"/>
                      </a:lnTo>
                      <a:lnTo>
                        <a:pt x="1963" y="1507"/>
                      </a:lnTo>
                      <a:lnTo>
                        <a:pt x="1963" y="1509"/>
                      </a:lnTo>
                      <a:lnTo>
                        <a:pt x="1957" y="1507"/>
                      </a:lnTo>
                      <a:lnTo>
                        <a:pt x="1955" y="1497"/>
                      </a:lnTo>
                      <a:lnTo>
                        <a:pt x="1952" y="1501"/>
                      </a:lnTo>
                      <a:lnTo>
                        <a:pt x="1948" y="1501"/>
                      </a:lnTo>
                      <a:lnTo>
                        <a:pt x="1946" y="1495"/>
                      </a:lnTo>
                      <a:lnTo>
                        <a:pt x="1946" y="1489"/>
                      </a:lnTo>
                      <a:lnTo>
                        <a:pt x="1943" y="1492"/>
                      </a:lnTo>
                      <a:lnTo>
                        <a:pt x="1940" y="1492"/>
                      </a:lnTo>
                      <a:lnTo>
                        <a:pt x="1946" y="1489"/>
                      </a:lnTo>
                      <a:lnTo>
                        <a:pt x="1946" y="1484"/>
                      </a:lnTo>
                      <a:lnTo>
                        <a:pt x="1943" y="1481"/>
                      </a:lnTo>
                      <a:lnTo>
                        <a:pt x="1943" y="1487"/>
                      </a:lnTo>
                      <a:lnTo>
                        <a:pt x="1940" y="1487"/>
                      </a:lnTo>
                      <a:lnTo>
                        <a:pt x="1938" y="1484"/>
                      </a:lnTo>
                      <a:lnTo>
                        <a:pt x="1935" y="1484"/>
                      </a:lnTo>
                      <a:lnTo>
                        <a:pt x="1932" y="1481"/>
                      </a:lnTo>
                      <a:lnTo>
                        <a:pt x="1930" y="1479"/>
                      </a:lnTo>
                      <a:lnTo>
                        <a:pt x="1932" y="1476"/>
                      </a:lnTo>
                      <a:lnTo>
                        <a:pt x="1922" y="1473"/>
                      </a:lnTo>
                      <a:lnTo>
                        <a:pt x="1919" y="1476"/>
                      </a:lnTo>
                      <a:lnTo>
                        <a:pt x="1916" y="1473"/>
                      </a:lnTo>
                      <a:lnTo>
                        <a:pt x="1913" y="1471"/>
                      </a:lnTo>
                      <a:lnTo>
                        <a:pt x="1904" y="1473"/>
                      </a:lnTo>
                      <a:lnTo>
                        <a:pt x="1902" y="1471"/>
                      </a:lnTo>
                      <a:lnTo>
                        <a:pt x="1904" y="1468"/>
                      </a:lnTo>
                      <a:lnTo>
                        <a:pt x="1902" y="1464"/>
                      </a:lnTo>
                      <a:lnTo>
                        <a:pt x="1896" y="1468"/>
                      </a:lnTo>
                      <a:lnTo>
                        <a:pt x="1894" y="1471"/>
                      </a:lnTo>
                      <a:lnTo>
                        <a:pt x="1899" y="1473"/>
                      </a:lnTo>
                      <a:lnTo>
                        <a:pt x="1888" y="1484"/>
                      </a:lnTo>
                      <a:lnTo>
                        <a:pt x="1891" y="1479"/>
                      </a:lnTo>
                      <a:lnTo>
                        <a:pt x="1891" y="1471"/>
                      </a:lnTo>
                      <a:lnTo>
                        <a:pt x="1888" y="1468"/>
                      </a:lnTo>
                      <a:lnTo>
                        <a:pt x="1879" y="1464"/>
                      </a:lnTo>
                      <a:lnTo>
                        <a:pt x="1879" y="1468"/>
                      </a:lnTo>
                      <a:lnTo>
                        <a:pt x="1874" y="1468"/>
                      </a:lnTo>
                      <a:lnTo>
                        <a:pt x="1874" y="1471"/>
                      </a:lnTo>
                      <a:lnTo>
                        <a:pt x="1877" y="1476"/>
                      </a:lnTo>
                      <a:lnTo>
                        <a:pt x="1874" y="1479"/>
                      </a:lnTo>
                      <a:lnTo>
                        <a:pt x="1866" y="1473"/>
                      </a:lnTo>
                      <a:lnTo>
                        <a:pt x="1863" y="1473"/>
                      </a:lnTo>
                      <a:lnTo>
                        <a:pt x="1861" y="1473"/>
                      </a:lnTo>
                      <a:lnTo>
                        <a:pt x="1855" y="1476"/>
                      </a:lnTo>
                      <a:lnTo>
                        <a:pt x="1853" y="1476"/>
                      </a:lnTo>
                      <a:lnTo>
                        <a:pt x="1850" y="1476"/>
                      </a:lnTo>
                      <a:lnTo>
                        <a:pt x="1847" y="1479"/>
                      </a:lnTo>
                      <a:lnTo>
                        <a:pt x="1847" y="1481"/>
                      </a:lnTo>
                      <a:lnTo>
                        <a:pt x="1847" y="1479"/>
                      </a:lnTo>
                      <a:lnTo>
                        <a:pt x="1844" y="1471"/>
                      </a:lnTo>
                      <a:lnTo>
                        <a:pt x="1841" y="1479"/>
                      </a:lnTo>
                      <a:lnTo>
                        <a:pt x="1833" y="1484"/>
                      </a:lnTo>
                      <a:lnTo>
                        <a:pt x="1830" y="1481"/>
                      </a:lnTo>
                      <a:lnTo>
                        <a:pt x="1827" y="1487"/>
                      </a:lnTo>
                      <a:lnTo>
                        <a:pt x="1822" y="1479"/>
                      </a:lnTo>
                      <a:lnTo>
                        <a:pt x="1817" y="1484"/>
                      </a:lnTo>
                      <a:lnTo>
                        <a:pt x="1817" y="1481"/>
                      </a:lnTo>
                      <a:lnTo>
                        <a:pt x="1819" y="1473"/>
                      </a:lnTo>
                      <a:lnTo>
                        <a:pt x="1817" y="1471"/>
                      </a:lnTo>
                      <a:lnTo>
                        <a:pt x="1810" y="1473"/>
                      </a:lnTo>
                      <a:lnTo>
                        <a:pt x="1808" y="1471"/>
                      </a:lnTo>
                      <a:lnTo>
                        <a:pt x="1805" y="1473"/>
                      </a:lnTo>
                      <a:lnTo>
                        <a:pt x="1802" y="1476"/>
                      </a:lnTo>
                      <a:lnTo>
                        <a:pt x="1805" y="1476"/>
                      </a:lnTo>
                      <a:lnTo>
                        <a:pt x="1808" y="1479"/>
                      </a:lnTo>
                      <a:lnTo>
                        <a:pt x="1810" y="1479"/>
                      </a:lnTo>
                      <a:lnTo>
                        <a:pt x="1810" y="1476"/>
                      </a:lnTo>
                      <a:lnTo>
                        <a:pt x="1814" y="1479"/>
                      </a:lnTo>
                      <a:lnTo>
                        <a:pt x="1810" y="1484"/>
                      </a:lnTo>
                      <a:lnTo>
                        <a:pt x="1808" y="1487"/>
                      </a:lnTo>
                      <a:lnTo>
                        <a:pt x="1805" y="1489"/>
                      </a:lnTo>
                      <a:lnTo>
                        <a:pt x="1802" y="1492"/>
                      </a:lnTo>
                      <a:lnTo>
                        <a:pt x="1800" y="1489"/>
                      </a:lnTo>
                      <a:lnTo>
                        <a:pt x="1800" y="1487"/>
                      </a:lnTo>
                      <a:lnTo>
                        <a:pt x="1794" y="1487"/>
                      </a:lnTo>
                      <a:lnTo>
                        <a:pt x="1792" y="1484"/>
                      </a:lnTo>
                      <a:lnTo>
                        <a:pt x="1789" y="1484"/>
                      </a:lnTo>
                      <a:lnTo>
                        <a:pt x="1786" y="1487"/>
                      </a:lnTo>
                      <a:lnTo>
                        <a:pt x="1784" y="1481"/>
                      </a:lnTo>
                      <a:lnTo>
                        <a:pt x="1784" y="1476"/>
                      </a:lnTo>
                      <a:lnTo>
                        <a:pt x="1775" y="1473"/>
                      </a:lnTo>
                      <a:lnTo>
                        <a:pt x="1775" y="1476"/>
                      </a:lnTo>
                      <a:lnTo>
                        <a:pt x="1775" y="1481"/>
                      </a:lnTo>
                      <a:lnTo>
                        <a:pt x="1769" y="1479"/>
                      </a:lnTo>
                      <a:lnTo>
                        <a:pt x="1764" y="1481"/>
                      </a:lnTo>
                      <a:lnTo>
                        <a:pt x="1756" y="1484"/>
                      </a:lnTo>
                      <a:lnTo>
                        <a:pt x="1748" y="1489"/>
                      </a:lnTo>
                      <a:lnTo>
                        <a:pt x="1748" y="1495"/>
                      </a:lnTo>
                      <a:lnTo>
                        <a:pt x="1741" y="1495"/>
                      </a:lnTo>
                      <a:lnTo>
                        <a:pt x="1745" y="1501"/>
                      </a:lnTo>
                      <a:lnTo>
                        <a:pt x="1745" y="1504"/>
                      </a:lnTo>
                      <a:lnTo>
                        <a:pt x="1741" y="1507"/>
                      </a:lnTo>
                      <a:lnTo>
                        <a:pt x="1745" y="1509"/>
                      </a:lnTo>
                      <a:lnTo>
                        <a:pt x="1745" y="1512"/>
                      </a:lnTo>
                      <a:lnTo>
                        <a:pt x="1741" y="1512"/>
                      </a:lnTo>
                      <a:lnTo>
                        <a:pt x="1741" y="1515"/>
                      </a:lnTo>
                      <a:lnTo>
                        <a:pt x="1748" y="1515"/>
                      </a:lnTo>
                      <a:lnTo>
                        <a:pt x="1748" y="1517"/>
                      </a:lnTo>
                      <a:lnTo>
                        <a:pt x="1745" y="1515"/>
                      </a:lnTo>
                      <a:lnTo>
                        <a:pt x="1741" y="1517"/>
                      </a:lnTo>
                      <a:lnTo>
                        <a:pt x="1739" y="1515"/>
                      </a:lnTo>
                      <a:lnTo>
                        <a:pt x="1733" y="1512"/>
                      </a:lnTo>
                      <a:lnTo>
                        <a:pt x="1731" y="1509"/>
                      </a:lnTo>
                      <a:lnTo>
                        <a:pt x="1731" y="1507"/>
                      </a:lnTo>
                      <a:lnTo>
                        <a:pt x="1728" y="1509"/>
                      </a:lnTo>
                      <a:lnTo>
                        <a:pt x="1728" y="1507"/>
                      </a:lnTo>
                      <a:lnTo>
                        <a:pt x="1731" y="1501"/>
                      </a:lnTo>
                      <a:lnTo>
                        <a:pt x="1728" y="1495"/>
                      </a:lnTo>
                      <a:lnTo>
                        <a:pt x="1715" y="1487"/>
                      </a:lnTo>
                      <a:lnTo>
                        <a:pt x="1715" y="1484"/>
                      </a:lnTo>
                      <a:lnTo>
                        <a:pt x="1712" y="1487"/>
                      </a:lnTo>
                      <a:lnTo>
                        <a:pt x="1708" y="1487"/>
                      </a:lnTo>
                      <a:lnTo>
                        <a:pt x="1706" y="1487"/>
                      </a:lnTo>
                      <a:lnTo>
                        <a:pt x="1700" y="1487"/>
                      </a:lnTo>
                      <a:lnTo>
                        <a:pt x="1698" y="1481"/>
                      </a:lnTo>
                      <a:lnTo>
                        <a:pt x="1695" y="1479"/>
                      </a:lnTo>
                      <a:lnTo>
                        <a:pt x="1698" y="1476"/>
                      </a:lnTo>
                      <a:lnTo>
                        <a:pt x="1692" y="1473"/>
                      </a:lnTo>
                      <a:lnTo>
                        <a:pt x="1692" y="1476"/>
                      </a:lnTo>
                      <a:lnTo>
                        <a:pt x="1692" y="1473"/>
                      </a:lnTo>
                      <a:lnTo>
                        <a:pt x="1687" y="1473"/>
                      </a:lnTo>
                      <a:lnTo>
                        <a:pt x="1687" y="1471"/>
                      </a:lnTo>
                      <a:lnTo>
                        <a:pt x="1684" y="1471"/>
                      </a:lnTo>
                      <a:lnTo>
                        <a:pt x="1684" y="1476"/>
                      </a:lnTo>
                      <a:lnTo>
                        <a:pt x="1681" y="1473"/>
                      </a:lnTo>
                      <a:lnTo>
                        <a:pt x="1684" y="1473"/>
                      </a:lnTo>
                      <a:lnTo>
                        <a:pt x="1679" y="1473"/>
                      </a:lnTo>
                      <a:lnTo>
                        <a:pt x="1676" y="1471"/>
                      </a:lnTo>
                      <a:lnTo>
                        <a:pt x="1672" y="1473"/>
                      </a:lnTo>
                      <a:lnTo>
                        <a:pt x="1670" y="1471"/>
                      </a:lnTo>
                      <a:lnTo>
                        <a:pt x="1664" y="1473"/>
                      </a:lnTo>
                      <a:lnTo>
                        <a:pt x="1654" y="1479"/>
                      </a:lnTo>
                      <a:lnTo>
                        <a:pt x="1654" y="1476"/>
                      </a:lnTo>
                      <a:lnTo>
                        <a:pt x="1654" y="1471"/>
                      </a:lnTo>
                      <a:lnTo>
                        <a:pt x="1651" y="1471"/>
                      </a:lnTo>
                      <a:lnTo>
                        <a:pt x="1648" y="1462"/>
                      </a:lnTo>
                      <a:lnTo>
                        <a:pt x="1646" y="1462"/>
                      </a:lnTo>
                      <a:lnTo>
                        <a:pt x="1637" y="1471"/>
                      </a:lnTo>
                      <a:lnTo>
                        <a:pt x="1637" y="1479"/>
                      </a:lnTo>
                      <a:lnTo>
                        <a:pt x="1639" y="1481"/>
                      </a:lnTo>
                      <a:lnTo>
                        <a:pt x="1643" y="1481"/>
                      </a:lnTo>
                      <a:lnTo>
                        <a:pt x="1648" y="1479"/>
                      </a:lnTo>
                      <a:lnTo>
                        <a:pt x="1651" y="1479"/>
                      </a:lnTo>
                      <a:lnTo>
                        <a:pt x="1654" y="1479"/>
                      </a:lnTo>
                      <a:lnTo>
                        <a:pt x="1654" y="1484"/>
                      </a:lnTo>
                      <a:lnTo>
                        <a:pt x="1651" y="1487"/>
                      </a:lnTo>
                      <a:lnTo>
                        <a:pt x="1648" y="1487"/>
                      </a:lnTo>
                      <a:lnTo>
                        <a:pt x="1639" y="1489"/>
                      </a:lnTo>
                      <a:lnTo>
                        <a:pt x="1634" y="1489"/>
                      </a:lnTo>
                      <a:lnTo>
                        <a:pt x="1623" y="1487"/>
                      </a:lnTo>
                      <a:lnTo>
                        <a:pt x="1618" y="1492"/>
                      </a:lnTo>
                      <a:lnTo>
                        <a:pt x="1615" y="1497"/>
                      </a:lnTo>
                      <a:lnTo>
                        <a:pt x="1610" y="1504"/>
                      </a:lnTo>
                      <a:lnTo>
                        <a:pt x="1615" y="1515"/>
                      </a:lnTo>
                      <a:lnTo>
                        <a:pt x="1612" y="1515"/>
                      </a:lnTo>
                      <a:lnTo>
                        <a:pt x="1610" y="1517"/>
                      </a:lnTo>
                      <a:lnTo>
                        <a:pt x="1603" y="1520"/>
                      </a:lnTo>
                      <a:lnTo>
                        <a:pt x="1601" y="1523"/>
                      </a:lnTo>
                      <a:lnTo>
                        <a:pt x="1598" y="1528"/>
                      </a:lnTo>
                      <a:lnTo>
                        <a:pt x="1593" y="1537"/>
                      </a:lnTo>
                      <a:lnTo>
                        <a:pt x="1590" y="1540"/>
                      </a:lnTo>
                      <a:lnTo>
                        <a:pt x="1579" y="1545"/>
                      </a:lnTo>
                      <a:lnTo>
                        <a:pt x="1587" y="1561"/>
                      </a:lnTo>
                      <a:lnTo>
                        <a:pt x="1585" y="1564"/>
                      </a:lnTo>
                      <a:lnTo>
                        <a:pt x="1579" y="1564"/>
                      </a:lnTo>
                      <a:lnTo>
                        <a:pt x="1574" y="1564"/>
                      </a:lnTo>
                      <a:lnTo>
                        <a:pt x="1574" y="1556"/>
                      </a:lnTo>
                      <a:lnTo>
                        <a:pt x="1570" y="1553"/>
                      </a:lnTo>
                      <a:lnTo>
                        <a:pt x="1554" y="1556"/>
                      </a:lnTo>
                      <a:lnTo>
                        <a:pt x="1551" y="1558"/>
                      </a:lnTo>
                      <a:lnTo>
                        <a:pt x="1549" y="1561"/>
                      </a:lnTo>
                      <a:lnTo>
                        <a:pt x="1543" y="1564"/>
                      </a:lnTo>
                      <a:lnTo>
                        <a:pt x="1541" y="1573"/>
                      </a:lnTo>
                      <a:lnTo>
                        <a:pt x="1538" y="1576"/>
                      </a:lnTo>
                      <a:lnTo>
                        <a:pt x="1534" y="1573"/>
                      </a:lnTo>
                      <a:lnTo>
                        <a:pt x="1526" y="1561"/>
                      </a:lnTo>
                      <a:lnTo>
                        <a:pt x="1524" y="1561"/>
                      </a:lnTo>
                      <a:lnTo>
                        <a:pt x="1521" y="1569"/>
                      </a:lnTo>
                      <a:lnTo>
                        <a:pt x="1518" y="1578"/>
                      </a:lnTo>
                      <a:lnTo>
                        <a:pt x="1516" y="1581"/>
                      </a:lnTo>
                      <a:lnTo>
                        <a:pt x="1513" y="1581"/>
                      </a:lnTo>
                      <a:lnTo>
                        <a:pt x="1508" y="1581"/>
                      </a:lnTo>
                      <a:lnTo>
                        <a:pt x="1508" y="1566"/>
                      </a:lnTo>
                      <a:lnTo>
                        <a:pt x="1499" y="1558"/>
                      </a:lnTo>
                      <a:lnTo>
                        <a:pt x="1496" y="1558"/>
                      </a:lnTo>
                      <a:lnTo>
                        <a:pt x="1493" y="1561"/>
                      </a:lnTo>
                      <a:lnTo>
                        <a:pt x="1499" y="1573"/>
                      </a:lnTo>
                      <a:lnTo>
                        <a:pt x="1496" y="1578"/>
                      </a:lnTo>
                      <a:lnTo>
                        <a:pt x="1493" y="1578"/>
                      </a:lnTo>
                      <a:lnTo>
                        <a:pt x="1490" y="1573"/>
                      </a:lnTo>
                      <a:lnTo>
                        <a:pt x="1482" y="1573"/>
                      </a:lnTo>
                      <a:lnTo>
                        <a:pt x="1482" y="1564"/>
                      </a:lnTo>
                      <a:lnTo>
                        <a:pt x="1474" y="1558"/>
                      </a:lnTo>
                      <a:lnTo>
                        <a:pt x="1472" y="1556"/>
                      </a:lnTo>
                      <a:lnTo>
                        <a:pt x="1449" y="1564"/>
                      </a:lnTo>
                      <a:lnTo>
                        <a:pt x="1447" y="1561"/>
                      </a:lnTo>
                      <a:lnTo>
                        <a:pt x="1439" y="1556"/>
                      </a:lnTo>
                      <a:lnTo>
                        <a:pt x="1436" y="1564"/>
                      </a:lnTo>
                      <a:lnTo>
                        <a:pt x="1432" y="1564"/>
                      </a:lnTo>
                      <a:lnTo>
                        <a:pt x="1432" y="1569"/>
                      </a:lnTo>
                      <a:lnTo>
                        <a:pt x="1430" y="1573"/>
                      </a:lnTo>
                      <a:lnTo>
                        <a:pt x="1427" y="1576"/>
                      </a:lnTo>
                      <a:lnTo>
                        <a:pt x="1421" y="1578"/>
                      </a:lnTo>
                      <a:lnTo>
                        <a:pt x="1416" y="1578"/>
                      </a:lnTo>
                      <a:lnTo>
                        <a:pt x="1416" y="1581"/>
                      </a:lnTo>
                      <a:lnTo>
                        <a:pt x="1413" y="1581"/>
                      </a:lnTo>
                      <a:lnTo>
                        <a:pt x="1411" y="1578"/>
                      </a:lnTo>
                      <a:lnTo>
                        <a:pt x="1405" y="1581"/>
                      </a:lnTo>
                      <a:lnTo>
                        <a:pt x="1405" y="1584"/>
                      </a:lnTo>
                      <a:lnTo>
                        <a:pt x="1403" y="1584"/>
                      </a:lnTo>
                      <a:lnTo>
                        <a:pt x="1396" y="1586"/>
                      </a:lnTo>
                      <a:lnTo>
                        <a:pt x="1391" y="1586"/>
                      </a:lnTo>
                      <a:lnTo>
                        <a:pt x="1388" y="1586"/>
                      </a:lnTo>
                      <a:lnTo>
                        <a:pt x="1386" y="1586"/>
                      </a:lnTo>
                      <a:lnTo>
                        <a:pt x="1383" y="1592"/>
                      </a:lnTo>
                      <a:lnTo>
                        <a:pt x="1380" y="1594"/>
                      </a:lnTo>
                      <a:lnTo>
                        <a:pt x="1372" y="1597"/>
                      </a:lnTo>
                      <a:lnTo>
                        <a:pt x="1372" y="1600"/>
                      </a:lnTo>
                      <a:lnTo>
                        <a:pt x="1370" y="1600"/>
                      </a:lnTo>
                      <a:lnTo>
                        <a:pt x="1367" y="1606"/>
                      </a:lnTo>
                      <a:lnTo>
                        <a:pt x="1370" y="1606"/>
                      </a:lnTo>
                      <a:lnTo>
                        <a:pt x="1370" y="1609"/>
                      </a:lnTo>
                      <a:lnTo>
                        <a:pt x="1363" y="1614"/>
                      </a:lnTo>
                      <a:lnTo>
                        <a:pt x="1367" y="1617"/>
                      </a:lnTo>
                      <a:lnTo>
                        <a:pt x="1370" y="1619"/>
                      </a:lnTo>
                      <a:lnTo>
                        <a:pt x="1361" y="1622"/>
                      </a:lnTo>
                      <a:lnTo>
                        <a:pt x="1358" y="1625"/>
                      </a:lnTo>
                      <a:lnTo>
                        <a:pt x="1358" y="1630"/>
                      </a:lnTo>
                      <a:lnTo>
                        <a:pt x="1353" y="1628"/>
                      </a:lnTo>
                      <a:lnTo>
                        <a:pt x="1353" y="1630"/>
                      </a:lnTo>
                      <a:lnTo>
                        <a:pt x="1355" y="1633"/>
                      </a:lnTo>
                      <a:lnTo>
                        <a:pt x="1350" y="1636"/>
                      </a:lnTo>
                      <a:lnTo>
                        <a:pt x="1350" y="1638"/>
                      </a:lnTo>
                      <a:lnTo>
                        <a:pt x="1353" y="1645"/>
                      </a:lnTo>
                      <a:lnTo>
                        <a:pt x="1361" y="1647"/>
                      </a:lnTo>
                      <a:lnTo>
                        <a:pt x="1358" y="1650"/>
                      </a:lnTo>
                      <a:lnTo>
                        <a:pt x="1358" y="1653"/>
                      </a:lnTo>
                      <a:lnTo>
                        <a:pt x="1361" y="1653"/>
                      </a:lnTo>
                      <a:lnTo>
                        <a:pt x="1363" y="1653"/>
                      </a:lnTo>
                      <a:lnTo>
                        <a:pt x="1370" y="1655"/>
                      </a:lnTo>
                      <a:lnTo>
                        <a:pt x="1367" y="1658"/>
                      </a:lnTo>
                      <a:lnTo>
                        <a:pt x="1370" y="1661"/>
                      </a:lnTo>
                      <a:lnTo>
                        <a:pt x="1363" y="1663"/>
                      </a:lnTo>
                      <a:lnTo>
                        <a:pt x="1363" y="1666"/>
                      </a:lnTo>
                      <a:lnTo>
                        <a:pt x="1361" y="1666"/>
                      </a:lnTo>
                      <a:lnTo>
                        <a:pt x="1361" y="1669"/>
                      </a:lnTo>
                      <a:lnTo>
                        <a:pt x="1361" y="1671"/>
                      </a:lnTo>
                      <a:lnTo>
                        <a:pt x="1363" y="1675"/>
                      </a:lnTo>
                      <a:lnTo>
                        <a:pt x="1367" y="1680"/>
                      </a:lnTo>
                      <a:lnTo>
                        <a:pt x="1370" y="1680"/>
                      </a:lnTo>
                      <a:lnTo>
                        <a:pt x="1372" y="1686"/>
                      </a:lnTo>
                      <a:lnTo>
                        <a:pt x="1375" y="1686"/>
                      </a:lnTo>
                      <a:lnTo>
                        <a:pt x="1375" y="1688"/>
                      </a:lnTo>
                      <a:lnTo>
                        <a:pt x="1380" y="1691"/>
                      </a:lnTo>
                      <a:lnTo>
                        <a:pt x="1378" y="1694"/>
                      </a:lnTo>
                      <a:lnTo>
                        <a:pt x="1378" y="1696"/>
                      </a:lnTo>
                      <a:lnTo>
                        <a:pt x="1383" y="1699"/>
                      </a:lnTo>
                      <a:lnTo>
                        <a:pt x="1380" y="1702"/>
                      </a:lnTo>
                      <a:lnTo>
                        <a:pt x="1380" y="1705"/>
                      </a:lnTo>
                      <a:lnTo>
                        <a:pt x="1380" y="1711"/>
                      </a:lnTo>
                      <a:lnTo>
                        <a:pt x="1375" y="1714"/>
                      </a:lnTo>
                      <a:lnTo>
                        <a:pt x="1378" y="1719"/>
                      </a:lnTo>
                      <a:lnTo>
                        <a:pt x="1375" y="1722"/>
                      </a:lnTo>
                      <a:lnTo>
                        <a:pt x="1375" y="1724"/>
                      </a:lnTo>
                      <a:lnTo>
                        <a:pt x="1367" y="1724"/>
                      </a:lnTo>
                      <a:lnTo>
                        <a:pt x="1363" y="1727"/>
                      </a:lnTo>
                      <a:lnTo>
                        <a:pt x="1358" y="1727"/>
                      </a:lnTo>
                      <a:lnTo>
                        <a:pt x="1358" y="1730"/>
                      </a:lnTo>
                      <a:lnTo>
                        <a:pt x="1355" y="1730"/>
                      </a:lnTo>
                      <a:lnTo>
                        <a:pt x="1355" y="1735"/>
                      </a:lnTo>
                      <a:lnTo>
                        <a:pt x="1347" y="1735"/>
                      </a:lnTo>
                      <a:lnTo>
                        <a:pt x="1344" y="1732"/>
                      </a:lnTo>
                      <a:lnTo>
                        <a:pt x="1339" y="1735"/>
                      </a:lnTo>
                      <a:lnTo>
                        <a:pt x="1339" y="1732"/>
                      </a:lnTo>
                      <a:lnTo>
                        <a:pt x="1336" y="1732"/>
                      </a:lnTo>
                      <a:lnTo>
                        <a:pt x="1327" y="1735"/>
                      </a:lnTo>
                      <a:lnTo>
                        <a:pt x="1322" y="1735"/>
                      </a:lnTo>
                      <a:lnTo>
                        <a:pt x="1317" y="1738"/>
                      </a:lnTo>
                      <a:lnTo>
                        <a:pt x="1311" y="1738"/>
                      </a:lnTo>
                      <a:lnTo>
                        <a:pt x="1306" y="1743"/>
                      </a:lnTo>
                      <a:lnTo>
                        <a:pt x="1311" y="1749"/>
                      </a:lnTo>
                      <a:lnTo>
                        <a:pt x="1311" y="1755"/>
                      </a:lnTo>
                      <a:lnTo>
                        <a:pt x="1309" y="1757"/>
                      </a:lnTo>
                      <a:lnTo>
                        <a:pt x="1303" y="1760"/>
                      </a:lnTo>
                      <a:lnTo>
                        <a:pt x="1306" y="1755"/>
                      </a:lnTo>
                      <a:lnTo>
                        <a:pt x="1294" y="1749"/>
                      </a:lnTo>
                      <a:lnTo>
                        <a:pt x="1292" y="1740"/>
                      </a:lnTo>
                      <a:lnTo>
                        <a:pt x="1286" y="1735"/>
                      </a:lnTo>
                      <a:lnTo>
                        <a:pt x="1286" y="1730"/>
                      </a:lnTo>
                      <a:lnTo>
                        <a:pt x="1284" y="1724"/>
                      </a:lnTo>
                      <a:lnTo>
                        <a:pt x="1281" y="1722"/>
                      </a:lnTo>
                      <a:lnTo>
                        <a:pt x="1278" y="1722"/>
                      </a:lnTo>
                      <a:lnTo>
                        <a:pt x="1273" y="1722"/>
                      </a:lnTo>
                      <a:lnTo>
                        <a:pt x="1275" y="1716"/>
                      </a:lnTo>
                      <a:lnTo>
                        <a:pt x="1273" y="1714"/>
                      </a:lnTo>
                      <a:lnTo>
                        <a:pt x="1270" y="1707"/>
                      </a:lnTo>
                      <a:lnTo>
                        <a:pt x="1265" y="1705"/>
                      </a:lnTo>
                      <a:lnTo>
                        <a:pt x="1256" y="1707"/>
                      </a:lnTo>
                      <a:lnTo>
                        <a:pt x="1234" y="1707"/>
                      </a:lnTo>
                      <a:lnTo>
                        <a:pt x="1229" y="1707"/>
                      </a:lnTo>
                      <a:lnTo>
                        <a:pt x="1220" y="1707"/>
                      </a:lnTo>
                      <a:lnTo>
                        <a:pt x="1215" y="1707"/>
                      </a:lnTo>
                      <a:lnTo>
                        <a:pt x="1209" y="1702"/>
                      </a:lnTo>
                      <a:lnTo>
                        <a:pt x="1201" y="1696"/>
                      </a:lnTo>
                      <a:lnTo>
                        <a:pt x="1189" y="1705"/>
                      </a:lnTo>
                      <a:lnTo>
                        <a:pt x="1184" y="1705"/>
                      </a:lnTo>
                      <a:lnTo>
                        <a:pt x="1173" y="1702"/>
                      </a:lnTo>
                      <a:lnTo>
                        <a:pt x="1151" y="1707"/>
                      </a:lnTo>
                      <a:lnTo>
                        <a:pt x="1146" y="1707"/>
                      </a:lnTo>
                      <a:lnTo>
                        <a:pt x="1138" y="1705"/>
                      </a:lnTo>
                      <a:lnTo>
                        <a:pt x="1129" y="1711"/>
                      </a:lnTo>
                      <a:lnTo>
                        <a:pt x="1123" y="1707"/>
                      </a:lnTo>
                      <a:lnTo>
                        <a:pt x="1118" y="1714"/>
                      </a:lnTo>
                      <a:lnTo>
                        <a:pt x="1115" y="1714"/>
                      </a:lnTo>
                      <a:lnTo>
                        <a:pt x="1112" y="1711"/>
                      </a:lnTo>
                      <a:lnTo>
                        <a:pt x="1112" y="1707"/>
                      </a:lnTo>
                      <a:lnTo>
                        <a:pt x="1104" y="1705"/>
                      </a:lnTo>
                      <a:lnTo>
                        <a:pt x="1094" y="1705"/>
                      </a:lnTo>
                      <a:lnTo>
                        <a:pt x="1085" y="1699"/>
                      </a:lnTo>
                      <a:lnTo>
                        <a:pt x="1082" y="1702"/>
                      </a:lnTo>
                      <a:lnTo>
                        <a:pt x="1076" y="1699"/>
                      </a:lnTo>
                      <a:lnTo>
                        <a:pt x="1071" y="1699"/>
                      </a:lnTo>
                      <a:lnTo>
                        <a:pt x="1071" y="1696"/>
                      </a:lnTo>
                      <a:lnTo>
                        <a:pt x="1060" y="1699"/>
                      </a:lnTo>
                      <a:lnTo>
                        <a:pt x="1058" y="1694"/>
                      </a:lnTo>
                      <a:lnTo>
                        <a:pt x="1058" y="1691"/>
                      </a:lnTo>
                      <a:lnTo>
                        <a:pt x="1051" y="1691"/>
                      </a:lnTo>
                      <a:lnTo>
                        <a:pt x="1051" y="1688"/>
                      </a:lnTo>
                      <a:lnTo>
                        <a:pt x="1046" y="1686"/>
                      </a:lnTo>
                      <a:lnTo>
                        <a:pt x="1043" y="1683"/>
                      </a:lnTo>
                      <a:lnTo>
                        <a:pt x="1041" y="1683"/>
                      </a:lnTo>
                      <a:lnTo>
                        <a:pt x="1038" y="1680"/>
                      </a:lnTo>
                      <a:lnTo>
                        <a:pt x="1033" y="1680"/>
                      </a:lnTo>
                      <a:lnTo>
                        <a:pt x="1030" y="1675"/>
                      </a:lnTo>
                      <a:lnTo>
                        <a:pt x="1027" y="1675"/>
                      </a:lnTo>
                      <a:lnTo>
                        <a:pt x="1025" y="1671"/>
                      </a:lnTo>
                      <a:lnTo>
                        <a:pt x="1025" y="1663"/>
                      </a:lnTo>
                      <a:lnTo>
                        <a:pt x="1018" y="1661"/>
                      </a:lnTo>
                      <a:lnTo>
                        <a:pt x="1013" y="1661"/>
                      </a:lnTo>
                      <a:lnTo>
                        <a:pt x="1010" y="1658"/>
                      </a:lnTo>
                      <a:lnTo>
                        <a:pt x="1005" y="1658"/>
                      </a:lnTo>
                      <a:lnTo>
                        <a:pt x="999" y="1658"/>
                      </a:lnTo>
                      <a:lnTo>
                        <a:pt x="989" y="1647"/>
                      </a:lnTo>
                      <a:lnTo>
                        <a:pt x="982" y="1653"/>
                      </a:lnTo>
                      <a:lnTo>
                        <a:pt x="974" y="1655"/>
                      </a:lnTo>
                      <a:lnTo>
                        <a:pt x="966" y="1655"/>
                      </a:lnTo>
                      <a:lnTo>
                        <a:pt x="964" y="1653"/>
                      </a:lnTo>
                      <a:lnTo>
                        <a:pt x="961" y="1653"/>
                      </a:lnTo>
                      <a:lnTo>
                        <a:pt x="958" y="1653"/>
                      </a:lnTo>
                      <a:lnTo>
                        <a:pt x="952" y="1655"/>
                      </a:lnTo>
                      <a:lnTo>
                        <a:pt x="949" y="1655"/>
                      </a:lnTo>
                      <a:lnTo>
                        <a:pt x="949" y="1653"/>
                      </a:lnTo>
                      <a:lnTo>
                        <a:pt x="941" y="1645"/>
                      </a:lnTo>
                      <a:lnTo>
                        <a:pt x="933" y="1645"/>
                      </a:lnTo>
                      <a:lnTo>
                        <a:pt x="928" y="1647"/>
                      </a:lnTo>
                      <a:lnTo>
                        <a:pt x="925" y="1642"/>
                      </a:lnTo>
                      <a:lnTo>
                        <a:pt x="922" y="1647"/>
                      </a:lnTo>
                      <a:lnTo>
                        <a:pt x="916" y="1642"/>
                      </a:lnTo>
                      <a:lnTo>
                        <a:pt x="911" y="1645"/>
                      </a:lnTo>
                      <a:lnTo>
                        <a:pt x="908" y="1645"/>
                      </a:lnTo>
                      <a:lnTo>
                        <a:pt x="905" y="1642"/>
                      </a:lnTo>
                      <a:lnTo>
                        <a:pt x="903" y="1638"/>
                      </a:lnTo>
                      <a:lnTo>
                        <a:pt x="900" y="1642"/>
                      </a:lnTo>
                      <a:lnTo>
                        <a:pt x="895" y="1645"/>
                      </a:lnTo>
                      <a:lnTo>
                        <a:pt x="892" y="1645"/>
                      </a:lnTo>
                      <a:lnTo>
                        <a:pt x="883" y="1645"/>
                      </a:lnTo>
                      <a:lnTo>
                        <a:pt x="880" y="1645"/>
                      </a:lnTo>
                      <a:lnTo>
                        <a:pt x="878" y="1645"/>
                      </a:lnTo>
                      <a:lnTo>
                        <a:pt x="875" y="1645"/>
                      </a:lnTo>
                      <a:lnTo>
                        <a:pt x="870" y="1636"/>
                      </a:lnTo>
                      <a:lnTo>
                        <a:pt x="864" y="1636"/>
                      </a:lnTo>
                      <a:lnTo>
                        <a:pt x="853" y="1628"/>
                      </a:lnTo>
                      <a:lnTo>
                        <a:pt x="844" y="1630"/>
                      </a:lnTo>
                      <a:lnTo>
                        <a:pt x="839" y="1633"/>
                      </a:lnTo>
                      <a:lnTo>
                        <a:pt x="836" y="1630"/>
                      </a:lnTo>
                      <a:lnTo>
                        <a:pt x="834" y="1633"/>
                      </a:lnTo>
                      <a:lnTo>
                        <a:pt x="828" y="1630"/>
                      </a:lnTo>
                      <a:lnTo>
                        <a:pt x="823" y="1636"/>
                      </a:lnTo>
                      <a:lnTo>
                        <a:pt x="820" y="1633"/>
                      </a:lnTo>
                      <a:lnTo>
                        <a:pt x="818" y="1633"/>
                      </a:lnTo>
                      <a:lnTo>
                        <a:pt x="814" y="1633"/>
                      </a:lnTo>
                      <a:lnTo>
                        <a:pt x="814" y="1630"/>
                      </a:lnTo>
                      <a:lnTo>
                        <a:pt x="811" y="1628"/>
                      </a:lnTo>
                      <a:lnTo>
                        <a:pt x="806" y="1625"/>
                      </a:lnTo>
                      <a:lnTo>
                        <a:pt x="806" y="1622"/>
                      </a:lnTo>
                      <a:lnTo>
                        <a:pt x="803" y="1619"/>
                      </a:lnTo>
                      <a:lnTo>
                        <a:pt x="798" y="1617"/>
                      </a:lnTo>
                      <a:lnTo>
                        <a:pt x="790" y="1609"/>
                      </a:lnTo>
                      <a:lnTo>
                        <a:pt x="782" y="1611"/>
                      </a:lnTo>
                      <a:lnTo>
                        <a:pt x="778" y="1611"/>
                      </a:lnTo>
                      <a:lnTo>
                        <a:pt x="775" y="1609"/>
                      </a:lnTo>
                      <a:lnTo>
                        <a:pt x="773" y="1611"/>
                      </a:lnTo>
                      <a:lnTo>
                        <a:pt x="770" y="1606"/>
                      </a:lnTo>
                      <a:lnTo>
                        <a:pt x="765" y="1602"/>
                      </a:lnTo>
                      <a:lnTo>
                        <a:pt x="762" y="1606"/>
                      </a:lnTo>
                      <a:lnTo>
                        <a:pt x="759" y="1606"/>
                      </a:lnTo>
                      <a:lnTo>
                        <a:pt x="757" y="1609"/>
                      </a:lnTo>
                      <a:lnTo>
                        <a:pt x="754" y="1609"/>
                      </a:lnTo>
                      <a:lnTo>
                        <a:pt x="749" y="1606"/>
                      </a:lnTo>
                      <a:lnTo>
                        <a:pt x="742" y="1609"/>
                      </a:lnTo>
                      <a:lnTo>
                        <a:pt x="740" y="1609"/>
                      </a:lnTo>
                      <a:lnTo>
                        <a:pt x="737" y="1606"/>
                      </a:lnTo>
                      <a:lnTo>
                        <a:pt x="734" y="1606"/>
                      </a:lnTo>
                      <a:lnTo>
                        <a:pt x="729" y="1606"/>
                      </a:lnTo>
                      <a:lnTo>
                        <a:pt x="724" y="1606"/>
                      </a:lnTo>
                      <a:lnTo>
                        <a:pt x="721" y="1606"/>
                      </a:lnTo>
                      <a:lnTo>
                        <a:pt x="709" y="1611"/>
                      </a:lnTo>
                      <a:lnTo>
                        <a:pt x="706" y="1611"/>
                      </a:lnTo>
                      <a:lnTo>
                        <a:pt x="704" y="1611"/>
                      </a:lnTo>
                      <a:lnTo>
                        <a:pt x="701" y="1611"/>
                      </a:lnTo>
                      <a:lnTo>
                        <a:pt x="696" y="1611"/>
                      </a:lnTo>
                      <a:lnTo>
                        <a:pt x="693" y="1609"/>
                      </a:lnTo>
                      <a:lnTo>
                        <a:pt x="688" y="1611"/>
                      </a:lnTo>
                      <a:lnTo>
                        <a:pt x="685" y="1611"/>
                      </a:lnTo>
                      <a:lnTo>
                        <a:pt x="680" y="1614"/>
                      </a:lnTo>
                      <a:lnTo>
                        <a:pt x="662" y="1606"/>
                      </a:lnTo>
                      <a:lnTo>
                        <a:pt x="646" y="1617"/>
                      </a:lnTo>
                      <a:lnTo>
                        <a:pt x="637" y="1619"/>
                      </a:lnTo>
                      <a:lnTo>
                        <a:pt x="627" y="1625"/>
                      </a:lnTo>
                      <a:lnTo>
                        <a:pt x="621" y="1625"/>
                      </a:lnTo>
                      <a:lnTo>
                        <a:pt x="619" y="1622"/>
                      </a:lnTo>
                      <a:lnTo>
                        <a:pt x="616" y="1619"/>
                      </a:lnTo>
                      <a:lnTo>
                        <a:pt x="613" y="1619"/>
                      </a:lnTo>
                      <a:lnTo>
                        <a:pt x="607" y="1617"/>
                      </a:lnTo>
                      <a:lnTo>
                        <a:pt x="604" y="1614"/>
                      </a:lnTo>
                      <a:lnTo>
                        <a:pt x="602" y="1611"/>
                      </a:lnTo>
                      <a:lnTo>
                        <a:pt x="599" y="1606"/>
                      </a:lnTo>
                      <a:lnTo>
                        <a:pt x="596" y="1606"/>
                      </a:lnTo>
                      <a:lnTo>
                        <a:pt x="593" y="1609"/>
                      </a:lnTo>
                      <a:lnTo>
                        <a:pt x="591" y="1609"/>
                      </a:lnTo>
                      <a:lnTo>
                        <a:pt x="588" y="1606"/>
                      </a:lnTo>
                      <a:lnTo>
                        <a:pt x="583" y="1606"/>
                      </a:lnTo>
                      <a:lnTo>
                        <a:pt x="577" y="1600"/>
                      </a:lnTo>
                      <a:lnTo>
                        <a:pt x="574" y="1600"/>
                      </a:lnTo>
                      <a:lnTo>
                        <a:pt x="574" y="1597"/>
                      </a:lnTo>
                      <a:lnTo>
                        <a:pt x="563" y="1592"/>
                      </a:lnTo>
                      <a:lnTo>
                        <a:pt x="558" y="1586"/>
                      </a:lnTo>
                      <a:lnTo>
                        <a:pt x="555" y="1586"/>
                      </a:lnTo>
                      <a:lnTo>
                        <a:pt x="555" y="1584"/>
                      </a:lnTo>
                      <a:lnTo>
                        <a:pt x="552" y="1581"/>
                      </a:lnTo>
                      <a:lnTo>
                        <a:pt x="552" y="1578"/>
                      </a:lnTo>
                      <a:lnTo>
                        <a:pt x="547" y="1569"/>
                      </a:lnTo>
                      <a:lnTo>
                        <a:pt x="544" y="1569"/>
                      </a:lnTo>
                      <a:lnTo>
                        <a:pt x="544" y="1564"/>
                      </a:lnTo>
                      <a:lnTo>
                        <a:pt x="533" y="1569"/>
                      </a:lnTo>
                      <a:lnTo>
                        <a:pt x="530" y="1569"/>
                      </a:lnTo>
                      <a:lnTo>
                        <a:pt x="527" y="1566"/>
                      </a:lnTo>
                      <a:lnTo>
                        <a:pt x="522" y="1566"/>
                      </a:lnTo>
                      <a:lnTo>
                        <a:pt x="522" y="1564"/>
                      </a:lnTo>
                      <a:lnTo>
                        <a:pt x="519" y="1564"/>
                      </a:lnTo>
                      <a:lnTo>
                        <a:pt x="516" y="1564"/>
                      </a:lnTo>
                      <a:lnTo>
                        <a:pt x="516" y="1566"/>
                      </a:lnTo>
                      <a:lnTo>
                        <a:pt x="514" y="1564"/>
                      </a:lnTo>
                      <a:lnTo>
                        <a:pt x="511" y="1566"/>
                      </a:lnTo>
                      <a:lnTo>
                        <a:pt x="505" y="1561"/>
                      </a:lnTo>
                      <a:lnTo>
                        <a:pt x="502" y="1564"/>
                      </a:lnTo>
                      <a:lnTo>
                        <a:pt x="486" y="1576"/>
                      </a:lnTo>
                      <a:lnTo>
                        <a:pt x="483" y="1578"/>
                      </a:lnTo>
                      <a:lnTo>
                        <a:pt x="478" y="1578"/>
                      </a:lnTo>
                      <a:lnTo>
                        <a:pt x="469" y="1584"/>
                      </a:lnTo>
                      <a:lnTo>
                        <a:pt x="466" y="1584"/>
                      </a:lnTo>
                      <a:lnTo>
                        <a:pt x="464" y="1584"/>
                      </a:lnTo>
                      <a:lnTo>
                        <a:pt x="456" y="1586"/>
                      </a:lnTo>
                      <a:lnTo>
                        <a:pt x="445" y="1584"/>
                      </a:lnTo>
                      <a:lnTo>
                        <a:pt x="433" y="1584"/>
                      </a:lnTo>
                      <a:lnTo>
                        <a:pt x="433" y="1581"/>
                      </a:lnTo>
                      <a:lnTo>
                        <a:pt x="425" y="1576"/>
                      </a:lnTo>
                      <a:lnTo>
                        <a:pt x="422" y="1576"/>
                      </a:lnTo>
                      <a:lnTo>
                        <a:pt x="420" y="1566"/>
                      </a:lnTo>
                      <a:lnTo>
                        <a:pt x="412" y="1569"/>
                      </a:lnTo>
                      <a:lnTo>
                        <a:pt x="406" y="1569"/>
                      </a:lnTo>
                      <a:lnTo>
                        <a:pt x="404" y="1569"/>
                      </a:lnTo>
                      <a:lnTo>
                        <a:pt x="397" y="1566"/>
                      </a:lnTo>
                      <a:lnTo>
                        <a:pt x="395" y="1564"/>
                      </a:lnTo>
                      <a:lnTo>
                        <a:pt x="397" y="1564"/>
                      </a:lnTo>
                      <a:lnTo>
                        <a:pt x="395" y="1561"/>
                      </a:lnTo>
                      <a:lnTo>
                        <a:pt x="392" y="1558"/>
                      </a:lnTo>
                      <a:lnTo>
                        <a:pt x="397" y="1550"/>
                      </a:lnTo>
                      <a:lnTo>
                        <a:pt x="392" y="1548"/>
                      </a:lnTo>
                      <a:lnTo>
                        <a:pt x="392" y="1542"/>
                      </a:lnTo>
                      <a:lnTo>
                        <a:pt x="389" y="1542"/>
                      </a:lnTo>
                      <a:lnTo>
                        <a:pt x="384" y="1533"/>
                      </a:lnTo>
                      <a:lnTo>
                        <a:pt x="381" y="1531"/>
                      </a:lnTo>
                      <a:lnTo>
                        <a:pt x="373" y="1525"/>
                      </a:lnTo>
                      <a:lnTo>
                        <a:pt x="370" y="1520"/>
                      </a:lnTo>
                      <a:lnTo>
                        <a:pt x="367" y="1515"/>
                      </a:lnTo>
                      <a:lnTo>
                        <a:pt x="364" y="1515"/>
                      </a:lnTo>
                      <a:lnTo>
                        <a:pt x="356" y="1509"/>
                      </a:lnTo>
                      <a:lnTo>
                        <a:pt x="356" y="1507"/>
                      </a:lnTo>
                      <a:lnTo>
                        <a:pt x="359" y="1504"/>
                      </a:lnTo>
                      <a:lnTo>
                        <a:pt x="356" y="1497"/>
                      </a:lnTo>
                      <a:lnTo>
                        <a:pt x="359" y="1489"/>
                      </a:lnTo>
                      <a:lnTo>
                        <a:pt x="361" y="1489"/>
                      </a:lnTo>
                      <a:lnTo>
                        <a:pt x="361" y="1487"/>
                      </a:lnTo>
                      <a:lnTo>
                        <a:pt x="361" y="1484"/>
                      </a:lnTo>
                      <a:lnTo>
                        <a:pt x="359" y="1479"/>
                      </a:lnTo>
                      <a:lnTo>
                        <a:pt x="356" y="1479"/>
                      </a:lnTo>
                      <a:lnTo>
                        <a:pt x="353" y="1479"/>
                      </a:lnTo>
                      <a:lnTo>
                        <a:pt x="353" y="1476"/>
                      </a:lnTo>
                      <a:lnTo>
                        <a:pt x="351" y="1479"/>
                      </a:lnTo>
                      <a:lnTo>
                        <a:pt x="351" y="1476"/>
                      </a:lnTo>
                      <a:lnTo>
                        <a:pt x="351" y="1473"/>
                      </a:lnTo>
                      <a:lnTo>
                        <a:pt x="348" y="1476"/>
                      </a:lnTo>
                      <a:lnTo>
                        <a:pt x="345" y="1473"/>
                      </a:lnTo>
                      <a:lnTo>
                        <a:pt x="345" y="1471"/>
                      </a:lnTo>
                      <a:lnTo>
                        <a:pt x="340" y="1471"/>
                      </a:lnTo>
                      <a:lnTo>
                        <a:pt x="343" y="1468"/>
                      </a:lnTo>
                      <a:lnTo>
                        <a:pt x="340" y="1468"/>
                      </a:lnTo>
                      <a:lnTo>
                        <a:pt x="343" y="1464"/>
                      </a:lnTo>
                      <a:lnTo>
                        <a:pt x="337" y="1462"/>
                      </a:lnTo>
                      <a:lnTo>
                        <a:pt x="337" y="1459"/>
                      </a:lnTo>
                      <a:lnTo>
                        <a:pt x="335" y="1462"/>
                      </a:lnTo>
                      <a:lnTo>
                        <a:pt x="331" y="1459"/>
                      </a:lnTo>
                      <a:lnTo>
                        <a:pt x="331" y="1456"/>
                      </a:lnTo>
                      <a:lnTo>
                        <a:pt x="331" y="1454"/>
                      </a:lnTo>
                      <a:lnTo>
                        <a:pt x="328" y="1456"/>
                      </a:lnTo>
                      <a:lnTo>
                        <a:pt x="326" y="1456"/>
                      </a:lnTo>
                      <a:lnTo>
                        <a:pt x="326" y="1454"/>
                      </a:lnTo>
                      <a:lnTo>
                        <a:pt x="326" y="1451"/>
                      </a:lnTo>
                      <a:lnTo>
                        <a:pt x="318" y="1448"/>
                      </a:lnTo>
                      <a:lnTo>
                        <a:pt x="318" y="1446"/>
                      </a:lnTo>
                      <a:lnTo>
                        <a:pt x="320" y="1446"/>
                      </a:lnTo>
                      <a:lnTo>
                        <a:pt x="318" y="1443"/>
                      </a:lnTo>
                      <a:lnTo>
                        <a:pt x="315" y="1432"/>
                      </a:lnTo>
                      <a:lnTo>
                        <a:pt x="318" y="1432"/>
                      </a:lnTo>
                      <a:lnTo>
                        <a:pt x="320" y="1432"/>
                      </a:lnTo>
                      <a:lnTo>
                        <a:pt x="320" y="1426"/>
                      </a:lnTo>
                      <a:lnTo>
                        <a:pt x="323" y="1432"/>
                      </a:lnTo>
                      <a:lnTo>
                        <a:pt x="326" y="1432"/>
                      </a:lnTo>
                      <a:lnTo>
                        <a:pt x="323" y="1426"/>
                      </a:lnTo>
                      <a:lnTo>
                        <a:pt x="326" y="1423"/>
                      </a:lnTo>
                      <a:lnTo>
                        <a:pt x="323" y="1423"/>
                      </a:lnTo>
                      <a:lnTo>
                        <a:pt x="318" y="1426"/>
                      </a:lnTo>
                      <a:lnTo>
                        <a:pt x="320" y="1420"/>
                      </a:lnTo>
                      <a:lnTo>
                        <a:pt x="323" y="1420"/>
                      </a:lnTo>
                      <a:lnTo>
                        <a:pt x="326" y="1418"/>
                      </a:lnTo>
                      <a:lnTo>
                        <a:pt x="323" y="1418"/>
                      </a:lnTo>
                      <a:lnTo>
                        <a:pt x="318" y="1418"/>
                      </a:lnTo>
                      <a:lnTo>
                        <a:pt x="318" y="1415"/>
                      </a:lnTo>
                      <a:lnTo>
                        <a:pt x="318" y="1412"/>
                      </a:lnTo>
                      <a:lnTo>
                        <a:pt x="315" y="1415"/>
                      </a:lnTo>
                      <a:lnTo>
                        <a:pt x="312" y="1412"/>
                      </a:lnTo>
                      <a:lnTo>
                        <a:pt x="318" y="1412"/>
                      </a:lnTo>
                      <a:lnTo>
                        <a:pt x="318" y="1410"/>
                      </a:lnTo>
                      <a:lnTo>
                        <a:pt x="320" y="1410"/>
                      </a:lnTo>
                      <a:lnTo>
                        <a:pt x="323" y="1407"/>
                      </a:lnTo>
                      <a:lnTo>
                        <a:pt x="318" y="1407"/>
                      </a:lnTo>
                      <a:lnTo>
                        <a:pt x="320" y="1402"/>
                      </a:lnTo>
                      <a:lnTo>
                        <a:pt x="315" y="1402"/>
                      </a:lnTo>
                      <a:lnTo>
                        <a:pt x="318" y="1402"/>
                      </a:lnTo>
                      <a:lnTo>
                        <a:pt x="318" y="1399"/>
                      </a:lnTo>
                      <a:lnTo>
                        <a:pt x="315" y="1393"/>
                      </a:lnTo>
                      <a:lnTo>
                        <a:pt x="312" y="1396"/>
                      </a:lnTo>
                      <a:lnTo>
                        <a:pt x="312" y="1393"/>
                      </a:lnTo>
                      <a:lnTo>
                        <a:pt x="315" y="1387"/>
                      </a:lnTo>
                      <a:lnTo>
                        <a:pt x="318" y="1387"/>
                      </a:lnTo>
                      <a:lnTo>
                        <a:pt x="318" y="1385"/>
                      </a:lnTo>
                      <a:lnTo>
                        <a:pt x="320" y="1382"/>
                      </a:lnTo>
                      <a:lnTo>
                        <a:pt x="326" y="1385"/>
                      </a:lnTo>
                      <a:lnTo>
                        <a:pt x="326" y="1382"/>
                      </a:lnTo>
                      <a:lnTo>
                        <a:pt x="320" y="1382"/>
                      </a:lnTo>
                      <a:lnTo>
                        <a:pt x="323" y="1377"/>
                      </a:lnTo>
                      <a:lnTo>
                        <a:pt x="323" y="1374"/>
                      </a:lnTo>
                      <a:lnTo>
                        <a:pt x="315" y="1374"/>
                      </a:lnTo>
                      <a:lnTo>
                        <a:pt x="320" y="1371"/>
                      </a:lnTo>
                      <a:lnTo>
                        <a:pt x="320" y="1369"/>
                      </a:lnTo>
                      <a:lnTo>
                        <a:pt x="315" y="1366"/>
                      </a:lnTo>
                      <a:lnTo>
                        <a:pt x="310" y="1363"/>
                      </a:lnTo>
                      <a:lnTo>
                        <a:pt x="312" y="1361"/>
                      </a:lnTo>
                      <a:lnTo>
                        <a:pt x="318" y="1361"/>
                      </a:lnTo>
                      <a:lnTo>
                        <a:pt x="315" y="1357"/>
                      </a:lnTo>
                      <a:lnTo>
                        <a:pt x="320" y="1357"/>
                      </a:lnTo>
                      <a:lnTo>
                        <a:pt x="312" y="1351"/>
                      </a:lnTo>
                      <a:lnTo>
                        <a:pt x="307" y="1354"/>
                      </a:lnTo>
                      <a:lnTo>
                        <a:pt x="310" y="1346"/>
                      </a:lnTo>
                      <a:lnTo>
                        <a:pt x="310" y="1343"/>
                      </a:lnTo>
                      <a:lnTo>
                        <a:pt x="304" y="1343"/>
                      </a:lnTo>
                      <a:lnTo>
                        <a:pt x="307" y="1341"/>
                      </a:lnTo>
                      <a:lnTo>
                        <a:pt x="301" y="1338"/>
                      </a:lnTo>
                      <a:lnTo>
                        <a:pt x="307" y="1338"/>
                      </a:lnTo>
                      <a:lnTo>
                        <a:pt x="304" y="1333"/>
                      </a:lnTo>
                      <a:lnTo>
                        <a:pt x="310" y="1335"/>
                      </a:lnTo>
                      <a:lnTo>
                        <a:pt x="310" y="1338"/>
                      </a:lnTo>
                      <a:lnTo>
                        <a:pt x="312" y="1335"/>
                      </a:lnTo>
                      <a:lnTo>
                        <a:pt x="312" y="1333"/>
                      </a:lnTo>
                      <a:lnTo>
                        <a:pt x="315" y="1330"/>
                      </a:lnTo>
                      <a:lnTo>
                        <a:pt x="310" y="1327"/>
                      </a:lnTo>
                      <a:lnTo>
                        <a:pt x="310" y="1324"/>
                      </a:lnTo>
                      <a:lnTo>
                        <a:pt x="307" y="1318"/>
                      </a:lnTo>
                      <a:lnTo>
                        <a:pt x="301" y="1316"/>
                      </a:lnTo>
                      <a:lnTo>
                        <a:pt x="295" y="1318"/>
                      </a:lnTo>
                      <a:lnTo>
                        <a:pt x="298" y="1313"/>
                      </a:lnTo>
                      <a:lnTo>
                        <a:pt x="301" y="1313"/>
                      </a:lnTo>
                      <a:lnTo>
                        <a:pt x="301" y="1310"/>
                      </a:lnTo>
                      <a:lnTo>
                        <a:pt x="298" y="1313"/>
                      </a:lnTo>
                      <a:lnTo>
                        <a:pt x="295" y="1310"/>
                      </a:lnTo>
                      <a:lnTo>
                        <a:pt x="298" y="1305"/>
                      </a:lnTo>
                      <a:lnTo>
                        <a:pt x="295" y="1302"/>
                      </a:lnTo>
                      <a:lnTo>
                        <a:pt x="287" y="1308"/>
                      </a:lnTo>
                      <a:lnTo>
                        <a:pt x="287" y="1305"/>
                      </a:lnTo>
                      <a:lnTo>
                        <a:pt x="284" y="1308"/>
                      </a:lnTo>
                      <a:lnTo>
                        <a:pt x="284" y="1305"/>
                      </a:lnTo>
                      <a:lnTo>
                        <a:pt x="287" y="1302"/>
                      </a:lnTo>
                      <a:lnTo>
                        <a:pt x="284" y="1300"/>
                      </a:lnTo>
                      <a:lnTo>
                        <a:pt x="279" y="1302"/>
                      </a:lnTo>
                      <a:lnTo>
                        <a:pt x="276" y="1302"/>
                      </a:lnTo>
                      <a:lnTo>
                        <a:pt x="276" y="1300"/>
                      </a:lnTo>
                      <a:lnTo>
                        <a:pt x="274" y="1300"/>
                      </a:lnTo>
                      <a:lnTo>
                        <a:pt x="274" y="1302"/>
                      </a:lnTo>
                      <a:lnTo>
                        <a:pt x="271" y="1302"/>
                      </a:lnTo>
                      <a:lnTo>
                        <a:pt x="274" y="1308"/>
                      </a:lnTo>
                      <a:lnTo>
                        <a:pt x="271" y="1313"/>
                      </a:lnTo>
                      <a:lnTo>
                        <a:pt x="268" y="1310"/>
                      </a:lnTo>
                      <a:lnTo>
                        <a:pt x="268" y="1305"/>
                      </a:lnTo>
                      <a:lnTo>
                        <a:pt x="266" y="1300"/>
                      </a:lnTo>
                      <a:lnTo>
                        <a:pt x="262" y="1300"/>
                      </a:lnTo>
                      <a:lnTo>
                        <a:pt x="259" y="1300"/>
                      </a:lnTo>
                      <a:lnTo>
                        <a:pt x="259" y="1297"/>
                      </a:lnTo>
                      <a:lnTo>
                        <a:pt x="262" y="1294"/>
                      </a:lnTo>
                      <a:lnTo>
                        <a:pt x="254" y="1288"/>
                      </a:lnTo>
                      <a:lnTo>
                        <a:pt x="251" y="1285"/>
                      </a:lnTo>
                      <a:lnTo>
                        <a:pt x="249" y="1280"/>
                      </a:lnTo>
                      <a:lnTo>
                        <a:pt x="243" y="1277"/>
                      </a:lnTo>
                      <a:lnTo>
                        <a:pt x="241" y="1280"/>
                      </a:lnTo>
                      <a:lnTo>
                        <a:pt x="235" y="1285"/>
                      </a:lnTo>
                      <a:lnTo>
                        <a:pt x="232" y="1288"/>
                      </a:lnTo>
                      <a:lnTo>
                        <a:pt x="226" y="1283"/>
                      </a:lnTo>
                      <a:lnTo>
                        <a:pt x="223" y="1277"/>
                      </a:lnTo>
                      <a:lnTo>
                        <a:pt x="218" y="1277"/>
                      </a:lnTo>
                      <a:lnTo>
                        <a:pt x="215" y="1285"/>
                      </a:lnTo>
                      <a:lnTo>
                        <a:pt x="215" y="1300"/>
                      </a:lnTo>
                      <a:lnTo>
                        <a:pt x="213" y="1300"/>
                      </a:lnTo>
                      <a:lnTo>
                        <a:pt x="213" y="1302"/>
                      </a:lnTo>
                      <a:lnTo>
                        <a:pt x="207" y="1294"/>
                      </a:lnTo>
                      <a:lnTo>
                        <a:pt x="202" y="1280"/>
                      </a:lnTo>
                      <a:lnTo>
                        <a:pt x="202" y="1274"/>
                      </a:lnTo>
                      <a:lnTo>
                        <a:pt x="213" y="1261"/>
                      </a:lnTo>
                      <a:lnTo>
                        <a:pt x="213" y="1252"/>
                      </a:lnTo>
                      <a:lnTo>
                        <a:pt x="210" y="1249"/>
                      </a:lnTo>
                      <a:lnTo>
                        <a:pt x="207" y="1249"/>
                      </a:lnTo>
                      <a:lnTo>
                        <a:pt x="193" y="1261"/>
                      </a:lnTo>
                      <a:lnTo>
                        <a:pt x="185" y="1269"/>
                      </a:lnTo>
                      <a:lnTo>
                        <a:pt x="182" y="1269"/>
                      </a:lnTo>
                      <a:lnTo>
                        <a:pt x="174" y="1266"/>
                      </a:lnTo>
                      <a:lnTo>
                        <a:pt x="169" y="1269"/>
                      </a:lnTo>
                      <a:lnTo>
                        <a:pt x="166" y="1274"/>
                      </a:lnTo>
                      <a:lnTo>
                        <a:pt x="169" y="1274"/>
                      </a:lnTo>
                      <a:lnTo>
                        <a:pt x="179" y="1280"/>
                      </a:lnTo>
                      <a:lnTo>
                        <a:pt x="179" y="1283"/>
                      </a:lnTo>
                      <a:lnTo>
                        <a:pt x="182" y="1285"/>
                      </a:lnTo>
                      <a:lnTo>
                        <a:pt x="179" y="1285"/>
                      </a:lnTo>
                      <a:lnTo>
                        <a:pt x="171" y="1285"/>
                      </a:lnTo>
                      <a:lnTo>
                        <a:pt x="160" y="1277"/>
                      </a:lnTo>
                      <a:lnTo>
                        <a:pt x="157" y="1277"/>
                      </a:lnTo>
                      <a:lnTo>
                        <a:pt x="154" y="1280"/>
                      </a:lnTo>
                      <a:lnTo>
                        <a:pt x="154" y="1292"/>
                      </a:lnTo>
                      <a:lnTo>
                        <a:pt x="149" y="1292"/>
                      </a:lnTo>
                      <a:lnTo>
                        <a:pt x="144" y="1285"/>
                      </a:lnTo>
                      <a:lnTo>
                        <a:pt x="138" y="1274"/>
                      </a:lnTo>
                      <a:lnTo>
                        <a:pt x="133" y="1274"/>
                      </a:lnTo>
                      <a:lnTo>
                        <a:pt x="119" y="1283"/>
                      </a:lnTo>
                      <a:lnTo>
                        <a:pt x="111" y="1297"/>
                      </a:lnTo>
                      <a:lnTo>
                        <a:pt x="108" y="1297"/>
                      </a:lnTo>
                      <a:lnTo>
                        <a:pt x="100" y="1292"/>
                      </a:lnTo>
                      <a:lnTo>
                        <a:pt x="94" y="1294"/>
                      </a:lnTo>
                      <a:lnTo>
                        <a:pt x="94" y="1297"/>
                      </a:lnTo>
                      <a:lnTo>
                        <a:pt x="94" y="1302"/>
                      </a:lnTo>
                      <a:lnTo>
                        <a:pt x="91" y="1308"/>
                      </a:lnTo>
                      <a:lnTo>
                        <a:pt x="77" y="1318"/>
                      </a:lnTo>
                      <a:lnTo>
                        <a:pt x="80" y="1330"/>
                      </a:lnTo>
                      <a:lnTo>
                        <a:pt x="77" y="1333"/>
                      </a:lnTo>
                      <a:lnTo>
                        <a:pt x="75" y="1333"/>
                      </a:lnTo>
                      <a:lnTo>
                        <a:pt x="69" y="1318"/>
                      </a:lnTo>
                      <a:lnTo>
                        <a:pt x="61" y="1308"/>
                      </a:lnTo>
                      <a:lnTo>
                        <a:pt x="55" y="1305"/>
                      </a:lnTo>
                      <a:lnTo>
                        <a:pt x="47" y="1300"/>
                      </a:lnTo>
                      <a:lnTo>
                        <a:pt x="39" y="1305"/>
                      </a:lnTo>
                      <a:lnTo>
                        <a:pt x="36" y="1305"/>
                      </a:lnTo>
                      <a:lnTo>
                        <a:pt x="33" y="1300"/>
                      </a:lnTo>
                      <a:lnTo>
                        <a:pt x="36" y="1294"/>
                      </a:lnTo>
                      <a:lnTo>
                        <a:pt x="31" y="1292"/>
                      </a:lnTo>
                      <a:lnTo>
                        <a:pt x="24" y="1288"/>
                      </a:lnTo>
                      <a:lnTo>
                        <a:pt x="22" y="1288"/>
                      </a:lnTo>
                      <a:lnTo>
                        <a:pt x="11" y="1292"/>
                      </a:lnTo>
                      <a:lnTo>
                        <a:pt x="11" y="1269"/>
                      </a:lnTo>
                      <a:lnTo>
                        <a:pt x="8" y="1261"/>
                      </a:lnTo>
                      <a:lnTo>
                        <a:pt x="8" y="1244"/>
                      </a:lnTo>
                      <a:lnTo>
                        <a:pt x="0" y="1239"/>
                      </a:lnTo>
                      <a:lnTo>
                        <a:pt x="0" y="1233"/>
                      </a:lnTo>
                      <a:lnTo>
                        <a:pt x="0" y="1231"/>
                      </a:lnTo>
                      <a:lnTo>
                        <a:pt x="6" y="1228"/>
                      </a:lnTo>
                      <a:close/>
                    </a:path>
                  </a:pathLst>
                </a:custGeom>
                <a:grpFill/>
                <a:ln w="12700" cap="flat" cmpd="sng" algn="ctr">
                  <a:solidFill>
                    <a:schemeClr val="bg1">
                      <a:lumMod val="85000"/>
                    </a:schemeClr>
                  </a:solidFill>
                  <a:prstDash val="solid"/>
                  <a:round/>
                  <a:headEnd type="none" w="med" len="med"/>
                  <a:tailEnd type="none" w="med" len="med"/>
                </a:ln>
              </p:spPr>
            </p:sp>
            <p:sp>
              <p:nvSpPr>
                <p:cNvPr id="54" name="ee4p_BR_15"/>
                <p:cNvSpPr>
                  <a:spLocks/>
                </p:cNvSpPr>
                <p:nvPr>
                  <p:custDataLst>
                    <p:tags r:id="rId16"/>
                  </p:custDataLst>
                </p:nvPr>
              </p:nvSpPr>
              <p:spPr bwMode="auto">
                <a:xfrm>
                  <a:off x="6216825" y="2873127"/>
                  <a:ext cx="412143" cy="267893"/>
                </a:xfrm>
                <a:custGeom>
                  <a:avLst/>
                  <a:gdLst/>
                  <a:ahLst/>
                  <a:cxnLst>
                    <a:cxn ang="0">
                      <a:pos x="53" y="323"/>
                    </a:cxn>
                    <a:cxn ang="0">
                      <a:pos x="50" y="267"/>
                    </a:cxn>
                    <a:cxn ang="0">
                      <a:pos x="86" y="177"/>
                    </a:cxn>
                    <a:cxn ang="0">
                      <a:pos x="80" y="141"/>
                    </a:cxn>
                    <a:cxn ang="0">
                      <a:pos x="130" y="157"/>
                    </a:cxn>
                    <a:cxn ang="0">
                      <a:pos x="207" y="193"/>
                    </a:cxn>
                    <a:cxn ang="0">
                      <a:pos x="290" y="174"/>
                    </a:cxn>
                    <a:cxn ang="0">
                      <a:pos x="345" y="162"/>
                    </a:cxn>
                    <a:cxn ang="0">
                      <a:pos x="411" y="110"/>
                    </a:cxn>
                    <a:cxn ang="0">
                      <a:pos x="475" y="63"/>
                    </a:cxn>
                    <a:cxn ang="0">
                      <a:pos x="574" y="24"/>
                    </a:cxn>
                    <a:cxn ang="0">
                      <a:pos x="646" y="49"/>
                    </a:cxn>
                    <a:cxn ang="0">
                      <a:pos x="571" y="124"/>
                    </a:cxn>
                    <a:cxn ang="0">
                      <a:pos x="522" y="223"/>
                    </a:cxn>
                    <a:cxn ang="0">
                      <a:pos x="610" y="306"/>
                    </a:cxn>
                    <a:cxn ang="0">
                      <a:pos x="729" y="306"/>
                    </a:cxn>
                    <a:cxn ang="0">
                      <a:pos x="834" y="400"/>
                    </a:cxn>
                    <a:cxn ang="0">
                      <a:pos x="914" y="300"/>
                    </a:cxn>
                    <a:cxn ang="0">
                      <a:pos x="942" y="221"/>
                    </a:cxn>
                    <a:cxn ang="0">
                      <a:pos x="985" y="116"/>
                    </a:cxn>
                    <a:cxn ang="0">
                      <a:pos x="1074" y="168"/>
                    </a:cxn>
                    <a:cxn ang="0">
                      <a:pos x="1184" y="193"/>
                    </a:cxn>
                    <a:cxn ang="0">
                      <a:pos x="1303" y="193"/>
                    </a:cxn>
                    <a:cxn ang="0">
                      <a:pos x="1353" y="190"/>
                    </a:cxn>
                    <a:cxn ang="0">
                      <a:pos x="1471" y="221"/>
                    </a:cxn>
                    <a:cxn ang="0">
                      <a:pos x="1551" y="270"/>
                    </a:cxn>
                    <a:cxn ang="0">
                      <a:pos x="1584" y="364"/>
                    </a:cxn>
                    <a:cxn ang="0">
                      <a:pos x="1588" y="413"/>
                    </a:cxn>
                    <a:cxn ang="0">
                      <a:pos x="1604" y="463"/>
                    </a:cxn>
                    <a:cxn ang="0">
                      <a:pos x="1612" y="607"/>
                    </a:cxn>
                    <a:cxn ang="0">
                      <a:pos x="1548" y="635"/>
                    </a:cxn>
                    <a:cxn ang="0">
                      <a:pos x="1463" y="571"/>
                    </a:cxn>
                    <a:cxn ang="0">
                      <a:pos x="1381" y="593"/>
                    </a:cxn>
                    <a:cxn ang="0">
                      <a:pos x="1314" y="653"/>
                    </a:cxn>
                    <a:cxn ang="0">
                      <a:pos x="1267" y="701"/>
                    </a:cxn>
                    <a:cxn ang="0">
                      <a:pos x="1190" y="720"/>
                    </a:cxn>
                    <a:cxn ang="0">
                      <a:pos x="1096" y="737"/>
                    </a:cxn>
                    <a:cxn ang="0">
                      <a:pos x="1001" y="747"/>
                    </a:cxn>
                    <a:cxn ang="0">
                      <a:pos x="922" y="794"/>
                    </a:cxn>
                    <a:cxn ang="0">
                      <a:pos x="858" y="860"/>
                    </a:cxn>
                    <a:cxn ang="0">
                      <a:pos x="817" y="908"/>
                    </a:cxn>
                    <a:cxn ang="0">
                      <a:pos x="699" y="937"/>
                    </a:cxn>
                    <a:cxn ang="0">
                      <a:pos x="654" y="850"/>
                    </a:cxn>
                    <a:cxn ang="0">
                      <a:pos x="605" y="816"/>
                    </a:cxn>
                    <a:cxn ang="0">
                      <a:pos x="594" y="789"/>
                    </a:cxn>
                    <a:cxn ang="0">
                      <a:pos x="648" y="742"/>
                    </a:cxn>
                    <a:cxn ang="0">
                      <a:pos x="646" y="659"/>
                    </a:cxn>
                    <a:cxn ang="0">
                      <a:pos x="712" y="596"/>
                    </a:cxn>
                    <a:cxn ang="0">
                      <a:pos x="654" y="548"/>
                    </a:cxn>
                    <a:cxn ang="0">
                      <a:pos x="549" y="560"/>
                    </a:cxn>
                    <a:cxn ang="0">
                      <a:pos x="485" y="612"/>
                    </a:cxn>
                    <a:cxn ang="0">
                      <a:pos x="411" y="668"/>
                    </a:cxn>
                    <a:cxn ang="0">
                      <a:pos x="359" y="694"/>
                    </a:cxn>
                    <a:cxn ang="0">
                      <a:pos x="303" y="725"/>
                    </a:cxn>
                    <a:cxn ang="0">
                      <a:pos x="226" y="747"/>
                    </a:cxn>
                    <a:cxn ang="0">
                      <a:pos x="183" y="709"/>
                    </a:cxn>
                    <a:cxn ang="0">
                      <a:pos x="122" y="714"/>
                    </a:cxn>
                    <a:cxn ang="0">
                      <a:pos x="50" y="694"/>
                    </a:cxn>
                    <a:cxn ang="0">
                      <a:pos x="45" y="637"/>
                    </a:cxn>
                    <a:cxn ang="0">
                      <a:pos x="75" y="574"/>
                    </a:cxn>
                    <a:cxn ang="0">
                      <a:pos x="61" y="499"/>
                    </a:cxn>
                    <a:cxn ang="0">
                      <a:pos x="35" y="436"/>
                    </a:cxn>
                    <a:cxn ang="0">
                      <a:pos x="5" y="384"/>
                    </a:cxn>
                  </a:cxnLst>
                  <a:rect l="0" t="0" r="r" b="b"/>
                  <a:pathLst>
                    <a:path w="1614" h="954">
                      <a:moveTo>
                        <a:pt x="0" y="369"/>
                      </a:moveTo>
                      <a:lnTo>
                        <a:pt x="2" y="367"/>
                      </a:lnTo>
                      <a:lnTo>
                        <a:pt x="14" y="364"/>
                      </a:lnTo>
                      <a:lnTo>
                        <a:pt x="14" y="361"/>
                      </a:lnTo>
                      <a:lnTo>
                        <a:pt x="17" y="361"/>
                      </a:lnTo>
                      <a:lnTo>
                        <a:pt x="22" y="361"/>
                      </a:lnTo>
                      <a:lnTo>
                        <a:pt x="22" y="356"/>
                      </a:lnTo>
                      <a:lnTo>
                        <a:pt x="27" y="356"/>
                      </a:lnTo>
                      <a:lnTo>
                        <a:pt x="33" y="353"/>
                      </a:lnTo>
                      <a:lnTo>
                        <a:pt x="35" y="350"/>
                      </a:lnTo>
                      <a:lnTo>
                        <a:pt x="35" y="348"/>
                      </a:lnTo>
                      <a:lnTo>
                        <a:pt x="38" y="344"/>
                      </a:lnTo>
                      <a:lnTo>
                        <a:pt x="38" y="341"/>
                      </a:lnTo>
                      <a:lnTo>
                        <a:pt x="35" y="339"/>
                      </a:lnTo>
                      <a:lnTo>
                        <a:pt x="42" y="333"/>
                      </a:lnTo>
                      <a:lnTo>
                        <a:pt x="45" y="331"/>
                      </a:lnTo>
                      <a:lnTo>
                        <a:pt x="47" y="328"/>
                      </a:lnTo>
                      <a:lnTo>
                        <a:pt x="53" y="325"/>
                      </a:lnTo>
                      <a:lnTo>
                        <a:pt x="53" y="323"/>
                      </a:lnTo>
                      <a:lnTo>
                        <a:pt x="50" y="320"/>
                      </a:lnTo>
                      <a:lnTo>
                        <a:pt x="55" y="320"/>
                      </a:lnTo>
                      <a:lnTo>
                        <a:pt x="61" y="323"/>
                      </a:lnTo>
                      <a:lnTo>
                        <a:pt x="61" y="317"/>
                      </a:lnTo>
                      <a:lnTo>
                        <a:pt x="55" y="315"/>
                      </a:lnTo>
                      <a:lnTo>
                        <a:pt x="53" y="308"/>
                      </a:lnTo>
                      <a:lnTo>
                        <a:pt x="47" y="308"/>
                      </a:lnTo>
                      <a:lnTo>
                        <a:pt x="47" y="306"/>
                      </a:lnTo>
                      <a:lnTo>
                        <a:pt x="47" y="303"/>
                      </a:lnTo>
                      <a:lnTo>
                        <a:pt x="45" y="300"/>
                      </a:lnTo>
                      <a:lnTo>
                        <a:pt x="45" y="295"/>
                      </a:lnTo>
                      <a:lnTo>
                        <a:pt x="42" y="292"/>
                      </a:lnTo>
                      <a:lnTo>
                        <a:pt x="38" y="284"/>
                      </a:lnTo>
                      <a:lnTo>
                        <a:pt x="38" y="281"/>
                      </a:lnTo>
                      <a:lnTo>
                        <a:pt x="42" y="272"/>
                      </a:lnTo>
                      <a:lnTo>
                        <a:pt x="45" y="272"/>
                      </a:lnTo>
                      <a:lnTo>
                        <a:pt x="42" y="272"/>
                      </a:lnTo>
                      <a:lnTo>
                        <a:pt x="47" y="270"/>
                      </a:lnTo>
                      <a:lnTo>
                        <a:pt x="50" y="267"/>
                      </a:lnTo>
                      <a:lnTo>
                        <a:pt x="50" y="262"/>
                      </a:lnTo>
                      <a:lnTo>
                        <a:pt x="45" y="259"/>
                      </a:lnTo>
                      <a:lnTo>
                        <a:pt x="45" y="254"/>
                      </a:lnTo>
                      <a:lnTo>
                        <a:pt x="47" y="251"/>
                      </a:lnTo>
                      <a:lnTo>
                        <a:pt x="50" y="248"/>
                      </a:lnTo>
                      <a:lnTo>
                        <a:pt x="55" y="243"/>
                      </a:lnTo>
                      <a:lnTo>
                        <a:pt x="55" y="237"/>
                      </a:lnTo>
                      <a:lnTo>
                        <a:pt x="50" y="231"/>
                      </a:lnTo>
                      <a:lnTo>
                        <a:pt x="55" y="229"/>
                      </a:lnTo>
                      <a:lnTo>
                        <a:pt x="55" y="226"/>
                      </a:lnTo>
                      <a:lnTo>
                        <a:pt x="58" y="223"/>
                      </a:lnTo>
                      <a:lnTo>
                        <a:pt x="58" y="221"/>
                      </a:lnTo>
                      <a:lnTo>
                        <a:pt x="63" y="212"/>
                      </a:lnTo>
                      <a:lnTo>
                        <a:pt x="61" y="210"/>
                      </a:lnTo>
                      <a:lnTo>
                        <a:pt x="63" y="203"/>
                      </a:lnTo>
                      <a:lnTo>
                        <a:pt x="69" y="198"/>
                      </a:lnTo>
                      <a:lnTo>
                        <a:pt x="80" y="187"/>
                      </a:lnTo>
                      <a:lnTo>
                        <a:pt x="80" y="179"/>
                      </a:lnTo>
                      <a:lnTo>
                        <a:pt x="86" y="177"/>
                      </a:lnTo>
                      <a:lnTo>
                        <a:pt x="86" y="174"/>
                      </a:lnTo>
                      <a:lnTo>
                        <a:pt x="86" y="170"/>
                      </a:lnTo>
                      <a:lnTo>
                        <a:pt x="99" y="160"/>
                      </a:lnTo>
                      <a:lnTo>
                        <a:pt x="102" y="160"/>
                      </a:lnTo>
                      <a:lnTo>
                        <a:pt x="96" y="154"/>
                      </a:lnTo>
                      <a:lnTo>
                        <a:pt x="91" y="157"/>
                      </a:lnTo>
                      <a:lnTo>
                        <a:pt x="88" y="157"/>
                      </a:lnTo>
                      <a:lnTo>
                        <a:pt x="78" y="157"/>
                      </a:lnTo>
                      <a:lnTo>
                        <a:pt x="75" y="157"/>
                      </a:lnTo>
                      <a:lnTo>
                        <a:pt x="75" y="154"/>
                      </a:lnTo>
                      <a:lnTo>
                        <a:pt x="71" y="154"/>
                      </a:lnTo>
                      <a:lnTo>
                        <a:pt x="69" y="154"/>
                      </a:lnTo>
                      <a:lnTo>
                        <a:pt x="66" y="152"/>
                      </a:lnTo>
                      <a:lnTo>
                        <a:pt x="69" y="152"/>
                      </a:lnTo>
                      <a:lnTo>
                        <a:pt x="71" y="149"/>
                      </a:lnTo>
                      <a:lnTo>
                        <a:pt x="71" y="146"/>
                      </a:lnTo>
                      <a:lnTo>
                        <a:pt x="78" y="146"/>
                      </a:lnTo>
                      <a:lnTo>
                        <a:pt x="78" y="141"/>
                      </a:lnTo>
                      <a:lnTo>
                        <a:pt x="80" y="141"/>
                      </a:lnTo>
                      <a:lnTo>
                        <a:pt x="83" y="138"/>
                      </a:lnTo>
                      <a:lnTo>
                        <a:pt x="91" y="138"/>
                      </a:lnTo>
                      <a:lnTo>
                        <a:pt x="88" y="134"/>
                      </a:lnTo>
                      <a:lnTo>
                        <a:pt x="91" y="132"/>
                      </a:lnTo>
                      <a:lnTo>
                        <a:pt x="94" y="132"/>
                      </a:lnTo>
                      <a:lnTo>
                        <a:pt x="99" y="134"/>
                      </a:lnTo>
                      <a:lnTo>
                        <a:pt x="102" y="134"/>
                      </a:lnTo>
                      <a:lnTo>
                        <a:pt x="104" y="138"/>
                      </a:lnTo>
                      <a:lnTo>
                        <a:pt x="111" y="132"/>
                      </a:lnTo>
                      <a:lnTo>
                        <a:pt x="114" y="132"/>
                      </a:lnTo>
                      <a:lnTo>
                        <a:pt x="119" y="129"/>
                      </a:lnTo>
                      <a:lnTo>
                        <a:pt x="124" y="126"/>
                      </a:lnTo>
                      <a:lnTo>
                        <a:pt x="119" y="134"/>
                      </a:lnTo>
                      <a:lnTo>
                        <a:pt x="114" y="143"/>
                      </a:lnTo>
                      <a:lnTo>
                        <a:pt x="116" y="149"/>
                      </a:lnTo>
                      <a:lnTo>
                        <a:pt x="114" y="157"/>
                      </a:lnTo>
                      <a:lnTo>
                        <a:pt x="122" y="154"/>
                      </a:lnTo>
                      <a:lnTo>
                        <a:pt x="127" y="154"/>
                      </a:lnTo>
                      <a:lnTo>
                        <a:pt x="130" y="157"/>
                      </a:lnTo>
                      <a:lnTo>
                        <a:pt x="138" y="162"/>
                      </a:lnTo>
                      <a:lnTo>
                        <a:pt x="147" y="160"/>
                      </a:lnTo>
                      <a:lnTo>
                        <a:pt x="149" y="160"/>
                      </a:lnTo>
                      <a:lnTo>
                        <a:pt x="152" y="162"/>
                      </a:lnTo>
                      <a:lnTo>
                        <a:pt x="155" y="165"/>
                      </a:lnTo>
                      <a:lnTo>
                        <a:pt x="157" y="170"/>
                      </a:lnTo>
                      <a:lnTo>
                        <a:pt x="160" y="174"/>
                      </a:lnTo>
                      <a:lnTo>
                        <a:pt x="160" y="179"/>
                      </a:lnTo>
                      <a:lnTo>
                        <a:pt x="163" y="179"/>
                      </a:lnTo>
                      <a:lnTo>
                        <a:pt x="165" y="182"/>
                      </a:lnTo>
                      <a:lnTo>
                        <a:pt x="168" y="182"/>
                      </a:lnTo>
                      <a:lnTo>
                        <a:pt x="171" y="182"/>
                      </a:lnTo>
                      <a:lnTo>
                        <a:pt x="173" y="182"/>
                      </a:lnTo>
                      <a:lnTo>
                        <a:pt x="176" y="182"/>
                      </a:lnTo>
                      <a:lnTo>
                        <a:pt x="183" y="187"/>
                      </a:lnTo>
                      <a:lnTo>
                        <a:pt x="185" y="193"/>
                      </a:lnTo>
                      <a:lnTo>
                        <a:pt x="193" y="193"/>
                      </a:lnTo>
                      <a:lnTo>
                        <a:pt x="193" y="201"/>
                      </a:lnTo>
                      <a:lnTo>
                        <a:pt x="207" y="193"/>
                      </a:lnTo>
                      <a:lnTo>
                        <a:pt x="209" y="193"/>
                      </a:lnTo>
                      <a:lnTo>
                        <a:pt x="216" y="190"/>
                      </a:lnTo>
                      <a:lnTo>
                        <a:pt x="218" y="193"/>
                      </a:lnTo>
                      <a:lnTo>
                        <a:pt x="229" y="193"/>
                      </a:lnTo>
                      <a:lnTo>
                        <a:pt x="234" y="198"/>
                      </a:lnTo>
                      <a:lnTo>
                        <a:pt x="245" y="198"/>
                      </a:lnTo>
                      <a:lnTo>
                        <a:pt x="252" y="195"/>
                      </a:lnTo>
                      <a:lnTo>
                        <a:pt x="257" y="206"/>
                      </a:lnTo>
                      <a:lnTo>
                        <a:pt x="262" y="206"/>
                      </a:lnTo>
                      <a:lnTo>
                        <a:pt x="265" y="206"/>
                      </a:lnTo>
                      <a:lnTo>
                        <a:pt x="270" y="201"/>
                      </a:lnTo>
                      <a:lnTo>
                        <a:pt x="273" y="195"/>
                      </a:lnTo>
                      <a:lnTo>
                        <a:pt x="278" y="193"/>
                      </a:lnTo>
                      <a:lnTo>
                        <a:pt x="282" y="185"/>
                      </a:lnTo>
                      <a:lnTo>
                        <a:pt x="285" y="182"/>
                      </a:lnTo>
                      <a:lnTo>
                        <a:pt x="287" y="182"/>
                      </a:lnTo>
                      <a:lnTo>
                        <a:pt x="287" y="179"/>
                      </a:lnTo>
                      <a:lnTo>
                        <a:pt x="290" y="179"/>
                      </a:lnTo>
                      <a:lnTo>
                        <a:pt x="290" y="174"/>
                      </a:lnTo>
                      <a:lnTo>
                        <a:pt x="293" y="174"/>
                      </a:lnTo>
                      <a:lnTo>
                        <a:pt x="293" y="179"/>
                      </a:lnTo>
                      <a:lnTo>
                        <a:pt x="298" y="182"/>
                      </a:lnTo>
                      <a:lnTo>
                        <a:pt x="295" y="187"/>
                      </a:lnTo>
                      <a:lnTo>
                        <a:pt x="298" y="187"/>
                      </a:lnTo>
                      <a:lnTo>
                        <a:pt x="301" y="187"/>
                      </a:lnTo>
                      <a:lnTo>
                        <a:pt x="303" y="185"/>
                      </a:lnTo>
                      <a:lnTo>
                        <a:pt x="306" y="185"/>
                      </a:lnTo>
                      <a:lnTo>
                        <a:pt x="303" y="177"/>
                      </a:lnTo>
                      <a:lnTo>
                        <a:pt x="309" y="170"/>
                      </a:lnTo>
                      <a:lnTo>
                        <a:pt x="306" y="168"/>
                      </a:lnTo>
                      <a:lnTo>
                        <a:pt x="321" y="168"/>
                      </a:lnTo>
                      <a:lnTo>
                        <a:pt x="323" y="165"/>
                      </a:lnTo>
                      <a:lnTo>
                        <a:pt x="326" y="160"/>
                      </a:lnTo>
                      <a:lnTo>
                        <a:pt x="329" y="157"/>
                      </a:lnTo>
                      <a:lnTo>
                        <a:pt x="329" y="160"/>
                      </a:lnTo>
                      <a:lnTo>
                        <a:pt x="334" y="165"/>
                      </a:lnTo>
                      <a:lnTo>
                        <a:pt x="339" y="165"/>
                      </a:lnTo>
                      <a:lnTo>
                        <a:pt x="345" y="162"/>
                      </a:lnTo>
                      <a:lnTo>
                        <a:pt x="351" y="157"/>
                      </a:lnTo>
                      <a:lnTo>
                        <a:pt x="356" y="157"/>
                      </a:lnTo>
                      <a:lnTo>
                        <a:pt x="359" y="154"/>
                      </a:lnTo>
                      <a:lnTo>
                        <a:pt x="356" y="152"/>
                      </a:lnTo>
                      <a:lnTo>
                        <a:pt x="356" y="141"/>
                      </a:lnTo>
                      <a:lnTo>
                        <a:pt x="367" y="146"/>
                      </a:lnTo>
                      <a:lnTo>
                        <a:pt x="370" y="143"/>
                      </a:lnTo>
                      <a:lnTo>
                        <a:pt x="375" y="141"/>
                      </a:lnTo>
                      <a:lnTo>
                        <a:pt x="375" y="138"/>
                      </a:lnTo>
                      <a:lnTo>
                        <a:pt x="378" y="132"/>
                      </a:lnTo>
                      <a:lnTo>
                        <a:pt x="375" y="129"/>
                      </a:lnTo>
                      <a:lnTo>
                        <a:pt x="378" y="124"/>
                      </a:lnTo>
                      <a:lnTo>
                        <a:pt x="383" y="121"/>
                      </a:lnTo>
                      <a:lnTo>
                        <a:pt x="387" y="121"/>
                      </a:lnTo>
                      <a:lnTo>
                        <a:pt x="383" y="118"/>
                      </a:lnTo>
                      <a:lnTo>
                        <a:pt x="390" y="110"/>
                      </a:lnTo>
                      <a:lnTo>
                        <a:pt x="395" y="110"/>
                      </a:lnTo>
                      <a:lnTo>
                        <a:pt x="403" y="110"/>
                      </a:lnTo>
                      <a:lnTo>
                        <a:pt x="411" y="110"/>
                      </a:lnTo>
                      <a:lnTo>
                        <a:pt x="408" y="110"/>
                      </a:lnTo>
                      <a:lnTo>
                        <a:pt x="406" y="105"/>
                      </a:lnTo>
                      <a:lnTo>
                        <a:pt x="406" y="99"/>
                      </a:lnTo>
                      <a:lnTo>
                        <a:pt x="408" y="96"/>
                      </a:lnTo>
                      <a:lnTo>
                        <a:pt x="403" y="91"/>
                      </a:lnTo>
                      <a:lnTo>
                        <a:pt x="408" y="88"/>
                      </a:lnTo>
                      <a:lnTo>
                        <a:pt x="403" y="85"/>
                      </a:lnTo>
                      <a:lnTo>
                        <a:pt x="408" y="80"/>
                      </a:lnTo>
                      <a:lnTo>
                        <a:pt x="411" y="80"/>
                      </a:lnTo>
                      <a:lnTo>
                        <a:pt x="411" y="74"/>
                      </a:lnTo>
                      <a:lnTo>
                        <a:pt x="414" y="72"/>
                      </a:lnTo>
                      <a:lnTo>
                        <a:pt x="428" y="63"/>
                      </a:lnTo>
                      <a:lnTo>
                        <a:pt x="431" y="63"/>
                      </a:lnTo>
                      <a:lnTo>
                        <a:pt x="433" y="65"/>
                      </a:lnTo>
                      <a:lnTo>
                        <a:pt x="441" y="69"/>
                      </a:lnTo>
                      <a:lnTo>
                        <a:pt x="456" y="69"/>
                      </a:lnTo>
                      <a:lnTo>
                        <a:pt x="459" y="63"/>
                      </a:lnTo>
                      <a:lnTo>
                        <a:pt x="467" y="63"/>
                      </a:lnTo>
                      <a:lnTo>
                        <a:pt x="475" y="63"/>
                      </a:lnTo>
                      <a:lnTo>
                        <a:pt x="480" y="57"/>
                      </a:lnTo>
                      <a:lnTo>
                        <a:pt x="485" y="55"/>
                      </a:lnTo>
                      <a:lnTo>
                        <a:pt x="492" y="57"/>
                      </a:lnTo>
                      <a:lnTo>
                        <a:pt x="500" y="57"/>
                      </a:lnTo>
                      <a:lnTo>
                        <a:pt x="500" y="52"/>
                      </a:lnTo>
                      <a:lnTo>
                        <a:pt x="505" y="52"/>
                      </a:lnTo>
                      <a:lnTo>
                        <a:pt x="513" y="52"/>
                      </a:lnTo>
                      <a:lnTo>
                        <a:pt x="513" y="49"/>
                      </a:lnTo>
                      <a:lnTo>
                        <a:pt x="518" y="49"/>
                      </a:lnTo>
                      <a:lnTo>
                        <a:pt x="522" y="52"/>
                      </a:lnTo>
                      <a:lnTo>
                        <a:pt x="533" y="49"/>
                      </a:lnTo>
                      <a:lnTo>
                        <a:pt x="533" y="39"/>
                      </a:lnTo>
                      <a:lnTo>
                        <a:pt x="536" y="36"/>
                      </a:lnTo>
                      <a:lnTo>
                        <a:pt x="544" y="36"/>
                      </a:lnTo>
                      <a:lnTo>
                        <a:pt x="552" y="36"/>
                      </a:lnTo>
                      <a:lnTo>
                        <a:pt x="558" y="36"/>
                      </a:lnTo>
                      <a:lnTo>
                        <a:pt x="563" y="24"/>
                      </a:lnTo>
                      <a:lnTo>
                        <a:pt x="566" y="24"/>
                      </a:lnTo>
                      <a:lnTo>
                        <a:pt x="574" y="24"/>
                      </a:lnTo>
                      <a:lnTo>
                        <a:pt x="582" y="16"/>
                      </a:lnTo>
                      <a:lnTo>
                        <a:pt x="594" y="14"/>
                      </a:lnTo>
                      <a:lnTo>
                        <a:pt x="596" y="11"/>
                      </a:lnTo>
                      <a:lnTo>
                        <a:pt x="602" y="14"/>
                      </a:lnTo>
                      <a:lnTo>
                        <a:pt x="607" y="14"/>
                      </a:lnTo>
                      <a:lnTo>
                        <a:pt x="610" y="8"/>
                      </a:lnTo>
                      <a:lnTo>
                        <a:pt x="613" y="3"/>
                      </a:lnTo>
                      <a:lnTo>
                        <a:pt x="615" y="0"/>
                      </a:lnTo>
                      <a:lnTo>
                        <a:pt x="618" y="0"/>
                      </a:lnTo>
                      <a:lnTo>
                        <a:pt x="623" y="3"/>
                      </a:lnTo>
                      <a:lnTo>
                        <a:pt x="627" y="8"/>
                      </a:lnTo>
                      <a:lnTo>
                        <a:pt x="635" y="6"/>
                      </a:lnTo>
                      <a:lnTo>
                        <a:pt x="640" y="8"/>
                      </a:lnTo>
                      <a:lnTo>
                        <a:pt x="648" y="8"/>
                      </a:lnTo>
                      <a:lnTo>
                        <a:pt x="646" y="11"/>
                      </a:lnTo>
                      <a:lnTo>
                        <a:pt x="648" y="24"/>
                      </a:lnTo>
                      <a:lnTo>
                        <a:pt x="648" y="30"/>
                      </a:lnTo>
                      <a:lnTo>
                        <a:pt x="651" y="36"/>
                      </a:lnTo>
                      <a:lnTo>
                        <a:pt x="646" y="49"/>
                      </a:lnTo>
                      <a:lnTo>
                        <a:pt x="651" y="52"/>
                      </a:lnTo>
                      <a:lnTo>
                        <a:pt x="654" y="52"/>
                      </a:lnTo>
                      <a:lnTo>
                        <a:pt x="651" y="60"/>
                      </a:lnTo>
                      <a:lnTo>
                        <a:pt x="648" y="63"/>
                      </a:lnTo>
                      <a:lnTo>
                        <a:pt x="640" y="65"/>
                      </a:lnTo>
                      <a:lnTo>
                        <a:pt x="640" y="72"/>
                      </a:lnTo>
                      <a:lnTo>
                        <a:pt x="635" y="74"/>
                      </a:lnTo>
                      <a:lnTo>
                        <a:pt x="627" y="77"/>
                      </a:lnTo>
                      <a:lnTo>
                        <a:pt x="623" y="80"/>
                      </a:lnTo>
                      <a:lnTo>
                        <a:pt x="621" y="80"/>
                      </a:lnTo>
                      <a:lnTo>
                        <a:pt x="615" y="85"/>
                      </a:lnTo>
                      <a:lnTo>
                        <a:pt x="607" y="93"/>
                      </a:lnTo>
                      <a:lnTo>
                        <a:pt x="607" y="108"/>
                      </a:lnTo>
                      <a:lnTo>
                        <a:pt x="602" y="108"/>
                      </a:lnTo>
                      <a:lnTo>
                        <a:pt x="594" y="105"/>
                      </a:lnTo>
                      <a:lnTo>
                        <a:pt x="587" y="108"/>
                      </a:lnTo>
                      <a:lnTo>
                        <a:pt x="585" y="116"/>
                      </a:lnTo>
                      <a:lnTo>
                        <a:pt x="582" y="118"/>
                      </a:lnTo>
                      <a:lnTo>
                        <a:pt x="571" y="124"/>
                      </a:lnTo>
                      <a:lnTo>
                        <a:pt x="569" y="124"/>
                      </a:lnTo>
                      <a:lnTo>
                        <a:pt x="566" y="132"/>
                      </a:lnTo>
                      <a:lnTo>
                        <a:pt x="566" y="143"/>
                      </a:lnTo>
                      <a:lnTo>
                        <a:pt x="561" y="149"/>
                      </a:lnTo>
                      <a:lnTo>
                        <a:pt x="561" y="152"/>
                      </a:lnTo>
                      <a:lnTo>
                        <a:pt x="561" y="154"/>
                      </a:lnTo>
                      <a:lnTo>
                        <a:pt x="558" y="157"/>
                      </a:lnTo>
                      <a:lnTo>
                        <a:pt x="558" y="162"/>
                      </a:lnTo>
                      <a:lnTo>
                        <a:pt x="561" y="168"/>
                      </a:lnTo>
                      <a:lnTo>
                        <a:pt x="563" y="170"/>
                      </a:lnTo>
                      <a:lnTo>
                        <a:pt x="561" y="179"/>
                      </a:lnTo>
                      <a:lnTo>
                        <a:pt x="558" y="203"/>
                      </a:lnTo>
                      <a:lnTo>
                        <a:pt x="549" y="212"/>
                      </a:lnTo>
                      <a:lnTo>
                        <a:pt x="541" y="212"/>
                      </a:lnTo>
                      <a:lnTo>
                        <a:pt x="538" y="212"/>
                      </a:lnTo>
                      <a:lnTo>
                        <a:pt x="530" y="212"/>
                      </a:lnTo>
                      <a:lnTo>
                        <a:pt x="528" y="212"/>
                      </a:lnTo>
                      <a:lnTo>
                        <a:pt x="522" y="221"/>
                      </a:lnTo>
                      <a:lnTo>
                        <a:pt x="522" y="223"/>
                      </a:lnTo>
                      <a:lnTo>
                        <a:pt x="525" y="226"/>
                      </a:lnTo>
                      <a:lnTo>
                        <a:pt x="522" y="237"/>
                      </a:lnTo>
                      <a:lnTo>
                        <a:pt x="522" y="243"/>
                      </a:lnTo>
                      <a:lnTo>
                        <a:pt x="525" y="243"/>
                      </a:lnTo>
                      <a:lnTo>
                        <a:pt x="525" y="248"/>
                      </a:lnTo>
                      <a:lnTo>
                        <a:pt x="525" y="259"/>
                      </a:lnTo>
                      <a:lnTo>
                        <a:pt x="528" y="264"/>
                      </a:lnTo>
                      <a:lnTo>
                        <a:pt x="525" y="270"/>
                      </a:lnTo>
                      <a:lnTo>
                        <a:pt x="528" y="272"/>
                      </a:lnTo>
                      <a:lnTo>
                        <a:pt x="522" y="287"/>
                      </a:lnTo>
                      <a:lnTo>
                        <a:pt x="552" y="281"/>
                      </a:lnTo>
                      <a:lnTo>
                        <a:pt x="558" y="281"/>
                      </a:lnTo>
                      <a:lnTo>
                        <a:pt x="579" y="284"/>
                      </a:lnTo>
                      <a:lnTo>
                        <a:pt x="591" y="279"/>
                      </a:lnTo>
                      <a:lnTo>
                        <a:pt x="602" y="281"/>
                      </a:lnTo>
                      <a:lnTo>
                        <a:pt x="599" y="287"/>
                      </a:lnTo>
                      <a:lnTo>
                        <a:pt x="605" y="292"/>
                      </a:lnTo>
                      <a:lnTo>
                        <a:pt x="610" y="295"/>
                      </a:lnTo>
                      <a:lnTo>
                        <a:pt x="610" y="306"/>
                      </a:lnTo>
                      <a:lnTo>
                        <a:pt x="607" y="312"/>
                      </a:lnTo>
                      <a:lnTo>
                        <a:pt x="613" y="317"/>
                      </a:lnTo>
                      <a:lnTo>
                        <a:pt x="613" y="320"/>
                      </a:lnTo>
                      <a:lnTo>
                        <a:pt x="615" y="323"/>
                      </a:lnTo>
                      <a:lnTo>
                        <a:pt x="615" y="328"/>
                      </a:lnTo>
                      <a:lnTo>
                        <a:pt x="623" y="333"/>
                      </a:lnTo>
                      <a:lnTo>
                        <a:pt x="640" y="333"/>
                      </a:lnTo>
                      <a:lnTo>
                        <a:pt x="656" y="323"/>
                      </a:lnTo>
                      <a:lnTo>
                        <a:pt x="665" y="312"/>
                      </a:lnTo>
                      <a:lnTo>
                        <a:pt x="668" y="312"/>
                      </a:lnTo>
                      <a:lnTo>
                        <a:pt x="687" y="306"/>
                      </a:lnTo>
                      <a:lnTo>
                        <a:pt x="692" y="303"/>
                      </a:lnTo>
                      <a:lnTo>
                        <a:pt x="701" y="300"/>
                      </a:lnTo>
                      <a:lnTo>
                        <a:pt x="704" y="298"/>
                      </a:lnTo>
                      <a:lnTo>
                        <a:pt x="717" y="287"/>
                      </a:lnTo>
                      <a:lnTo>
                        <a:pt x="723" y="287"/>
                      </a:lnTo>
                      <a:lnTo>
                        <a:pt x="726" y="292"/>
                      </a:lnTo>
                      <a:lnTo>
                        <a:pt x="729" y="300"/>
                      </a:lnTo>
                      <a:lnTo>
                        <a:pt x="729" y="306"/>
                      </a:lnTo>
                      <a:lnTo>
                        <a:pt x="732" y="312"/>
                      </a:lnTo>
                      <a:lnTo>
                        <a:pt x="732" y="315"/>
                      </a:lnTo>
                      <a:lnTo>
                        <a:pt x="737" y="315"/>
                      </a:lnTo>
                      <a:lnTo>
                        <a:pt x="735" y="317"/>
                      </a:lnTo>
                      <a:lnTo>
                        <a:pt x="735" y="320"/>
                      </a:lnTo>
                      <a:lnTo>
                        <a:pt x="743" y="312"/>
                      </a:lnTo>
                      <a:lnTo>
                        <a:pt x="753" y="306"/>
                      </a:lnTo>
                      <a:lnTo>
                        <a:pt x="756" y="306"/>
                      </a:lnTo>
                      <a:lnTo>
                        <a:pt x="770" y="300"/>
                      </a:lnTo>
                      <a:lnTo>
                        <a:pt x="784" y="295"/>
                      </a:lnTo>
                      <a:lnTo>
                        <a:pt x="812" y="320"/>
                      </a:lnTo>
                      <a:lnTo>
                        <a:pt x="812" y="341"/>
                      </a:lnTo>
                      <a:lnTo>
                        <a:pt x="828" y="339"/>
                      </a:lnTo>
                      <a:lnTo>
                        <a:pt x="822" y="358"/>
                      </a:lnTo>
                      <a:lnTo>
                        <a:pt x="817" y="367"/>
                      </a:lnTo>
                      <a:lnTo>
                        <a:pt x="817" y="372"/>
                      </a:lnTo>
                      <a:lnTo>
                        <a:pt x="814" y="380"/>
                      </a:lnTo>
                      <a:lnTo>
                        <a:pt x="822" y="394"/>
                      </a:lnTo>
                      <a:lnTo>
                        <a:pt x="834" y="400"/>
                      </a:lnTo>
                      <a:lnTo>
                        <a:pt x="837" y="400"/>
                      </a:lnTo>
                      <a:lnTo>
                        <a:pt x="845" y="377"/>
                      </a:lnTo>
                      <a:lnTo>
                        <a:pt x="858" y="377"/>
                      </a:lnTo>
                      <a:lnTo>
                        <a:pt x="867" y="380"/>
                      </a:lnTo>
                      <a:lnTo>
                        <a:pt x="875" y="380"/>
                      </a:lnTo>
                      <a:lnTo>
                        <a:pt x="878" y="380"/>
                      </a:lnTo>
                      <a:lnTo>
                        <a:pt x="894" y="356"/>
                      </a:lnTo>
                      <a:lnTo>
                        <a:pt x="894" y="353"/>
                      </a:lnTo>
                      <a:lnTo>
                        <a:pt x="891" y="348"/>
                      </a:lnTo>
                      <a:lnTo>
                        <a:pt x="894" y="344"/>
                      </a:lnTo>
                      <a:lnTo>
                        <a:pt x="897" y="341"/>
                      </a:lnTo>
                      <a:lnTo>
                        <a:pt x="903" y="341"/>
                      </a:lnTo>
                      <a:lnTo>
                        <a:pt x="908" y="336"/>
                      </a:lnTo>
                      <a:lnTo>
                        <a:pt x="916" y="333"/>
                      </a:lnTo>
                      <a:lnTo>
                        <a:pt x="919" y="331"/>
                      </a:lnTo>
                      <a:lnTo>
                        <a:pt x="922" y="315"/>
                      </a:lnTo>
                      <a:lnTo>
                        <a:pt x="919" y="306"/>
                      </a:lnTo>
                      <a:lnTo>
                        <a:pt x="916" y="303"/>
                      </a:lnTo>
                      <a:lnTo>
                        <a:pt x="914" y="300"/>
                      </a:lnTo>
                      <a:lnTo>
                        <a:pt x="911" y="300"/>
                      </a:lnTo>
                      <a:lnTo>
                        <a:pt x="911" y="298"/>
                      </a:lnTo>
                      <a:lnTo>
                        <a:pt x="908" y="298"/>
                      </a:lnTo>
                      <a:lnTo>
                        <a:pt x="903" y="295"/>
                      </a:lnTo>
                      <a:lnTo>
                        <a:pt x="897" y="287"/>
                      </a:lnTo>
                      <a:lnTo>
                        <a:pt x="903" y="281"/>
                      </a:lnTo>
                      <a:lnTo>
                        <a:pt x="906" y="262"/>
                      </a:lnTo>
                      <a:lnTo>
                        <a:pt x="914" y="246"/>
                      </a:lnTo>
                      <a:lnTo>
                        <a:pt x="911" y="239"/>
                      </a:lnTo>
                      <a:lnTo>
                        <a:pt x="916" y="237"/>
                      </a:lnTo>
                      <a:lnTo>
                        <a:pt x="919" y="239"/>
                      </a:lnTo>
                      <a:lnTo>
                        <a:pt x="932" y="246"/>
                      </a:lnTo>
                      <a:lnTo>
                        <a:pt x="939" y="254"/>
                      </a:lnTo>
                      <a:lnTo>
                        <a:pt x="942" y="251"/>
                      </a:lnTo>
                      <a:lnTo>
                        <a:pt x="947" y="254"/>
                      </a:lnTo>
                      <a:lnTo>
                        <a:pt x="947" y="251"/>
                      </a:lnTo>
                      <a:lnTo>
                        <a:pt x="944" y="239"/>
                      </a:lnTo>
                      <a:lnTo>
                        <a:pt x="944" y="223"/>
                      </a:lnTo>
                      <a:lnTo>
                        <a:pt x="942" y="221"/>
                      </a:lnTo>
                      <a:lnTo>
                        <a:pt x="939" y="221"/>
                      </a:lnTo>
                      <a:lnTo>
                        <a:pt x="932" y="218"/>
                      </a:lnTo>
                      <a:lnTo>
                        <a:pt x="930" y="215"/>
                      </a:lnTo>
                      <a:lnTo>
                        <a:pt x="927" y="206"/>
                      </a:lnTo>
                      <a:lnTo>
                        <a:pt x="922" y="203"/>
                      </a:lnTo>
                      <a:lnTo>
                        <a:pt x="914" y="198"/>
                      </a:lnTo>
                      <a:lnTo>
                        <a:pt x="911" y="198"/>
                      </a:lnTo>
                      <a:lnTo>
                        <a:pt x="911" y="190"/>
                      </a:lnTo>
                      <a:lnTo>
                        <a:pt x="908" y="182"/>
                      </a:lnTo>
                      <a:lnTo>
                        <a:pt x="908" y="177"/>
                      </a:lnTo>
                      <a:lnTo>
                        <a:pt x="911" y="170"/>
                      </a:lnTo>
                      <a:lnTo>
                        <a:pt x="919" y="157"/>
                      </a:lnTo>
                      <a:lnTo>
                        <a:pt x="919" y="152"/>
                      </a:lnTo>
                      <a:lnTo>
                        <a:pt x="922" y="138"/>
                      </a:lnTo>
                      <a:lnTo>
                        <a:pt x="939" y="141"/>
                      </a:lnTo>
                      <a:lnTo>
                        <a:pt x="950" y="141"/>
                      </a:lnTo>
                      <a:lnTo>
                        <a:pt x="963" y="113"/>
                      </a:lnTo>
                      <a:lnTo>
                        <a:pt x="977" y="118"/>
                      </a:lnTo>
                      <a:lnTo>
                        <a:pt x="985" y="116"/>
                      </a:lnTo>
                      <a:lnTo>
                        <a:pt x="999" y="108"/>
                      </a:lnTo>
                      <a:lnTo>
                        <a:pt x="1005" y="113"/>
                      </a:lnTo>
                      <a:lnTo>
                        <a:pt x="1010" y="118"/>
                      </a:lnTo>
                      <a:lnTo>
                        <a:pt x="1010" y="121"/>
                      </a:lnTo>
                      <a:lnTo>
                        <a:pt x="1010" y="134"/>
                      </a:lnTo>
                      <a:lnTo>
                        <a:pt x="1005" y="143"/>
                      </a:lnTo>
                      <a:lnTo>
                        <a:pt x="1005" y="146"/>
                      </a:lnTo>
                      <a:lnTo>
                        <a:pt x="1005" y="149"/>
                      </a:lnTo>
                      <a:lnTo>
                        <a:pt x="1005" y="154"/>
                      </a:lnTo>
                      <a:lnTo>
                        <a:pt x="1008" y="154"/>
                      </a:lnTo>
                      <a:lnTo>
                        <a:pt x="1016" y="157"/>
                      </a:lnTo>
                      <a:lnTo>
                        <a:pt x="1021" y="160"/>
                      </a:lnTo>
                      <a:lnTo>
                        <a:pt x="1024" y="174"/>
                      </a:lnTo>
                      <a:lnTo>
                        <a:pt x="1035" y="170"/>
                      </a:lnTo>
                      <a:lnTo>
                        <a:pt x="1038" y="170"/>
                      </a:lnTo>
                      <a:lnTo>
                        <a:pt x="1054" y="170"/>
                      </a:lnTo>
                      <a:lnTo>
                        <a:pt x="1065" y="168"/>
                      </a:lnTo>
                      <a:lnTo>
                        <a:pt x="1070" y="168"/>
                      </a:lnTo>
                      <a:lnTo>
                        <a:pt x="1074" y="168"/>
                      </a:lnTo>
                      <a:lnTo>
                        <a:pt x="1079" y="168"/>
                      </a:lnTo>
                      <a:lnTo>
                        <a:pt x="1082" y="165"/>
                      </a:lnTo>
                      <a:lnTo>
                        <a:pt x="1085" y="165"/>
                      </a:lnTo>
                      <a:lnTo>
                        <a:pt x="1090" y="162"/>
                      </a:lnTo>
                      <a:lnTo>
                        <a:pt x="1093" y="160"/>
                      </a:lnTo>
                      <a:lnTo>
                        <a:pt x="1096" y="160"/>
                      </a:lnTo>
                      <a:lnTo>
                        <a:pt x="1096" y="162"/>
                      </a:lnTo>
                      <a:lnTo>
                        <a:pt x="1098" y="162"/>
                      </a:lnTo>
                      <a:lnTo>
                        <a:pt x="1098" y="160"/>
                      </a:lnTo>
                      <a:lnTo>
                        <a:pt x="1104" y="170"/>
                      </a:lnTo>
                      <a:lnTo>
                        <a:pt x="1110" y="177"/>
                      </a:lnTo>
                      <a:lnTo>
                        <a:pt x="1121" y="179"/>
                      </a:lnTo>
                      <a:lnTo>
                        <a:pt x="1121" y="185"/>
                      </a:lnTo>
                      <a:lnTo>
                        <a:pt x="1121" y="187"/>
                      </a:lnTo>
                      <a:lnTo>
                        <a:pt x="1123" y="190"/>
                      </a:lnTo>
                      <a:lnTo>
                        <a:pt x="1134" y="193"/>
                      </a:lnTo>
                      <a:lnTo>
                        <a:pt x="1139" y="193"/>
                      </a:lnTo>
                      <a:lnTo>
                        <a:pt x="1149" y="195"/>
                      </a:lnTo>
                      <a:lnTo>
                        <a:pt x="1184" y="193"/>
                      </a:lnTo>
                      <a:lnTo>
                        <a:pt x="1215" y="193"/>
                      </a:lnTo>
                      <a:lnTo>
                        <a:pt x="1218" y="190"/>
                      </a:lnTo>
                      <a:lnTo>
                        <a:pt x="1236" y="187"/>
                      </a:lnTo>
                      <a:lnTo>
                        <a:pt x="1239" y="187"/>
                      </a:lnTo>
                      <a:lnTo>
                        <a:pt x="1242" y="187"/>
                      </a:lnTo>
                      <a:lnTo>
                        <a:pt x="1245" y="185"/>
                      </a:lnTo>
                      <a:lnTo>
                        <a:pt x="1253" y="177"/>
                      </a:lnTo>
                      <a:lnTo>
                        <a:pt x="1259" y="179"/>
                      </a:lnTo>
                      <a:lnTo>
                        <a:pt x="1261" y="179"/>
                      </a:lnTo>
                      <a:lnTo>
                        <a:pt x="1261" y="177"/>
                      </a:lnTo>
                      <a:lnTo>
                        <a:pt x="1264" y="177"/>
                      </a:lnTo>
                      <a:lnTo>
                        <a:pt x="1272" y="179"/>
                      </a:lnTo>
                      <a:lnTo>
                        <a:pt x="1278" y="182"/>
                      </a:lnTo>
                      <a:lnTo>
                        <a:pt x="1281" y="182"/>
                      </a:lnTo>
                      <a:lnTo>
                        <a:pt x="1287" y="182"/>
                      </a:lnTo>
                      <a:lnTo>
                        <a:pt x="1292" y="187"/>
                      </a:lnTo>
                      <a:lnTo>
                        <a:pt x="1292" y="190"/>
                      </a:lnTo>
                      <a:lnTo>
                        <a:pt x="1295" y="193"/>
                      </a:lnTo>
                      <a:lnTo>
                        <a:pt x="1303" y="193"/>
                      </a:lnTo>
                      <a:lnTo>
                        <a:pt x="1303" y="195"/>
                      </a:lnTo>
                      <a:lnTo>
                        <a:pt x="1305" y="195"/>
                      </a:lnTo>
                      <a:lnTo>
                        <a:pt x="1308" y="190"/>
                      </a:lnTo>
                      <a:lnTo>
                        <a:pt x="1311" y="190"/>
                      </a:lnTo>
                      <a:lnTo>
                        <a:pt x="1314" y="190"/>
                      </a:lnTo>
                      <a:lnTo>
                        <a:pt x="1317" y="190"/>
                      </a:lnTo>
                      <a:lnTo>
                        <a:pt x="1317" y="187"/>
                      </a:lnTo>
                      <a:lnTo>
                        <a:pt x="1320" y="190"/>
                      </a:lnTo>
                      <a:lnTo>
                        <a:pt x="1322" y="190"/>
                      </a:lnTo>
                      <a:lnTo>
                        <a:pt x="1328" y="190"/>
                      </a:lnTo>
                      <a:lnTo>
                        <a:pt x="1330" y="193"/>
                      </a:lnTo>
                      <a:lnTo>
                        <a:pt x="1330" y="190"/>
                      </a:lnTo>
                      <a:lnTo>
                        <a:pt x="1333" y="193"/>
                      </a:lnTo>
                      <a:lnTo>
                        <a:pt x="1336" y="193"/>
                      </a:lnTo>
                      <a:lnTo>
                        <a:pt x="1338" y="193"/>
                      </a:lnTo>
                      <a:lnTo>
                        <a:pt x="1341" y="190"/>
                      </a:lnTo>
                      <a:lnTo>
                        <a:pt x="1344" y="190"/>
                      </a:lnTo>
                      <a:lnTo>
                        <a:pt x="1350" y="193"/>
                      </a:lnTo>
                      <a:lnTo>
                        <a:pt x="1353" y="190"/>
                      </a:lnTo>
                      <a:lnTo>
                        <a:pt x="1353" y="193"/>
                      </a:lnTo>
                      <a:lnTo>
                        <a:pt x="1358" y="193"/>
                      </a:lnTo>
                      <a:lnTo>
                        <a:pt x="1366" y="195"/>
                      </a:lnTo>
                      <a:lnTo>
                        <a:pt x="1369" y="195"/>
                      </a:lnTo>
                      <a:lnTo>
                        <a:pt x="1377" y="201"/>
                      </a:lnTo>
                      <a:lnTo>
                        <a:pt x="1383" y="203"/>
                      </a:lnTo>
                      <a:lnTo>
                        <a:pt x="1391" y="215"/>
                      </a:lnTo>
                      <a:lnTo>
                        <a:pt x="1397" y="218"/>
                      </a:lnTo>
                      <a:lnTo>
                        <a:pt x="1419" y="218"/>
                      </a:lnTo>
                      <a:lnTo>
                        <a:pt x="1427" y="212"/>
                      </a:lnTo>
                      <a:lnTo>
                        <a:pt x="1438" y="212"/>
                      </a:lnTo>
                      <a:lnTo>
                        <a:pt x="1441" y="206"/>
                      </a:lnTo>
                      <a:lnTo>
                        <a:pt x="1443" y="206"/>
                      </a:lnTo>
                      <a:lnTo>
                        <a:pt x="1446" y="215"/>
                      </a:lnTo>
                      <a:lnTo>
                        <a:pt x="1450" y="221"/>
                      </a:lnTo>
                      <a:lnTo>
                        <a:pt x="1452" y="221"/>
                      </a:lnTo>
                      <a:lnTo>
                        <a:pt x="1463" y="223"/>
                      </a:lnTo>
                      <a:lnTo>
                        <a:pt x="1468" y="221"/>
                      </a:lnTo>
                      <a:lnTo>
                        <a:pt x="1471" y="221"/>
                      </a:lnTo>
                      <a:lnTo>
                        <a:pt x="1476" y="212"/>
                      </a:lnTo>
                      <a:lnTo>
                        <a:pt x="1482" y="212"/>
                      </a:lnTo>
                      <a:lnTo>
                        <a:pt x="1485" y="201"/>
                      </a:lnTo>
                      <a:lnTo>
                        <a:pt x="1488" y="201"/>
                      </a:lnTo>
                      <a:lnTo>
                        <a:pt x="1491" y="198"/>
                      </a:lnTo>
                      <a:lnTo>
                        <a:pt x="1493" y="198"/>
                      </a:lnTo>
                      <a:lnTo>
                        <a:pt x="1504" y="210"/>
                      </a:lnTo>
                      <a:lnTo>
                        <a:pt x="1507" y="210"/>
                      </a:lnTo>
                      <a:lnTo>
                        <a:pt x="1515" y="206"/>
                      </a:lnTo>
                      <a:lnTo>
                        <a:pt x="1521" y="201"/>
                      </a:lnTo>
                      <a:lnTo>
                        <a:pt x="1524" y="201"/>
                      </a:lnTo>
                      <a:lnTo>
                        <a:pt x="1527" y="201"/>
                      </a:lnTo>
                      <a:lnTo>
                        <a:pt x="1535" y="198"/>
                      </a:lnTo>
                      <a:lnTo>
                        <a:pt x="1540" y="195"/>
                      </a:lnTo>
                      <a:lnTo>
                        <a:pt x="1543" y="193"/>
                      </a:lnTo>
                      <a:lnTo>
                        <a:pt x="1545" y="195"/>
                      </a:lnTo>
                      <a:lnTo>
                        <a:pt x="1545" y="243"/>
                      </a:lnTo>
                      <a:lnTo>
                        <a:pt x="1545" y="256"/>
                      </a:lnTo>
                      <a:lnTo>
                        <a:pt x="1551" y="270"/>
                      </a:lnTo>
                      <a:lnTo>
                        <a:pt x="1554" y="275"/>
                      </a:lnTo>
                      <a:lnTo>
                        <a:pt x="1560" y="279"/>
                      </a:lnTo>
                      <a:lnTo>
                        <a:pt x="1557" y="281"/>
                      </a:lnTo>
                      <a:lnTo>
                        <a:pt x="1557" y="287"/>
                      </a:lnTo>
                      <a:lnTo>
                        <a:pt x="1560" y="292"/>
                      </a:lnTo>
                      <a:lnTo>
                        <a:pt x="1557" y="295"/>
                      </a:lnTo>
                      <a:lnTo>
                        <a:pt x="1560" y="298"/>
                      </a:lnTo>
                      <a:lnTo>
                        <a:pt x="1557" y="306"/>
                      </a:lnTo>
                      <a:lnTo>
                        <a:pt x="1560" y="306"/>
                      </a:lnTo>
                      <a:lnTo>
                        <a:pt x="1560" y="312"/>
                      </a:lnTo>
                      <a:lnTo>
                        <a:pt x="1557" y="312"/>
                      </a:lnTo>
                      <a:lnTo>
                        <a:pt x="1562" y="312"/>
                      </a:lnTo>
                      <a:lnTo>
                        <a:pt x="1565" y="312"/>
                      </a:lnTo>
                      <a:lnTo>
                        <a:pt x="1565" y="320"/>
                      </a:lnTo>
                      <a:lnTo>
                        <a:pt x="1565" y="333"/>
                      </a:lnTo>
                      <a:lnTo>
                        <a:pt x="1571" y="348"/>
                      </a:lnTo>
                      <a:lnTo>
                        <a:pt x="1571" y="353"/>
                      </a:lnTo>
                      <a:lnTo>
                        <a:pt x="1579" y="361"/>
                      </a:lnTo>
                      <a:lnTo>
                        <a:pt x="1584" y="364"/>
                      </a:lnTo>
                      <a:lnTo>
                        <a:pt x="1590" y="367"/>
                      </a:lnTo>
                      <a:lnTo>
                        <a:pt x="1588" y="372"/>
                      </a:lnTo>
                      <a:lnTo>
                        <a:pt x="1584" y="377"/>
                      </a:lnTo>
                      <a:lnTo>
                        <a:pt x="1584" y="380"/>
                      </a:lnTo>
                      <a:lnTo>
                        <a:pt x="1588" y="389"/>
                      </a:lnTo>
                      <a:lnTo>
                        <a:pt x="1593" y="394"/>
                      </a:lnTo>
                      <a:lnTo>
                        <a:pt x="1590" y="397"/>
                      </a:lnTo>
                      <a:lnTo>
                        <a:pt x="1584" y="400"/>
                      </a:lnTo>
                      <a:lnTo>
                        <a:pt x="1588" y="400"/>
                      </a:lnTo>
                      <a:lnTo>
                        <a:pt x="1588" y="402"/>
                      </a:lnTo>
                      <a:lnTo>
                        <a:pt x="1590" y="402"/>
                      </a:lnTo>
                      <a:lnTo>
                        <a:pt x="1590" y="400"/>
                      </a:lnTo>
                      <a:lnTo>
                        <a:pt x="1593" y="400"/>
                      </a:lnTo>
                      <a:lnTo>
                        <a:pt x="1593" y="402"/>
                      </a:lnTo>
                      <a:lnTo>
                        <a:pt x="1593" y="408"/>
                      </a:lnTo>
                      <a:lnTo>
                        <a:pt x="1593" y="410"/>
                      </a:lnTo>
                      <a:lnTo>
                        <a:pt x="1590" y="410"/>
                      </a:lnTo>
                      <a:lnTo>
                        <a:pt x="1590" y="413"/>
                      </a:lnTo>
                      <a:lnTo>
                        <a:pt x="1588" y="413"/>
                      </a:lnTo>
                      <a:lnTo>
                        <a:pt x="1588" y="410"/>
                      </a:lnTo>
                      <a:lnTo>
                        <a:pt x="1584" y="408"/>
                      </a:lnTo>
                      <a:lnTo>
                        <a:pt x="1584" y="410"/>
                      </a:lnTo>
                      <a:lnTo>
                        <a:pt x="1588" y="420"/>
                      </a:lnTo>
                      <a:lnTo>
                        <a:pt x="1590" y="420"/>
                      </a:lnTo>
                      <a:lnTo>
                        <a:pt x="1593" y="413"/>
                      </a:lnTo>
                      <a:lnTo>
                        <a:pt x="1598" y="408"/>
                      </a:lnTo>
                      <a:lnTo>
                        <a:pt x="1598" y="400"/>
                      </a:lnTo>
                      <a:lnTo>
                        <a:pt x="1596" y="394"/>
                      </a:lnTo>
                      <a:lnTo>
                        <a:pt x="1601" y="394"/>
                      </a:lnTo>
                      <a:lnTo>
                        <a:pt x="1601" y="410"/>
                      </a:lnTo>
                      <a:lnTo>
                        <a:pt x="1601" y="422"/>
                      </a:lnTo>
                      <a:lnTo>
                        <a:pt x="1596" y="425"/>
                      </a:lnTo>
                      <a:lnTo>
                        <a:pt x="1596" y="430"/>
                      </a:lnTo>
                      <a:lnTo>
                        <a:pt x="1598" y="436"/>
                      </a:lnTo>
                      <a:lnTo>
                        <a:pt x="1601" y="438"/>
                      </a:lnTo>
                      <a:lnTo>
                        <a:pt x="1598" y="449"/>
                      </a:lnTo>
                      <a:lnTo>
                        <a:pt x="1604" y="455"/>
                      </a:lnTo>
                      <a:lnTo>
                        <a:pt x="1604" y="463"/>
                      </a:lnTo>
                      <a:lnTo>
                        <a:pt x="1609" y="469"/>
                      </a:lnTo>
                      <a:lnTo>
                        <a:pt x="1614" y="469"/>
                      </a:lnTo>
                      <a:lnTo>
                        <a:pt x="1614" y="471"/>
                      </a:lnTo>
                      <a:lnTo>
                        <a:pt x="1614" y="491"/>
                      </a:lnTo>
                      <a:lnTo>
                        <a:pt x="1612" y="497"/>
                      </a:lnTo>
                      <a:lnTo>
                        <a:pt x="1609" y="507"/>
                      </a:lnTo>
                      <a:lnTo>
                        <a:pt x="1612" y="518"/>
                      </a:lnTo>
                      <a:lnTo>
                        <a:pt x="1612" y="527"/>
                      </a:lnTo>
                      <a:lnTo>
                        <a:pt x="1612" y="532"/>
                      </a:lnTo>
                      <a:lnTo>
                        <a:pt x="1614" y="535"/>
                      </a:lnTo>
                      <a:lnTo>
                        <a:pt x="1612" y="540"/>
                      </a:lnTo>
                      <a:lnTo>
                        <a:pt x="1614" y="546"/>
                      </a:lnTo>
                      <a:lnTo>
                        <a:pt x="1612" y="557"/>
                      </a:lnTo>
                      <a:lnTo>
                        <a:pt x="1614" y="563"/>
                      </a:lnTo>
                      <a:lnTo>
                        <a:pt x="1612" y="568"/>
                      </a:lnTo>
                      <a:lnTo>
                        <a:pt x="1609" y="576"/>
                      </a:lnTo>
                      <a:lnTo>
                        <a:pt x="1609" y="601"/>
                      </a:lnTo>
                      <a:lnTo>
                        <a:pt x="1609" y="604"/>
                      </a:lnTo>
                      <a:lnTo>
                        <a:pt x="1612" y="607"/>
                      </a:lnTo>
                      <a:lnTo>
                        <a:pt x="1609" y="609"/>
                      </a:lnTo>
                      <a:lnTo>
                        <a:pt x="1606" y="612"/>
                      </a:lnTo>
                      <a:lnTo>
                        <a:pt x="1609" y="623"/>
                      </a:lnTo>
                      <a:lnTo>
                        <a:pt x="1604" y="629"/>
                      </a:lnTo>
                      <a:lnTo>
                        <a:pt x="1601" y="637"/>
                      </a:lnTo>
                      <a:lnTo>
                        <a:pt x="1598" y="637"/>
                      </a:lnTo>
                      <a:lnTo>
                        <a:pt x="1596" y="637"/>
                      </a:lnTo>
                      <a:lnTo>
                        <a:pt x="1590" y="635"/>
                      </a:lnTo>
                      <a:lnTo>
                        <a:pt x="1584" y="637"/>
                      </a:lnTo>
                      <a:lnTo>
                        <a:pt x="1576" y="632"/>
                      </a:lnTo>
                      <a:lnTo>
                        <a:pt x="1573" y="637"/>
                      </a:lnTo>
                      <a:lnTo>
                        <a:pt x="1571" y="637"/>
                      </a:lnTo>
                      <a:lnTo>
                        <a:pt x="1571" y="635"/>
                      </a:lnTo>
                      <a:lnTo>
                        <a:pt x="1568" y="635"/>
                      </a:lnTo>
                      <a:lnTo>
                        <a:pt x="1565" y="635"/>
                      </a:lnTo>
                      <a:lnTo>
                        <a:pt x="1562" y="632"/>
                      </a:lnTo>
                      <a:lnTo>
                        <a:pt x="1560" y="629"/>
                      </a:lnTo>
                      <a:lnTo>
                        <a:pt x="1551" y="635"/>
                      </a:lnTo>
                      <a:lnTo>
                        <a:pt x="1548" y="635"/>
                      </a:lnTo>
                      <a:lnTo>
                        <a:pt x="1543" y="625"/>
                      </a:lnTo>
                      <a:lnTo>
                        <a:pt x="1537" y="620"/>
                      </a:lnTo>
                      <a:lnTo>
                        <a:pt x="1537" y="617"/>
                      </a:lnTo>
                      <a:lnTo>
                        <a:pt x="1535" y="612"/>
                      </a:lnTo>
                      <a:lnTo>
                        <a:pt x="1537" y="607"/>
                      </a:lnTo>
                      <a:lnTo>
                        <a:pt x="1537" y="601"/>
                      </a:lnTo>
                      <a:lnTo>
                        <a:pt x="1529" y="596"/>
                      </a:lnTo>
                      <a:lnTo>
                        <a:pt x="1519" y="587"/>
                      </a:lnTo>
                      <a:lnTo>
                        <a:pt x="1512" y="582"/>
                      </a:lnTo>
                      <a:lnTo>
                        <a:pt x="1504" y="576"/>
                      </a:lnTo>
                      <a:lnTo>
                        <a:pt x="1502" y="574"/>
                      </a:lnTo>
                      <a:lnTo>
                        <a:pt x="1499" y="574"/>
                      </a:lnTo>
                      <a:lnTo>
                        <a:pt x="1496" y="576"/>
                      </a:lnTo>
                      <a:lnTo>
                        <a:pt x="1491" y="579"/>
                      </a:lnTo>
                      <a:lnTo>
                        <a:pt x="1482" y="576"/>
                      </a:lnTo>
                      <a:lnTo>
                        <a:pt x="1479" y="576"/>
                      </a:lnTo>
                      <a:lnTo>
                        <a:pt x="1471" y="574"/>
                      </a:lnTo>
                      <a:lnTo>
                        <a:pt x="1468" y="574"/>
                      </a:lnTo>
                      <a:lnTo>
                        <a:pt x="1463" y="571"/>
                      </a:lnTo>
                      <a:lnTo>
                        <a:pt x="1458" y="574"/>
                      </a:lnTo>
                      <a:lnTo>
                        <a:pt x="1455" y="574"/>
                      </a:lnTo>
                      <a:lnTo>
                        <a:pt x="1450" y="571"/>
                      </a:lnTo>
                      <a:lnTo>
                        <a:pt x="1438" y="568"/>
                      </a:lnTo>
                      <a:lnTo>
                        <a:pt x="1433" y="566"/>
                      </a:lnTo>
                      <a:lnTo>
                        <a:pt x="1416" y="571"/>
                      </a:lnTo>
                      <a:lnTo>
                        <a:pt x="1407" y="579"/>
                      </a:lnTo>
                      <a:lnTo>
                        <a:pt x="1405" y="579"/>
                      </a:lnTo>
                      <a:lnTo>
                        <a:pt x="1402" y="579"/>
                      </a:lnTo>
                      <a:lnTo>
                        <a:pt x="1399" y="579"/>
                      </a:lnTo>
                      <a:lnTo>
                        <a:pt x="1394" y="579"/>
                      </a:lnTo>
                      <a:lnTo>
                        <a:pt x="1397" y="582"/>
                      </a:lnTo>
                      <a:lnTo>
                        <a:pt x="1397" y="584"/>
                      </a:lnTo>
                      <a:lnTo>
                        <a:pt x="1391" y="584"/>
                      </a:lnTo>
                      <a:lnTo>
                        <a:pt x="1389" y="584"/>
                      </a:lnTo>
                      <a:lnTo>
                        <a:pt x="1389" y="590"/>
                      </a:lnTo>
                      <a:lnTo>
                        <a:pt x="1389" y="593"/>
                      </a:lnTo>
                      <a:lnTo>
                        <a:pt x="1383" y="593"/>
                      </a:lnTo>
                      <a:lnTo>
                        <a:pt x="1381" y="593"/>
                      </a:lnTo>
                      <a:lnTo>
                        <a:pt x="1377" y="596"/>
                      </a:lnTo>
                      <a:lnTo>
                        <a:pt x="1366" y="601"/>
                      </a:lnTo>
                      <a:lnTo>
                        <a:pt x="1364" y="607"/>
                      </a:lnTo>
                      <a:lnTo>
                        <a:pt x="1361" y="607"/>
                      </a:lnTo>
                      <a:lnTo>
                        <a:pt x="1356" y="604"/>
                      </a:lnTo>
                      <a:lnTo>
                        <a:pt x="1353" y="599"/>
                      </a:lnTo>
                      <a:lnTo>
                        <a:pt x="1347" y="599"/>
                      </a:lnTo>
                      <a:lnTo>
                        <a:pt x="1336" y="596"/>
                      </a:lnTo>
                      <a:lnTo>
                        <a:pt x="1328" y="599"/>
                      </a:lnTo>
                      <a:lnTo>
                        <a:pt x="1325" y="612"/>
                      </a:lnTo>
                      <a:lnTo>
                        <a:pt x="1325" y="617"/>
                      </a:lnTo>
                      <a:lnTo>
                        <a:pt x="1328" y="623"/>
                      </a:lnTo>
                      <a:lnTo>
                        <a:pt x="1325" y="625"/>
                      </a:lnTo>
                      <a:lnTo>
                        <a:pt x="1322" y="629"/>
                      </a:lnTo>
                      <a:lnTo>
                        <a:pt x="1320" y="632"/>
                      </a:lnTo>
                      <a:lnTo>
                        <a:pt x="1320" y="640"/>
                      </a:lnTo>
                      <a:lnTo>
                        <a:pt x="1317" y="648"/>
                      </a:lnTo>
                      <a:lnTo>
                        <a:pt x="1314" y="651"/>
                      </a:lnTo>
                      <a:lnTo>
                        <a:pt x="1314" y="653"/>
                      </a:lnTo>
                      <a:lnTo>
                        <a:pt x="1317" y="656"/>
                      </a:lnTo>
                      <a:lnTo>
                        <a:pt x="1322" y="653"/>
                      </a:lnTo>
                      <a:lnTo>
                        <a:pt x="1320" y="659"/>
                      </a:lnTo>
                      <a:lnTo>
                        <a:pt x="1320" y="662"/>
                      </a:lnTo>
                      <a:lnTo>
                        <a:pt x="1317" y="662"/>
                      </a:lnTo>
                      <a:lnTo>
                        <a:pt x="1314" y="668"/>
                      </a:lnTo>
                      <a:lnTo>
                        <a:pt x="1322" y="678"/>
                      </a:lnTo>
                      <a:lnTo>
                        <a:pt x="1317" y="678"/>
                      </a:lnTo>
                      <a:lnTo>
                        <a:pt x="1314" y="681"/>
                      </a:lnTo>
                      <a:lnTo>
                        <a:pt x="1303" y="684"/>
                      </a:lnTo>
                      <a:lnTo>
                        <a:pt x="1297" y="681"/>
                      </a:lnTo>
                      <a:lnTo>
                        <a:pt x="1292" y="681"/>
                      </a:lnTo>
                      <a:lnTo>
                        <a:pt x="1289" y="681"/>
                      </a:lnTo>
                      <a:lnTo>
                        <a:pt x="1284" y="681"/>
                      </a:lnTo>
                      <a:lnTo>
                        <a:pt x="1281" y="684"/>
                      </a:lnTo>
                      <a:lnTo>
                        <a:pt x="1281" y="686"/>
                      </a:lnTo>
                      <a:lnTo>
                        <a:pt x="1275" y="692"/>
                      </a:lnTo>
                      <a:lnTo>
                        <a:pt x="1272" y="694"/>
                      </a:lnTo>
                      <a:lnTo>
                        <a:pt x="1267" y="701"/>
                      </a:lnTo>
                      <a:lnTo>
                        <a:pt x="1264" y="701"/>
                      </a:lnTo>
                      <a:lnTo>
                        <a:pt x="1256" y="701"/>
                      </a:lnTo>
                      <a:lnTo>
                        <a:pt x="1253" y="701"/>
                      </a:lnTo>
                      <a:lnTo>
                        <a:pt x="1251" y="701"/>
                      </a:lnTo>
                      <a:lnTo>
                        <a:pt x="1248" y="698"/>
                      </a:lnTo>
                      <a:lnTo>
                        <a:pt x="1242" y="701"/>
                      </a:lnTo>
                      <a:lnTo>
                        <a:pt x="1242" y="703"/>
                      </a:lnTo>
                      <a:lnTo>
                        <a:pt x="1239" y="703"/>
                      </a:lnTo>
                      <a:lnTo>
                        <a:pt x="1231" y="706"/>
                      </a:lnTo>
                      <a:lnTo>
                        <a:pt x="1228" y="706"/>
                      </a:lnTo>
                      <a:lnTo>
                        <a:pt x="1228" y="709"/>
                      </a:lnTo>
                      <a:lnTo>
                        <a:pt x="1226" y="712"/>
                      </a:lnTo>
                      <a:lnTo>
                        <a:pt x="1223" y="712"/>
                      </a:lnTo>
                      <a:lnTo>
                        <a:pt x="1215" y="717"/>
                      </a:lnTo>
                      <a:lnTo>
                        <a:pt x="1209" y="717"/>
                      </a:lnTo>
                      <a:lnTo>
                        <a:pt x="1200" y="722"/>
                      </a:lnTo>
                      <a:lnTo>
                        <a:pt x="1198" y="722"/>
                      </a:lnTo>
                      <a:lnTo>
                        <a:pt x="1195" y="722"/>
                      </a:lnTo>
                      <a:lnTo>
                        <a:pt x="1190" y="720"/>
                      </a:lnTo>
                      <a:lnTo>
                        <a:pt x="1182" y="722"/>
                      </a:lnTo>
                      <a:lnTo>
                        <a:pt x="1176" y="722"/>
                      </a:lnTo>
                      <a:lnTo>
                        <a:pt x="1173" y="725"/>
                      </a:lnTo>
                      <a:lnTo>
                        <a:pt x="1173" y="728"/>
                      </a:lnTo>
                      <a:lnTo>
                        <a:pt x="1173" y="734"/>
                      </a:lnTo>
                      <a:lnTo>
                        <a:pt x="1165" y="739"/>
                      </a:lnTo>
                      <a:lnTo>
                        <a:pt x="1151" y="737"/>
                      </a:lnTo>
                      <a:lnTo>
                        <a:pt x="1149" y="739"/>
                      </a:lnTo>
                      <a:lnTo>
                        <a:pt x="1143" y="739"/>
                      </a:lnTo>
                      <a:lnTo>
                        <a:pt x="1137" y="739"/>
                      </a:lnTo>
                      <a:lnTo>
                        <a:pt x="1131" y="745"/>
                      </a:lnTo>
                      <a:lnTo>
                        <a:pt x="1129" y="745"/>
                      </a:lnTo>
                      <a:lnTo>
                        <a:pt x="1126" y="750"/>
                      </a:lnTo>
                      <a:lnTo>
                        <a:pt x="1123" y="747"/>
                      </a:lnTo>
                      <a:lnTo>
                        <a:pt x="1115" y="747"/>
                      </a:lnTo>
                      <a:lnTo>
                        <a:pt x="1110" y="742"/>
                      </a:lnTo>
                      <a:lnTo>
                        <a:pt x="1107" y="742"/>
                      </a:lnTo>
                      <a:lnTo>
                        <a:pt x="1104" y="745"/>
                      </a:lnTo>
                      <a:lnTo>
                        <a:pt x="1096" y="737"/>
                      </a:lnTo>
                      <a:lnTo>
                        <a:pt x="1082" y="734"/>
                      </a:lnTo>
                      <a:lnTo>
                        <a:pt x="1077" y="737"/>
                      </a:lnTo>
                      <a:lnTo>
                        <a:pt x="1074" y="737"/>
                      </a:lnTo>
                      <a:lnTo>
                        <a:pt x="1065" y="737"/>
                      </a:lnTo>
                      <a:lnTo>
                        <a:pt x="1052" y="737"/>
                      </a:lnTo>
                      <a:lnTo>
                        <a:pt x="1044" y="739"/>
                      </a:lnTo>
                      <a:lnTo>
                        <a:pt x="1041" y="731"/>
                      </a:lnTo>
                      <a:lnTo>
                        <a:pt x="1038" y="728"/>
                      </a:lnTo>
                      <a:lnTo>
                        <a:pt x="1024" y="739"/>
                      </a:lnTo>
                      <a:lnTo>
                        <a:pt x="1021" y="742"/>
                      </a:lnTo>
                      <a:lnTo>
                        <a:pt x="1021" y="745"/>
                      </a:lnTo>
                      <a:lnTo>
                        <a:pt x="1027" y="747"/>
                      </a:lnTo>
                      <a:lnTo>
                        <a:pt x="1027" y="750"/>
                      </a:lnTo>
                      <a:lnTo>
                        <a:pt x="1024" y="755"/>
                      </a:lnTo>
                      <a:lnTo>
                        <a:pt x="1019" y="755"/>
                      </a:lnTo>
                      <a:lnTo>
                        <a:pt x="1016" y="755"/>
                      </a:lnTo>
                      <a:lnTo>
                        <a:pt x="1008" y="750"/>
                      </a:lnTo>
                      <a:lnTo>
                        <a:pt x="1005" y="747"/>
                      </a:lnTo>
                      <a:lnTo>
                        <a:pt x="1001" y="747"/>
                      </a:lnTo>
                      <a:lnTo>
                        <a:pt x="980" y="747"/>
                      </a:lnTo>
                      <a:lnTo>
                        <a:pt x="977" y="745"/>
                      </a:lnTo>
                      <a:lnTo>
                        <a:pt x="972" y="747"/>
                      </a:lnTo>
                      <a:lnTo>
                        <a:pt x="963" y="747"/>
                      </a:lnTo>
                      <a:lnTo>
                        <a:pt x="958" y="750"/>
                      </a:lnTo>
                      <a:lnTo>
                        <a:pt x="952" y="750"/>
                      </a:lnTo>
                      <a:lnTo>
                        <a:pt x="950" y="753"/>
                      </a:lnTo>
                      <a:lnTo>
                        <a:pt x="950" y="758"/>
                      </a:lnTo>
                      <a:lnTo>
                        <a:pt x="950" y="772"/>
                      </a:lnTo>
                      <a:lnTo>
                        <a:pt x="947" y="775"/>
                      </a:lnTo>
                      <a:lnTo>
                        <a:pt x="950" y="778"/>
                      </a:lnTo>
                      <a:lnTo>
                        <a:pt x="950" y="783"/>
                      </a:lnTo>
                      <a:lnTo>
                        <a:pt x="947" y="783"/>
                      </a:lnTo>
                      <a:lnTo>
                        <a:pt x="944" y="789"/>
                      </a:lnTo>
                      <a:lnTo>
                        <a:pt x="944" y="791"/>
                      </a:lnTo>
                      <a:lnTo>
                        <a:pt x="936" y="791"/>
                      </a:lnTo>
                      <a:lnTo>
                        <a:pt x="930" y="794"/>
                      </a:lnTo>
                      <a:lnTo>
                        <a:pt x="927" y="791"/>
                      </a:lnTo>
                      <a:lnTo>
                        <a:pt x="922" y="794"/>
                      </a:lnTo>
                      <a:lnTo>
                        <a:pt x="906" y="786"/>
                      </a:lnTo>
                      <a:lnTo>
                        <a:pt x="900" y="783"/>
                      </a:lnTo>
                      <a:lnTo>
                        <a:pt x="894" y="786"/>
                      </a:lnTo>
                      <a:lnTo>
                        <a:pt x="891" y="789"/>
                      </a:lnTo>
                      <a:lnTo>
                        <a:pt x="889" y="791"/>
                      </a:lnTo>
                      <a:lnTo>
                        <a:pt x="891" y="799"/>
                      </a:lnTo>
                      <a:lnTo>
                        <a:pt x="889" y="806"/>
                      </a:lnTo>
                      <a:lnTo>
                        <a:pt x="891" y="808"/>
                      </a:lnTo>
                      <a:lnTo>
                        <a:pt x="889" y="811"/>
                      </a:lnTo>
                      <a:lnTo>
                        <a:pt x="886" y="808"/>
                      </a:lnTo>
                      <a:lnTo>
                        <a:pt x="875" y="806"/>
                      </a:lnTo>
                      <a:lnTo>
                        <a:pt x="873" y="814"/>
                      </a:lnTo>
                      <a:lnTo>
                        <a:pt x="873" y="819"/>
                      </a:lnTo>
                      <a:lnTo>
                        <a:pt x="870" y="822"/>
                      </a:lnTo>
                      <a:lnTo>
                        <a:pt x="870" y="832"/>
                      </a:lnTo>
                      <a:lnTo>
                        <a:pt x="870" y="850"/>
                      </a:lnTo>
                      <a:lnTo>
                        <a:pt x="861" y="855"/>
                      </a:lnTo>
                      <a:lnTo>
                        <a:pt x="858" y="858"/>
                      </a:lnTo>
                      <a:lnTo>
                        <a:pt x="858" y="860"/>
                      </a:lnTo>
                      <a:lnTo>
                        <a:pt x="861" y="860"/>
                      </a:lnTo>
                      <a:lnTo>
                        <a:pt x="861" y="866"/>
                      </a:lnTo>
                      <a:lnTo>
                        <a:pt x="867" y="866"/>
                      </a:lnTo>
                      <a:lnTo>
                        <a:pt x="870" y="868"/>
                      </a:lnTo>
                      <a:lnTo>
                        <a:pt x="870" y="875"/>
                      </a:lnTo>
                      <a:lnTo>
                        <a:pt x="863" y="877"/>
                      </a:lnTo>
                      <a:lnTo>
                        <a:pt x="853" y="880"/>
                      </a:lnTo>
                      <a:lnTo>
                        <a:pt x="845" y="883"/>
                      </a:lnTo>
                      <a:lnTo>
                        <a:pt x="842" y="885"/>
                      </a:lnTo>
                      <a:lnTo>
                        <a:pt x="845" y="893"/>
                      </a:lnTo>
                      <a:lnTo>
                        <a:pt x="837" y="893"/>
                      </a:lnTo>
                      <a:lnTo>
                        <a:pt x="831" y="891"/>
                      </a:lnTo>
                      <a:lnTo>
                        <a:pt x="831" y="893"/>
                      </a:lnTo>
                      <a:lnTo>
                        <a:pt x="834" y="896"/>
                      </a:lnTo>
                      <a:lnTo>
                        <a:pt x="831" y="896"/>
                      </a:lnTo>
                      <a:lnTo>
                        <a:pt x="831" y="899"/>
                      </a:lnTo>
                      <a:lnTo>
                        <a:pt x="822" y="899"/>
                      </a:lnTo>
                      <a:lnTo>
                        <a:pt x="820" y="902"/>
                      </a:lnTo>
                      <a:lnTo>
                        <a:pt x="817" y="908"/>
                      </a:lnTo>
                      <a:lnTo>
                        <a:pt x="814" y="911"/>
                      </a:lnTo>
                      <a:lnTo>
                        <a:pt x="809" y="908"/>
                      </a:lnTo>
                      <a:lnTo>
                        <a:pt x="804" y="908"/>
                      </a:lnTo>
                      <a:lnTo>
                        <a:pt x="798" y="908"/>
                      </a:lnTo>
                      <a:lnTo>
                        <a:pt x="794" y="913"/>
                      </a:lnTo>
                      <a:lnTo>
                        <a:pt x="776" y="921"/>
                      </a:lnTo>
                      <a:lnTo>
                        <a:pt x="768" y="927"/>
                      </a:lnTo>
                      <a:lnTo>
                        <a:pt x="759" y="927"/>
                      </a:lnTo>
                      <a:lnTo>
                        <a:pt x="756" y="932"/>
                      </a:lnTo>
                      <a:lnTo>
                        <a:pt x="748" y="941"/>
                      </a:lnTo>
                      <a:lnTo>
                        <a:pt x="740" y="944"/>
                      </a:lnTo>
                      <a:lnTo>
                        <a:pt x="740" y="949"/>
                      </a:lnTo>
                      <a:lnTo>
                        <a:pt x="737" y="952"/>
                      </a:lnTo>
                      <a:lnTo>
                        <a:pt x="735" y="952"/>
                      </a:lnTo>
                      <a:lnTo>
                        <a:pt x="726" y="952"/>
                      </a:lnTo>
                      <a:lnTo>
                        <a:pt x="720" y="954"/>
                      </a:lnTo>
                      <a:lnTo>
                        <a:pt x="709" y="949"/>
                      </a:lnTo>
                      <a:lnTo>
                        <a:pt x="701" y="937"/>
                      </a:lnTo>
                      <a:lnTo>
                        <a:pt x="699" y="937"/>
                      </a:lnTo>
                      <a:lnTo>
                        <a:pt x="682" y="935"/>
                      </a:lnTo>
                      <a:lnTo>
                        <a:pt x="679" y="927"/>
                      </a:lnTo>
                      <a:lnTo>
                        <a:pt x="668" y="916"/>
                      </a:lnTo>
                      <a:lnTo>
                        <a:pt x="668" y="911"/>
                      </a:lnTo>
                      <a:lnTo>
                        <a:pt x="668" y="904"/>
                      </a:lnTo>
                      <a:lnTo>
                        <a:pt x="668" y="899"/>
                      </a:lnTo>
                      <a:lnTo>
                        <a:pt x="660" y="902"/>
                      </a:lnTo>
                      <a:lnTo>
                        <a:pt x="654" y="899"/>
                      </a:lnTo>
                      <a:lnTo>
                        <a:pt x="651" y="896"/>
                      </a:lnTo>
                      <a:lnTo>
                        <a:pt x="651" y="893"/>
                      </a:lnTo>
                      <a:lnTo>
                        <a:pt x="656" y="891"/>
                      </a:lnTo>
                      <a:lnTo>
                        <a:pt x="654" y="885"/>
                      </a:lnTo>
                      <a:lnTo>
                        <a:pt x="656" y="880"/>
                      </a:lnTo>
                      <a:lnTo>
                        <a:pt x="660" y="880"/>
                      </a:lnTo>
                      <a:lnTo>
                        <a:pt x="660" y="877"/>
                      </a:lnTo>
                      <a:lnTo>
                        <a:pt x="656" y="868"/>
                      </a:lnTo>
                      <a:lnTo>
                        <a:pt x="660" y="863"/>
                      </a:lnTo>
                      <a:lnTo>
                        <a:pt x="654" y="855"/>
                      </a:lnTo>
                      <a:lnTo>
                        <a:pt x="654" y="850"/>
                      </a:lnTo>
                      <a:lnTo>
                        <a:pt x="656" y="841"/>
                      </a:lnTo>
                      <a:lnTo>
                        <a:pt x="656" y="836"/>
                      </a:lnTo>
                      <a:lnTo>
                        <a:pt x="656" y="830"/>
                      </a:lnTo>
                      <a:lnTo>
                        <a:pt x="654" y="827"/>
                      </a:lnTo>
                      <a:lnTo>
                        <a:pt x="651" y="824"/>
                      </a:lnTo>
                      <a:lnTo>
                        <a:pt x="646" y="824"/>
                      </a:lnTo>
                      <a:lnTo>
                        <a:pt x="646" y="822"/>
                      </a:lnTo>
                      <a:lnTo>
                        <a:pt x="643" y="822"/>
                      </a:lnTo>
                      <a:lnTo>
                        <a:pt x="640" y="819"/>
                      </a:lnTo>
                      <a:lnTo>
                        <a:pt x="640" y="811"/>
                      </a:lnTo>
                      <a:lnTo>
                        <a:pt x="635" y="808"/>
                      </a:lnTo>
                      <a:lnTo>
                        <a:pt x="630" y="811"/>
                      </a:lnTo>
                      <a:lnTo>
                        <a:pt x="630" y="816"/>
                      </a:lnTo>
                      <a:lnTo>
                        <a:pt x="623" y="816"/>
                      </a:lnTo>
                      <a:lnTo>
                        <a:pt x="623" y="814"/>
                      </a:lnTo>
                      <a:lnTo>
                        <a:pt x="621" y="816"/>
                      </a:lnTo>
                      <a:lnTo>
                        <a:pt x="618" y="814"/>
                      </a:lnTo>
                      <a:lnTo>
                        <a:pt x="610" y="814"/>
                      </a:lnTo>
                      <a:lnTo>
                        <a:pt x="605" y="816"/>
                      </a:lnTo>
                      <a:lnTo>
                        <a:pt x="599" y="814"/>
                      </a:lnTo>
                      <a:lnTo>
                        <a:pt x="594" y="814"/>
                      </a:lnTo>
                      <a:lnTo>
                        <a:pt x="587" y="814"/>
                      </a:lnTo>
                      <a:lnTo>
                        <a:pt x="579" y="819"/>
                      </a:lnTo>
                      <a:lnTo>
                        <a:pt x="579" y="816"/>
                      </a:lnTo>
                      <a:lnTo>
                        <a:pt x="574" y="816"/>
                      </a:lnTo>
                      <a:lnTo>
                        <a:pt x="577" y="808"/>
                      </a:lnTo>
                      <a:lnTo>
                        <a:pt x="577" y="806"/>
                      </a:lnTo>
                      <a:lnTo>
                        <a:pt x="579" y="806"/>
                      </a:lnTo>
                      <a:lnTo>
                        <a:pt x="587" y="803"/>
                      </a:lnTo>
                      <a:lnTo>
                        <a:pt x="591" y="799"/>
                      </a:lnTo>
                      <a:lnTo>
                        <a:pt x="594" y="799"/>
                      </a:lnTo>
                      <a:lnTo>
                        <a:pt x="594" y="797"/>
                      </a:lnTo>
                      <a:lnTo>
                        <a:pt x="591" y="794"/>
                      </a:lnTo>
                      <a:lnTo>
                        <a:pt x="594" y="791"/>
                      </a:lnTo>
                      <a:lnTo>
                        <a:pt x="591" y="791"/>
                      </a:lnTo>
                      <a:lnTo>
                        <a:pt x="587" y="791"/>
                      </a:lnTo>
                      <a:lnTo>
                        <a:pt x="587" y="789"/>
                      </a:lnTo>
                      <a:lnTo>
                        <a:pt x="594" y="789"/>
                      </a:lnTo>
                      <a:lnTo>
                        <a:pt x="594" y="786"/>
                      </a:lnTo>
                      <a:lnTo>
                        <a:pt x="602" y="786"/>
                      </a:lnTo>
                      <a:lnTo>
                        <a:pt x="618" y="775"/>
                      </a:lnTo>
                      <a:lnTo>
                        <a:pt x="618" y="770"/>
                      </a:lnTo>
                      <a:lnTo>
                        <a:pt x="615" y="767"/>
                      </a:lnTo>
                      <a:lnTo>
                        <a:pt x="618" y="763"/>
                      </a:lnTo>
                      <a:lnTo>
                        <a:pt x="627" y="761"/>
                      </a:lnTo>
                      <a:lnTo>
                        <a:pt x="627" y="753"/>
                      </a:lnTo>
                      <a:lnTo>
                        <a:pt x="621" y="753"/>
                      </a:lnTo>
                      <a:lnTo>
                        <a:pt x="618" y="750"/>
                      </a:lnTo>
                      <a:lnTo>
                        <a:pt x="623" y="747"/>
                      </a:lnTo>
                      <a:lnTo>
                        <a:pt x="627" y="745"/>
                      </a:lnTo>
                      <a:lnTo>
                        <a:pt x="630" y="747"/>
                      </a:lnTo>
                      <a:lnTo>
                        <a:pt x="638" y="742"/>
                      </a:lnTo>
                      <a:lnTo>
                        <a:pt x="640" y="739"/>
                      </a:lnTo>
                      <a:lnTo>
                        <a:pt x="643" y="739"/>
                      </a:lnTo>
                      <a:lnTo>
                        <a:pt x="646" y="742"/>
                      </a:lnTo>
                      <a:lnTo>
                        <a:pt x="648" y="745"/>
                      </a:lnTo>
                      <a:lnTo>
                        <a:pt x="648" y="742"/>
                      </a:lnTo>
                      <a:lnTo>
                        <a:pt x="651" y="739"/>
                      </a:lnTo>
                      <a:lnTo>
                        <a:pt x="654" y="739"/>
                      </a:lnTo>
                      <a:lnTo>
                        <a:pt x="656" y="734"/>
                      </a:lnTo>
                      <a:lnTo>
                        <a:pt x="654" y="734"/>
                      </a:lnTo>
                      <a:lnTo>
                        <a:pt x="654" y="731"/>
                      </a:lnTo>
                      <a:lnTo>
                        <a:pt x="663" y="720"/>
                      </a:lnTo>
                      <a:lnTo>
                        <a:pt x="656" y="714"/>
                      </a:lnTo>
                      <a:lnTo>
                        <a:pt x="656" y="706"/>
                      </a:lnTo>
                      <a:lnTo>
                        <a:pt x="651" y="701"/>
                      </a:lnTo>
                      <a:lnTo>
                        <a:pt x="648" y="698"/>
                      </a:lnTo>
                      <a:lnTo>
                        <a:pt x="646" y="692"/>
                      </a:lnTo>
                      <a:lnTo>
                        <a:pt x="646" y="689"/>
                      </a:lnTo>
                      <a:lnTo>
                        <a:pt x="643" y="686"/>
                      </a:lnTo>
                      <a:lnTo>
                        <a:pt x="638" y="681"/>
                      </a:lnTo>
                      <a:lnTo>
                        <a:pt x="638" y="676"/>
                      </a:lnTo>
                      <a:lnTo>
                        <a:pt x="638" y="673"/>
                      </a:lnTo>
                      <a:lnTo>
                        <a:pt x="638" y="670"/>
                      </a:lnTo>
                      <a:lnTo>
                        <a:pt x="643" y="668"/>
                      </a:lnTo>
                      <a:lnTo>
                        <a:pt x="646" y="659"/>
                      </a:lnTo>
                      <a:lnTo>
                        <a:pt x="648" y="651"/>
                      </a:lnTo>
                      <a:lnTo>
                        <a:pt x="654" y="645"/>
                      </a:lnTo>
                      <a:lnTo>
                        <a:pt x="663" y="640"/>
                      </a:lnTo>
                      <a:lnTo>
                        <a:pt x="668" y="632"/>
                      </a:lnTo>
                      <a:lnTo>
                        <a:pt x="676" y="632"/>
                      </a:lnTo>
                      <a:lnTo>
                        <a:pt x="682" y="625"/>
                      </a:lnTo>
                      <a:lnTo>
                        <a:pt x="690" y="625"/>
                      </a:lnTo>
                      <a:lnTo>
                        <a:pt x="696" y="620"/>
                      </a:lnTo>
                      <a:lnTo>
                        <a:pt x="707" y="617"/>
                      </a:lnTo>
                      <a:lnTo>
                        <a:pt x="707" y="615"/>
                      </a:lnTo>
                      <a:lnTo>
                        <a:pt x="715" y="612"/>
                      </a:lnTo>
                      <a:lnTo>
                        <a:pt x="717" y="615"/>
                      </a:lnTo>
                      <a:lnTo>
                        <a:pt x="723" y="609"/>
                      </a:lnTo>
                      <a:lnTo>
                        <a:pt x="723" y="607"/>
                      </a:lnTo>
                      <a:lnTo>
                        <a:pt x="720" y="607"/>
                      </a:lnTo>
                      <a:lnTo>
                        <a:pt x="720" y="604"/>
                      </a:lnTo>
                      <a:lnTo>
                        <a:pt x="720" y="601"/>
                      </a:lnTo>
                      <a:lnTo>
                        <a:pt x="715" y="599"/>
                      </a:lnTo>
                      <a:lnTo>
                        <a:pt x="712" y="596"/>
                      </a:lnTo>
                      <a:lnTo>
                        <a:pt x="709" y="590"/>
                      </a:lnTo>
                      <a:lnTo>
                        <a:pt x="712" y="587"/>
                      </a:lnTo>
                      <a:lnTo>
                        <a:pt x="712" y="584"/>
                      </a:lnTo>
                      <a:lnTo>
                        <a:pt x="707" y="584"/>
                      </a:lnTo>
                      <a:lnTo>
                        <a:pt x="712" y="576"/>
                      </a:lnTo>
                      <a:lnTo>
                        <a:pt x="707" y="571"/>
                      </a:lnTo>
                      <a:lnTo>
                        <a:pt x="699" y="566"/>
                      </a:lnTo>
                      <a:lnTo>
                        <a:pt x="696" y="566"/>
                      </a:lnTo>
                      <a:lnTo>
                        <a:pt x="696" y="568"/>
                      </a:lnTo>
                      <a:lnTo>
                        <a:pt x="690" y="568"/>
                      </a:lnTo>
                      <a:lnTo>
                        <a:pt x="687" y="563"/>
                      </a:lnTo>
                      <a:lnTo>
                        <a:pt x="687" y="560"/>
                      </a:lnTo>
                      <a:lnTo>
                        <a:pt x="682" y="557"/>
                      </a:lnTo>
                      <a:lnTo>
                        <a:pt x="674" y="557"/>
                      </a:lnTo>
                      <a:lnTo>
                        <a:pt x="668" y="554"/>
                      </a:lnTo>
                      <a:lnTo>
                        <a:pt x="665" y="551"/>
                      </a:lnTo>
                      <a:lnTo>
                        <a:pt x="663" y="554"/>
                      </a:lnTo>
                      <a:lnTo>
                        <a:pt x="660" y="548"/>
                      </a:lnTo>
                      <a:lnTo>
                        <a:pt x="654" y="548"/>
                      </a:lnTo>
                      <a:lnTo>
                        <a:pt x="651" y="548"/>
                      </a:lnTo>
                      <a:lnTo>
                        <a:pt x="648" y="543"/>
                      </a:lnTo>
                      <a:lnTo>
                        <a:pt x="646" y="538"/>
                      </a:lnTo>
                      <a:lnTo>
                        <a:pt x="638" y="532"/>
                      </a:lnTo>
                      <a:lnTo>
                        <a:pt x="632" y="530"/>
                      </a:lnTo>
                      <a:lnTo>
                        <a:pt x="623" y="524"/>
                      </a:lnTo>
                      <a:lnTo>
                        <a:pt x="615" y="524"/>
                      </a:lnTo>
                      <a:lnTo>
                        <a:pt x="613" y="524"/>
                      </a:lnTo>
                      <a:lnTo>
                        <a:pt x="605" y="524"/>
                      </a:lnTo>
                      <a:lnTo>
                        <a:pt x="602" y="530"/>
                      </a:lnTo>
                      <a:lnTo>
                        <a:pt x="594" y="530"/>
                      </a:lnTo>
                      <a:lnTo>
                        <a:pt x="591" y="530"/>
                      </a:lnTo>
                      <a:lnTo>
                        <a:pt x="582" y="530"/>
                      </a:lnTo>
                      <a:lnTo>
                        <a:pt x="577" y="538"/>
                      </a:lnTo>
                      <a:lnTo>
                        <a:pt x="574" y="543"/>
                      </a:lnTo>
                      <a:lnTo>
                        <a:pt x="577" y="548"/>
                      </a:lnTo>
                      <a:lnTo>
                        <a:pt x="561" y="557"/>
                      </a:lnTo>
                      <a:lnTo>
                        <a:pt x="552" y="557"/>
                      </a:lnTo>
                      <a:lnTo>
                        <a:pt x="549" y="560"/>
                      </a:lnTo>
                      <a:lnTo>
                        <a:pt x="544" y="557"/>
                      </a:lnTo>
                      <a:lnTo>
                        <a:pt x="541" y="557"/>
                      </a:lnTo>
                      <a:lnTo>
                        <a:pt x="538" y="560"/>
                      </a:lnTo>
                      <a:lnTo>
                        <a:pt x="528" y="557"/>
                      </a:lnTo>
                      <a:lnTo>
                        <a:pt x="518" y="560"/>
                      </a:lnTo>
                      <a:lnTo>
                        <a:pt x="516" y="563"/>
                      </a:lnTo>
                      <a:lnTo>
                        <a:pt x="518" y="568"/>
                      </a:lnTo>
                      <a:lnTo>
                        <a:pt x="518" y="574"/>
                      </a:lnTo>
                      <a:lnTo>
                        <a:pt x="516" y="576"/>
                      </a:lnTo>
                      <a:lnTo>
                        <a:pt x="513" y="584"/>
                      </a:lnTo>
                      <a:lnTo>
                        <a:pt x="510" y="584"/>
                      </a:lnTo>
                      <a:lnTo>
                        <a:pt x="508" y="587"/>
                      </a:lnTo>
                      <a:lnTo>
                        <a:pt x="508" y="590"/>
                      </a:lnTo>
                      <a:lnTo>
                        <a:pt x="505" y="593"/>
                      </a:lnTo>
                      <a:lnTo>
                        <a:pt x="502" y="596"/>
                      </a:lnTo>
                      <a:lnTo>
                        <a:pt x="502" y="604"/>
                      </a:lnTo>
                      <a:lnTo>
                        <a:pt x="502" y="607"/>
                      </a:lnTo>
                      <a:lnTo>
                        <a:pt x="494" y="609"/>
                      </a:lnTo>
                      <a:lnTo>
                        <a:pt x="485" y="612"/>
                      </a:lnTo>
                      <a:lnTo>
                        <a:pt x="477" y="617"/>
                      </a:lnTo>
                      <a:lnTo>
                        <a:pt x="469" y="620"/>
                      </a:lnTo>
                      <a:lnTo>
                        <a:pt x="469" y="625"/>
                      </a:lnTo>
                      <a:lnTo>
                        <a:pt x="467" y="629"/>
                      </a:lnTo>
                      <a:lnTo>
                        <a:pt x="461" y="632"/>
                      </a:lnTo>
                      <a:lnTo>
                        <a:pt x="456" y="629"/>
                      </a:lnTo>
                      <a:lnTo>
                        <a:pt x="453" y="632"/>
                      </a:lnTo>
                      <a:lnTo>
                        <a:pt x="449" y="625"/>
                      </a:lnTo>
                      <a:lnTo>
                        <a:pt x="441" y="632"/>
                      </a:lnTo>
                      <a:lnTo>
                        <a:pt x="441" y="637"/>
                      </a:lnTo>
                      <a:lnTo>
                        <a:pt x="431" y="640"/>
                      </a:lnTo>
                      <a:lnTo>
                        <a:pt x="431" y="643"/>
                      </a:lnTo>
                      <a:lnTo>
                        <a:pt x="431" y="648"/>
                      </a:lnTo>
                      <a:lnTo>
                        <a:pt x="425" y="651"/>
                      </a:lnTo>
                      <a:lnTo>
                        <a:pt x="423" y="651"/>
                      </a:lnTo>
                      <a:lnTo>
                        <a:pt x="420" y="659"/>
                      </a:lnTo>
                      <a:lnTo>
                        <a:pt x="416" y="659"/>
                      </a:lnTo>
                      <a:lnTo>
                        <a:pt x="414" y="665"/>
                      </a:lnTo>
                      <a:lnTo>
                        <a:pt x="411" y="668"/>
                      </a:lnTo>
                      <a:lnTo>
                        <a:pt x="411" y="670"/>
                      </a:lnTo>
                      <a:lnTo>
                        <a:pt x="408" y="673"/>
                      </a:lnTo>
                      <a:lnTo>
                        <a:pt x="414" y="676"/>
                      </a:lnTo>
                      <a:lnTo>
                        <a:pt x="416" y="678"/>
                      </a:lnTo>
                      <a:lnTo>
                        <a:pt x="416" y="684"/>
                      </a:lnTo>
                      <a:lnTo>
                        <a:pt x="411" y="686"/>
                      </a:lnTo>
                      <a:lnTo>
                        <a:pt x="411" y="689"/>
                      </a:lnTo>
                      <a:lnTo>
                        <a:pt x="406" y="684"/>
                      </a:lnTo>
                      <a:lnTo>
                        <a:pt x="406" y="678"/>
                      </a:lnTo>
                      <a:lnTo>
                        <a:pt x="403" y="678"/>
                      </a:lnTo>
                      <a:lnTo>
                        <a:pt x="403" y="673"/>
                      </a:lnTo>
                      <a:lnTo>
                        <a:pt x="400" y="670"/>
                      </a:lnTo>
                      <a:lnTo>
                        <a:pt x="398" y="670"/>
                      </a:lnTo>
                      <a:lnTo>
                        <a:pt x="395" y="670"/>
                      </a:lnTo>
                      <a:lnTo>
                        <a:pt x="390" y="678"/>
                      </a:lnTo>
                      <a:lnTo>
                        <a:pt x="375" y="678"/>
                      </a:lnTo>
                      <a:lnTo>
                        <a:pt x="370" y="681"/>
                      </a:lnTo>
                      <a:lnTo>
                        <a:pt x="367" y="684"/>
                      </a:lnTo>
                      <a:lnTo>
                        <a:pt x="359" y="694"/>
                      </a:lnTo>
                      <a:lnTo>
                        <a:pt x="354" y="698"/>
                      </a:lnTo>
                      <a:lnTo>
                        <a:pt x="351" y="701"/>
                      </a:lnTo>
                      <a:lnTo>
                        <a:pt x="354" y="703"/>
                      </a:lnTo>
                      <a:lnTo>
                        <a:pt x="356" y="706"/>
                      </a:lnTo>
                      <a:lnTo>
                        <a:pt x="354" y="706"/>
                      </a:lnTo>
                      <a:lnTo>
                        <a:pt x="347" y="706"/>
                      </a:lnTo>
                      <a:lnTo>
                        <a:pt x="342" y="706"/>
                      </a:lnTo>
                      <a:lnTo>
                        <a:pt x="342" y="714"/>
                      </a:lnTo>
                      <a:lnTo>
                        <a:pt x="334" y="720"/>
                      </a:lnTo>
                      <a:lnTo>
                        <a:pt x="334" y="725"/>
                      </a:lnTo>
                      <a:lnTo>
                        <a:pt x="329" y="728"/>
                      </a:lnTo>
                      <a:lnTo>
                        <a:pt x="326" y="731"/>
                      </a:lnTo>
                      <a:lnTo>
                        <a:pt x="323" y="734"/>
                      </a:lnTo>
                      <a:lnTo>
                        <a:pt x="318" y="731"/>
                      </a:lnTo>
                      <a:lnTo>
                        <a:pt x="314" y="734"/>
                      </a:lnTo>
                      <a:lnTo>
                        <a:pt x="312" y="734"/>
                      </a:lnTo>
                      <a:lnTo>
                        <a:pt x="309" y="734"/>
                      </a:lnTo>
                      <a:lnTo>
                        <a:pt x="309" y="728"/>
                      </a:lnTo>
                      <a:lnTo>
                        <a:pt x="303" y="725"/>
                      </a:lnTo>
                      <a:lnTo>
                        <a:pt x="295" y="722"/>
                      </a:lnTo>
                      <a:lnTo>
                        <a:pt x="285" y="731"/>
                      </a:lnTo>
                      <a:lnTo>
                        <a:pt x="282" y="734"/>
                      </a:lnTo>
                      <a:lnTo>
                        <a:pt x="282" y="739"/>
                      </a:lnTo>
                      <a:lnTo>
                        <a:pt x="282" y="745"/>
                      </a:lnTo>
                      <a:lnTo>
                        <a:pt x="285" y="750"/>
                      </a:lnTo>
                      <a:lnTo>
                        <a:pt x="285" y="753"/>
                      </a:lnTo>
                      <a:lnTo>
                        <a:pt x="282" y="755"/>
                      </a:lnTo>
                      <a:lnTo>
                        <a:pt x="265" y="753"/>
                      </a:lnTo>
                      <a:lnTo>
                        <a:pt x="262" y="750"/>
                      </a:lnTo>
                      <a:lnTo>
                        <a:pt x="262" y="747"/>
                      </a:lnTo>
                      <a:lnTo>
                        <a:pt x="260" y="745"/>
                      </a:lnTo>
                      <a:lnTo>
                        <a:pt x="257" y="742"/>
                      </a:lnTo>
                      <a:lnTo>
                        <a:pt x="254" y="737"/>
                      </a:lnTo>
                      <a:lnTo>
                        <a:pt x="252" y="737"/>
                      </a:lnTo>
                      <a:lnTo>
                        <a:pt x="245" y="734"/>
                      </a:lnTo>
                      <a:lnTo>
                        <a:pt x="240" y="739"/>
                      </a:lnTo>
                      <a:lnTo>
                        <a:pt x="232" y="745"/>
                      </a:lnTo>
                      <a:lnTo>
                        <a:pt x="226" y="747"/>
                      </a:lnTo>
                      <a:lnTo>
                        <a:pt x="224" y="750"/>
                      </a:lnTo>
                      <a:lnTo>
                        <a:pt x="221" y="753"/>
                      </a:lnTo>
                      <a:lnTo>
                        <a:pt x="216" y="753"/>
                      </a:lnTo>
                      <a:lnTo>
                        <a:pt x="216" y="755"/>
                      </a:lnTo>
                      <a:lnTo>
                        <a:pt x="207" y="755"/>
                      </a:lnTo>
                      <a:lnTo>
                        <a:pt x="204" y="755"/>
                      </a:lnTo>
                      <a:lnTo>
                        <a:pt x="199" y="758"/>
                      </a:lnTo>
                      <a:lnTo>
                        <a:pt x="196" y="755"/>
                      </a:lnTo>
                      <a:lnTo>
                        <a:pt x="191" y="750"/>
                      </a:lnTo>
                      <a:lnTo>
                        <a:pt x="188" y="739"/>
                      </a:lnTo>
                      <a:lnTo>
                        <a:pt x="191" y="734"/>
                      </a:lnTo>
                      <a:lnTo>
                        <a:pt x="188" y="731"/>
                      </a:lnTo>
                      <a:lnTo>
                        <a:pt x="191" y="728"/>
                      </a:lnTo>
                      <a:lnTo>
                        <a:pt x="183" y="728"/>
                      </a:lnTo>
                      <a:lnTo>
                        <a:pt x="188" y="720"/>
                      </a:lnTo>
                      <a:lnTo>
                        <a:pt x="185" y="717"/>
                      </a:lnTo>
                      <a:lnTo>
                        <a:pt x="183" y="714"/>
                      </a:lnTo>
                      <a:lnTo>
                        <a:pt x="185" y="709"/>
                      </a:lnTo>
                      <a:lnTo>
                        <a:pt x="183" y="709"/>
                      </a:lnTo>
                      <a:lnTo>
                        <a:pt x="183" y="706"/>
                      </a:lnTo>
                      <a:lnTo>
                        <a:pt x="183" y="701"/>
                      </a:lnTo>
                      <a:lnTo>
                        <a:pt x="180" y="698"/>
                      </a:lnTo>
                      <a:lnTo>
                        <a:pt x="176" y="701"/>
                      </a:lnTo>
                      <a:lnTo>
                        <a:pt x="173" y="698"/>
                      </a:lnTo>
                      <a:lnTo>
                        <a:pt x="171" y="701"/>
                      </a:lnTo>
                      <a:lnTo>
                        <a:pt x="165" y="692"/>
                      </a:lnTo>
                      <a:lnTo>
                        <a:pt x="163" y="694"/>
                      </a:lnTo>
                      <a:lnTo>
                        <a:pt x="160" y="698"/>
                      </a:lnTo>
                      <a:lnTo>
                        <a:pt x="160" y="701"/>
                      </a:lnTo>
                      <a:lnTo>
                        <a:pt x="157" y="703"/>
                      </a:lnTo>
                      <a:lnTo>
                        <a:pt x="147" y="706"/>
                      </a:lnTo>
                      <a:lnTo>
                        <a:pt x="149" y="709"/>
                      </a:lnTo>
                      <a:lnTo>
                        <a:pt x="147" y="714"/>
                      </a:lnTo>
                      <a:lnTo>
                        <a:pt x="144" y="714"/>
                      </a:lnTo>
                      <a:lnTo>
                        <a:pt x="138" y="714"/>
                      </a:lnTo>
                      <a:lnTo>
                        <a:pt x="135" y="709"/>
                      </a:lnTo>
                      <a:lnTo>
                        <a:pt x="127" y="709"/>
                      </a:lnTo>
                      <a:lnTo>
                        <a:pt x="122" y="714"/>
                      </a:lnTo>
                      <a:lnTo>
                        <a:pt x="114" y="714"/>
                      </a:lnTo>
                      <a:lnTo>
                        <a:pt x="111" y="717"/>
                      </a:lnTo>
                      <a:lnTo>
                        <a:pt x="111" y="722"/>
                      </a:lnTo>
                      <a:lnTo>
                        <a:pt x="102" y="722"/>
                      </a:lnTo>
                      <a:lnTo>
                        <a:pt x="96" y="725"/>
                      </a:lnTo>
                      <a:lnTo>
                        <a:pt x="91" y="722"/>
                      </a:lnTo>
                      <a:lnTo>
                        <a:pt x="83" y="725"/>
                      </a:lnTo>
                      <a:lnTo>
                        <a:pt x="80" y="722"/>
                      </a:lnTo>
                      <a:lnTo>
                        <a:pt x="78" y="725"/>
                      </a:lnTo>
                      <a:lnTo>
                        <a:pt x="78" y="720"/>
                      </a:lnTo>
                      <a:lnTo>
                        <a:pt x="75" y="725"/>
                      </a:lnTo>
                      <a:lnTo>
                        <a:pt x="69" y="725"/>
                      </a:lnTo>
                      <a:lnTo>
                        <a:pt x="69" y="720"/>
                      </a:lnTo>
                      <a:lnTo>
                        <a:pt x="63" y="717"/>
                      </a:lnTo>
                      <a:lnTo>
                        <a:pt x="63" y="712"/>
                      </a:lnTo>
                      <a:lnTo>
                        <a:pt x="61" y="706"/>
                      </a:lnTo>
                      <a:lnTo>
                        <a:pt x="58" y="706"/>
                      </a:lnTo>
                      <a:lnTo>
                        <a:pt x="58" y="698"/>
                      </a:lnTo>
                      <a:lnTo>
                        <a:pt x="50" y="694"/>
                      </a:lnTo>
                      <a:lnTo>
                        <a:pt x="50" y="692"/>
                      </a:lnTo>
                      <a:lnTo>
                        <a:pt x="47" y="692"/>
                      </a:lnTo>
                      <a:lnTo>
                        <a:pt x="47" y="689"/>
                      </a:lnTo>
                      <a:lnTo>
                        <a:pt x="42" y="684"/>
                      </a:lnTo>
                      <a:lnTo>
                        <a:pt x="38" y="684"/>
                      </a:lnTo>
                      <a:lnTo>
                        <a:pt x="33" y="673"/>
                      </a:lnTo>
                      <a:lnTo>
                        <a:pt x="27" y="673"/>
                      </a:lnTo>
                      <a:lnTo>
                        <a:pt x="25" y="668"/>
                      </a:lnTo>
                      <a:lnTo>
                        <a:pt x="19" y="668"/>
                      </a:lnTo>
                      <a:lnTo>
                        <a:pt x="19" y="665"/>
                      </a:lnTo>
                      <a:lnTo>
                        <a:pt x="22" y="662"/>
                      </a:lnTo>
                      <a:lnTo>
                        <a:pt x="22" y="653"/>
                      </a:lnTo>
                      <a:lnTo>
                        <a:pt x="25" y="651"/>
                      </a:lnTo>
                      <a:lnTo>
                        <a:pt x="33" y="651"/>
                      </a:lnTo>
                      <a:lnTo>
                        <a:pt x="35" y="648"/>
                      </a:lnTo>
                      <a:lnTo>
                        <a:pt x="45" y="645"/>
                      </a:lnTo>
                      <a:lnTo>
                        <a:pt x="45" y="643"/>
                      </a:lnTo>
                      <a:lnTo>
                        <a:pt x="47" y="640"/>
                      </a:lnTo>
                      <a:lnTo>
                        <a:pt x="45" y="637"/>
                      </a:lnTo>
                      <a:lnTo>
                        <a:pt x="47" y="635"/>
                      </a:lnTo>
                      <a:lnTo>
                        <a:pt x="47" y="629"/>
                      </a:lnTo>
                      <a:lnTo>
                        <a:pt x="45" y="625"/>
                      </a:lnTo>
                      <a:lnTo>
                        <a:pt x="50" y="625"/>
                      </a:lnTo>
                      <a:lnTo>
                        <a:pt x="47" y="623"/>
                      </a:lnTo>
                      <a:lnTo>
                        <a:pt x="50" y="617"/>
                      </a:lnTo>
                      <a:lnTo>
                        <a:pt x="55" y="612"/>
                      </a:lnTo>
                      <a:lnTo>
                        <a:pt x="53" y="607"/>
                      </a:lnTo>
                      <a:lnTo>
                        <a:pt x="50" y="604"/>
                      </a:lnTo>
                      <a:lnTo>
                        <a:pt x="50" y="601"/>
                      </a:lnTo>
                      <a:lnTo>
                        <a:pt x="66" y="599"/>
                      </a:lnTo>
                      <a:lnTo>
                        <a:pt x="66" y="596"/>
                      </a:lnTo>
                      <a:lnTo>
                        <a:pt x="69" y="593"/>
                      </a:lnTo>
                      <a:lnTo>
                        <a:pt x="69" y="590"/>
                      </a:lnTo>
                      <a:lnTo>
                        <a:pt x="75" y="590"/>
                      </a:lnTo>
                      <a:lnTo>
                        <a:pt x="75" y="582"/>
                      </a:lnTo>
                      <a:lnTo>
                        <a:pt x="69" y="582"/>
                      </a:lnTo>
                      <a:lnTo>
                        <a:pt x="71" y="576"/>
                      </a:lnTo>
                      <a:lnTo>
                        <a:pt x="75" y="574"/>
                      </a:lnTo>
                      <a:lnTo>
                        <a:pt x="78" y="566"/>
                      </a:lnTo>
                      <a:lnTo>
                        <a:pt x="83" y="557"/>
                      </a:lnTo>
                      <a:lnTo>
                        <a:pt x="88" y="551"/>
                      </a:lnTo>
                      <a:lnTo>
                        <a:pt x="88" y="548"/>
                      </a:lnTo>
                      <a:lnTo>
                        <a:pt x="88" y="546"/>
                      </a:lnTo>
                      <a:lnTo>
                        <a:pt x="88" y="540"/>
                      </a:lnTo>
                      <a:lnTo>
                        <a:pt x="91" y="538"/>
                      </a:lnTo>
                      <a:lnTo>
                        <a:pt x="94" y="532"/>
                      </a:lnTo>
                      <a:lnTo>
                        <a:pt x="91" y="524"/>
                      </a:lnTo>
                      <a:lnTo>
                        <a:pt x="91" y="518"/>
                      </a:lnTo>
                      <a:lnTo>
                        <a:pt x="88" y="518"/>
                      </a:lnTo>
                      <a:lnTo>
                        <a:pt x="86" y="513"/>
                      </a:lnTo>
                      <a:lnTo>
                        <a:pt x="88" y="510"/>
                      </a:lnTo>
                      <a:lnTo>
                        <a:pt x="86" y="507"/>
                      </a:lnTo>
                      <a:lnTo>
                        <a:pt x="75" y="513"/>
                      </a:lnTo>
                      <a:lnTo>
                        <a:pt x="69" y="510"/>
                      </a:lnTo>
                      <a:lnTo>
                        <a:pt x="66" y="507"/>
                      </a:lnTo>
                      <a:lnTo>
                        <a:pt x="61" y="505"/>
                      </a:lnTo>
                      <a:lnTo>
                        <a:pt x="61" y="499"/>
                      </a:lnTo>
                      <a:lnTo>
                        <a:pt x="58" y="497"/>
                      </a:lnTo>
                      <a:lnTo>
                        <a:pt x="61" y="491"/>
                      </a:lnTo>
                      <a:lnTo>
                        <a:pt x="58" y="489"/>
                      </a:lnTo>
                      <a:lnTo>
                        <a:pt x="53" y="489"/>
                      </a:lnTo>
                      <a:lnTo>
                        <a:pt x="50" y="485"/>
                      </a:lnTo>
                      <a:lnTo>
                        <a:pt x="42" y="485"/>
                      </a:lnTo>
                      <a:lnTo>
                        <a:pt x="33" y="489"/>
                      </a:lnTo>
                      <a:lnTo>
                        <a:pt x="33" y="482"/>
                      </a:lnTo>
                      <a:lnTo>
                        <a:pt x="35" y="479"/>
                      </a:lnTo>
                      <a:lnTo>
                        <a:pt x="33" y="477"/>
                      </a:lnTo>
                      <a:lnTo>
                        <a:pt x="35" y="474"/>
                      </a:lnTo>
                      <a:lnTo>
                        <a:pt x="35" y="463"/>
                      </a:lnTo>
                      <a:lnTo>
                        <a:pt x="38" y="461"/>
                      </a:lnTo>
                      <a:lnTo>
                        <a:pt x="42" y="455"/>
                      </a:lnTo>
                      <a:lnTo>
                        <a:pt x="45" y="446"/>
                      </a:lnTo>
                      <a:lnTo>
                        <a:pt x="45" y="444"/>
                      </a:lnTo>
                      <a:lnTo>
                        <a:pt x="42" y="441"/>
                      </a:lnTo>
                      <a:lnTo>
                        <a:pt x="38" y="438"/>
                      </a:lnTo>
                      <a:lnTo>
                        <a:pt x="35" y="436"/>
                      </a:lnTo>
                      <a:lnTo>
                        <a:pt x="38" y="430"/>
                      </a:lnTo>
                      <a:lnTo>
                        <a:pt x="38" y="428"/>
                      </a:lnTo>
                      <a:lnTo>
                        <a:pt x="30" y="425"/>
                      </a:lnTo>
                      <a:lnTo>
                        <a:pt x="30" y="420"/>
                      </a:lnTo>
                      <a:lnTo>
                        <a:pt x="22" y="417"/>
                      </a:lnTo>
                      <a:lnTo>
                        <a:pt x="19" y="417"/>
                      </a:lnTo>
                      <a:lnTo>
                        <a:pt x="14" y="413"/>
                      </a:lnTo>
                      <a:lnTo>
                        <a:pt x="5" y="408"/>
                      </a:lnTo>
                      <a:lnTo>
                        <a:pt x="2" y="408"/>
                      </a:lnTo>
                      <a:lnTo>
                        <a:pt x="0" y="405"/>
                      </a:lnTo>
                      <a:lnTo>
                        <a:pt x="2" y="402"/>
                      </a:lnTo>
                      <a:lnTo>
                        <a:pt x="5" y="402"/>
                      </a:lnTo>
                      <a:lnTo>
                        <a:pt x="9" y="397"/>
                      </a:lnTo>
                      <a:lnTo>
                        <a:pt x="11" y="397"/>
                      </a:lnTo>
                      <a:lnTo>
                        <a:pt x="9" y="394"/>
                      </a:lnTo>
                      <a:lnTo>
                        <a:pt x="9" y="392"/>
                      </a:lnTo>
                      <a:lnTo>
                        <a:pt x="2" y="392"/>
                      </a:lnTo>
                      <a:lnTo>
                        <a:pt x="0" y="386"/>
                      </a:lnTo>
                      <a:lnTo>
                        <a:pt x="5" y="384"/>
                      </a:lnTo>
                      <a:lnTo>
                        <a:pt x="2" y="377"/>
                      </a:lnTo>
                      <a:lnTo>
                        <a:pt x="2" y="372"/>
                      </a:lnTo>
                      <a:lnTo>
                        <a:pt x="0" y="369"/>
                      </a:lnTo>
                      <a:close/>
                    </a:path>
                  </a:pathLst>
                </a:custGeom>
                <a:grpFill/>
                <a:ln w="12700" cap="flat" cmpd="sng" algn="ctr">
                  <a:solidFill>
                    <a:schemeClr val="bg1">
                      <a:lumMod val="85000"/>
                    </a:schemeClr>
                  </a:solidFill>
                  <a:prstDash val="solid"/>
                  <a:round/>
                  <a:headEnd type="none" w="med" len="med"/>
                  <a:tailEnd type="none" w="med" len="med"/>
                </a:ln>
              </p:spPr>
            </p:sp>
            <p:sp>
              <p:nvSpPr>
                <p:cNvPr id="55" name="ee4p_BR_16"/>
                <p:cNvSpPr>
                  <a:spLocks/>
                </p:cNvSpPr>
                <p:nvPr>
                  <p:custDataLst>
                    <p:tags r:id="rId17"/>
                  </p:custDataLst>
                </p:nvPr>
              </p:nvSpPr>
              <p:spPr bwMode="auto">
                <a:xfrm>
                  <a:off x="5939565" y="3019250"/>
                  <a:ext cx="689403" cy="259775"/>
                </a:xfrm>
                <a:custGeom>
                  <a:avLst/>
                  <a:gdLst/>
                  <a:ahLst/>
                  <a:cxnLst>
                    <a:cxn ang="0">
                      <a:pos x="105" y="522"/>
                    </a:cxn>
                    <a:cxn ang="0">
                      <a:pos x="190" y="453"/>
                    </a:cxn>
                    <a:cxn ang="0">
                      <a:pos x="271" y="386"/>
                    </a:cxn>
                    <a:cxn ang="0">
                      <a:pos x="331" y="231"/>
                    </a:cxn>
                    <a:cxn ang="0">
                      <a:pos x="348" y="47"/>
                    </a:cxn>
                    <a:cxn ang="0">
                      <a:pos x="678" y="16"/>
                    </a:cxn>
                    <a:cxn ang="0">
                      <a:pos x="831" y="113"/>
                    </a:cxn>
                    <a:cxn ang="0">
                      <a:pos x="889" y="185"/>
                    </a:cxn>
                    <a:cxn ang="0">
                      <a:pos x="977" y="229"/>
                    </a:cxn>
                    <a:cxn ang="0">
                      <a:pos x="1035" y="162"/>
                    </a:cxn>
                    <a:cxn ang="0">
                      <a:pos x="1112" y="174"/>
                    </a:cxn>
                    <a:cxn ang="0">
                      <a:pos x="1201" y="182"/>
                    </a:cxn>
                    <a:cxn ang="0">
                      <a:pos x="1258" y="231"/>
                    </a:cxn>
                    <a:cxn ang="0">
                      <a:pos x="1357" y="201"/>
                    </a:cxn>
                    <a:cxn ang="0">
                      <a:pos x="1452" y="146"/>
                    </a:cxn>
                    <a:cxn ang="0">
                      <a:pos x="1507" y="108"/>
                    </a:cxn>
                    <a:cxn ang="0">
                      <a:pos x="1598" y="33"/>
                    </a:cxn>
                    <a:cxn ang="0">
                      <a:pos x="1728" y="33"/>
                    </a:cxn>
                    <a:cxn ang="0">
                      <a:pos x="1750" y="96"/>
                    </a:cxn>
                    <a:cxn ang="0">
                      <a:pos x="1708" y="215"/>
                    </a:cxn>
                    <a:cxn ang="0">
                      <a:pos x="1648" y="267"/>
                    </a:cxn>
                    <a:cxn ang="0">
                      <a:pos x="1694" y="295"/>
                    </a:cxn>
                    <a:cxn ang="0">
                      <a:pos x="1722" y="392"/>
                    </a:cxn>
                    <a:cxn ang="0">
                      <a:pos x="1885" y="375"/>
                    </a:cxn>
                    <a:cxn ang="0">
                      <a:pos x="1940" y="284"/>
                    </a:cxn>
                    <a:cxn ang="0">
                      <a:pos x="2017" y="223"/>
                    </a:cxn>
                    <a:cxn ang="0">
                      <a:pos x="2161" y="218"/>
                    </a:cxn>
                    <a:cxn ang="0">
                      <a:pos x="2282" y="185"/>
                    </a:cxn>
                    <a:cxn ang="0">
                      <a:pos x="2371" y="138"/>
                    </a:cxn>
                    <a:cxn ang="0">
                      <a:pos x="2437" y="69"/>
                    </a:cxn>
                    <a:cxn ang="0">
                      <a:pos x="2553" y="49"/>
                    </a:cxn>
                    <a:cxn ang="0">
                      <a:pos x="2652" y="113"/>
                    </a:cxn>
                    <a:cxn ang="0">
                      <a:pos x="2650" y="237"/>
                    </a:cxn>
                    <a:cxn ang="0">
                      <a:pos x="2609" y="446"/>
                    </a:cxn>
                    <a:cxn ang="0">
                      <a:pos x="2566" y="560"/>
                    </a:cxn>
                    <a:cxn ang="0">
                      <a:pos x="2500" y="676"/>
                    </a:cxn>
                    <a:cxn ang="0">
                      <a:pos x="2382" y="648"/>
                    </a:cxn>
                    <a:cxn ang="0">
                      <a:pos x="2293" y="684"/>
                    </a:cxn>
                    <a:cxn ang="0">
                      <a:pos x="2213" y="665"/>
                    </a:cxn>
                    <a:cxn ang="0">
                      <a:pos x="2119" y="740"/>
                    </a:cxn>
                    <a:cxn ang="0">
                      <a:pos x="2075" y="794"/>
                    </a:cxn>
                    <a:cxn ang="0">
                      <a:pos x="2012" y="814"/>
                    </a:cxn>
                    <a:cxn ang="0">
                      <a:pos x="1932" y="866"/>
                    </a:cxn>
                    <a:cxn ang="0">
                      <a:pos x="1813" y="842"/>
                    </a:cxn>
                    <a:cxn ang="0">
                      <a:pos x="1714" y="833"/>
                    </a:cxn>
                    <a:cxn ang="0">
                      <a:pos x="1636" y="756"/>
                    </a:cxn>
                    <a:cxn ang="0">
                      <a:pos x="1504" y="717"/>
                    </a:cxn>
                    <a:cxn ang="0">
                      <a:pos x="1435" y="679"/>
                    </a:cxn>
                    <a:cxn ang="0">
                      <a:pos x="1355" y="786"/>
                    </a:cxn>
                    <a:cxn ang="0">
                      <a:pos x="1237" y="761"/>
                    </a:cxn>
                    <a:cxn ang="0">
                      <a:pos x="1170" y="681"/>
                    </a:cxn>
                    <a:cxn ang="0">
                      <a:pos x="1018" y="632"/>
                    </a:cxn>
                    <a:cxn ang="0">
                      <a:pos x="864" y="599"/>
                    </a:cxn>
                    <a:cxn ang="0">
                      <a:pos x="780" y="538"/>
                    </a:cxn>
                    <a:cxn ang="0">
                      <a:pos x="673" y="637"/>
                    </a:cxn>
                    <a:cxn ang="0">
                      <a:pos x="499" y="767"/>
                    </a:cxn>
                    <a:cxn ang="0">
                      <a:pos x="381" y="868"/>
                    </a:cxn>
                    <a:cxn ang="0">
                      <a:pos x="243" y="894"/>
                    </a:cxn>
                    <a:cxn ang="0">
                      <a:pos x="279" y="803"/>
                    </a:cxn>
                    <a:cxn ang="0">
                      <a:pos x="212" y="725"/>
                    </a:cxn>
                    <a:cxn ang="0">
                      <a:pos x="124" y="632"/>
                    </a:cxn>
                    <a:cxn ang="0">
                      <a:pos x="49" y="604"/>
                    </a:cxn>
                  </a:cxnLst>
                  <a:rect l="0" t="0" r="r" b="b"/>
                  <a:pathLst>
                    <a:path w="2663" h="924">
                      <a:moveTo>
                        <a:pt x="0" y="599"/>
                      </a:moveTo>
                      <a:lnTo>
                        <a:pt x="8" y="599"/>
                      </a:lnTo>
                      <a:lnTo>
                        <a:pt x="19" y="593"/>
                      </a:lnTo>
                      <a:lnTo>
                        <a:pt x="21" y="591"/>
                      </a:lnTo>
                      <a:lnTo>
                        <a:pt x="30" y="579"/>
                      </a:lnTo>
                      <a:lnTo>
                        <a:pt x="44" y="579"/>
                      </a:lnTo>
                      <a:lnTo>
                        <a:pt x="49" y="576"/>
                      </a:lnTo>
                      <a:lnTo>
                        <a:pt x="52" y="574"/>
                      </a:lnTo>
                      <a:lnTo>
                        <a:pt x="57" y="574"/>
                      </a:lnTo>
                      <a:lnTo>
                        <a:pt x="64" y="568"/>
                      </a:lnTo>
                      <a:lnTo>
                        <a:pt x="60" y="560"/>
                      </a:lnTo>
                      <a:lnTo>
                        <a:pt x="60" y="554"/>
                      </a:lnTo>
                      <a:lnTo>
                        <a:pt x="64" y="554"/>
                      </a:lnTo>
                      <a:lnTo>
                        <a:pt x="66" y="551"/>
                      </a:lnTo>
                      <a:lnTo>
                        <a:pt x="72" y="551"/>
                      </a:lnTo>
                      <a:lnTo>
                        <a:pt x="74" y="549"/>
                      </a:lnTo>
                      <a:lnTo>
                        <a:pt x="77" y="546"/>
                      </a:lnTo>
                      <a:lnTo>
                        <a:pt x="80" y="543"/>
                      </a:lnTo>
                      <a:lnTo>
                        <a:pt x="85" y="533"/>
                      </a:lnTo>
                      <a:lnTo>
                        <a:pt x="85" y="527"/>
                      </a:lnTo>
                      <a:lnTo>
                        <a:pt x="90" y="527"/>
                      </a:lnTo>
                      <a:lnTo>
                        <a:pt x="93" y="530"/>
                      </a:lnTo>
                      <a:lnTo>
                        <a:pt x="96" y="530"/>
                      </a:lnTo>
                      <a:lnTo>
                        <a:pt x="102" y="527"/>
                      </a:lnTo>
                      <a:lnTo>
                        <a:pt x="105" y="522"/>
                      </a:lnTo>
                      <a:lnTo>
                        <a:pt x="108" y="522"/>
                      </a:lnTo>
                      <a:lnTo>
                        <a:pt x="110" y="518"/>
                      </a:lnTo>
                      <a:lnTo>
                        <a:pt x="113" y="510"/>
                      </a:lnTo>
                      <a:lnTo>
                        <a:pt x="113" y="502"/>
                      </a:lnTo>
                      <a:lnTo>
                        <a:pt x="124" y="505"/>
                      </a:lnTo>
                      <a:lnTo>
                        <a:pt x="126" y="491"/>
                      </a:lnTo>
                      <a:lnTo>
                        <a:pt x="129" y="482"/>
                      </a:lnTo>
                      <a:lnTo>
                        <a:pt x="143" y="480"/>
                      </a:lnTo>
                      <a:lnTo>
                        <a:pt x="146" y="472"/>
                      </a:lnTo>
                      <a:lnTo>
                        <a:pt x="149" y="472"/>
                      </a:lnTo>
                      <a:lnTo>
                        <a:pt x="154" y="469"/>
                      </a:lnTo>
                      <a:lnTo>
                        <a:pt x="159" y="474"/>
                      </a:lnTo>
                      <a:lnTo>
                        <a:pt x="159" y="477"/>
                      </a:lnTo>
                      <a:lnTo>
                        <a:pt x="162" y="480"/>
                      </a:lnTo>
                      <a:lnTo>
                        <a:pt x="171" y="486"/>
                      </a:lnTo>
                      <a:lnTo>
                        <a:pt x="177" y="491"/>
                      </a:lnTo>
                      <a:lnTo>
                        <a:pt x="182" y="486"/>
                      </a:lnTo>
                      <a:lnTo>
                        <a:pt x="185" y="480"/>
                      </a:lnTo>
                      <a:lnTo>
                        <a:pt x="185" y="474"/>
                      </a:lnTo>
                      <a:lnTo>
                        <a:pt x="185" y="469"/>
                      </a:lnTo>
                      <a:lnTo>
                        <a:pt x="187" y="466"/>
                      </a:lnTo>
                      <a:lnTo>
                        <a:pt x="190" y="466"/>
                      </a:lnTo>
                      <a:lnTo>
                        <a:pt x="190" y="458"/>
                      </a:lnTo>
                      <a:lnTo>
                        <a:pt x="187" y="458"/>
                      </a:lnTo>
                      <a:lnTo>
                        <a:pt x="190" y="453"/>
                      </a:lnTo>
                      <a:lnTo>
                        <a:pt x="198" y="453"/>
                      </a:lnTo>
                      <a:lnTo>
                        <a:pt x="202" y="455"/>
                      </a:lnTo>
                      <a:lnTo>
                        <a:pt x="204" y="461"/>
                      </a:lnTo>
                      <a:lnTo>
                        <a:pt x="204" y="463"/>
                      </a:lnTo>
                      <a:lnTo>
                        <a:pt x="212" y="463"/>
                      </a:lnTo>
                      <a:lnTo>
                        <a:pt x="220" y="455"/>
                      </a:lnTo>
                      <a:lnTo>
                        <a:pt x="218" y="444"/>
                      </a:lnTo>
                      <a:lnTo>
                        <a:pt x="220" y="441"/>
                      </a:lnTo>
                      <a:lnTo>
                        <a:pt x="220" y="438"/>
                      </a:lnTo>
                      <a:lnTo>
                        <a:pt x="231" y="436"/>
                      </a:lnTo>
                      <a:lnTo>
                        <a:pt x="231" y="430"/>
                      </a:lnTo>
                      <a:lnTo>
                        <a:pt x="234" y="430"/>
                      </a:lnTo>
                      <a:lnTo>
                        <a:pt x="234" y="428"/>
                      </a:lnTo>
                      <a:lnTo>
                        <a:pt x="234" y="425"/>
                      </a:lnTo>
                      <a:lnTo>
                        <a:pt x="237" y="422"/>
                      </a:lnTo>
                      <a:lnTo>
                        <a:pt x="234" y="411"/>
                      </a:lnTo>
                      <a:lnTo>
                        <a:pt x="240" y="408"/>
                      </a:lnTo>
                      <a:lnTo>
                        <a:pt x="243" y="405"/>
                      </a:lnTo>
                      <a:lnTo>
                        <a:pt x="251" y="403"/>
                      </a:lnTo>
                      <a:lnTo>
                        <a:pt x="254" y="400"/>
                      </a:lnTo>
                      <a:lnTo>
                        <a:pt x="256" y="397"/>
                      </a:lnTo>
                      <a:lnTo>
                        <a:pt x="264" y="397"/>
                      </a:lnTo>
                      <a:lnTo>
                        <a:pt x="264" y="394"/>
                      </a:lnTo>
                      <a:lnTo>
                        <a:pt x="267" y="389"/>
                      </a:lnTo>
                      <a:lnTo>
                        <a:pt x="271" y="386"/>
                      </a:lnTo>
                      <a:lnTo>
                        <a:pt x="273" y="380"/>
                      </a:lnTo>
                      <a:lnTo>
                        <a:pt x="279" y="380"/>
                      </a:lnTo>
                      <a:lnTo>
                        <a:pt x="281" y="377"/>
                      </a:lnTo>
                      <a:lnTo>
                        <a:pt x="281" y="372"/>
                      </a:lnTo>
                      <a:lnTo>
                        <a:pt x="284" y="369"/>
                      </a:lnTo>
                      <a:lnTo>
                        <a:pt x="289" y="369"/>
                      </a:lnTo>
                      <a:lnTo>
                        <a:pt x="292" y="367"/>
                      </a:lnTo>
                      <a:lnTo>
                        <a:pt x="292" y="364"/>
                      </a:lnTo>
                      <a:lnTo>
                        <a:pt x="295" y="361"/>
                      </a:lnTo>
                      <a:lnTo>
                        <a:pt x="309" y="367"/>
                      </a:lnTo>
                      <a:lnTo>
                        <a:pt x="309" y="364"/>
                      </a:lnTo>
                      <a:lnTo>
                        <a:pt x="312" y="361"/>
                      </a:lnTo>
                      <a:lnTo>
                        <a:pt x="312" y="356"/>
                      </a:lnTo>
                      <a:lnTo>
                        <a:pt x="309" y="353"/>
                      </a:lnTo>
                      <a:lnTo>
                        <a:pt x="306" y="348"/>
                      </a:lnTo>
                      <a:lnTo>
                        <a:pt x="309" y="336"/>
                      </a:lnTo>
                      <a:lnTo>
                        <a:pt x="314" y="323"/>
                      </a:lnTo>
                      <a:lnTo>
                        <a:pt x="317" y="315"/>
                      </a:lnTo>
                      <a:lnTo>
                        <a:pt x="331" y="290"/>
                      </a:lnTo>
                      <a:lnTo>
                        <a:pt x="331" y="284"/>
                      </a:lnTo>
                      <a:lnTo>
                        <a:pt x="331" y="282"/>
                      </a:lnTo>
                      <a:lnTo>
                        <a:pt x="333" y="248"/>
                      </a:lnTo>
                      <a:lnTo>
                        <a:pt x="333" y="243"/>
                      </a:lnTo>
                      <a:lnTo>
                        <a:pt x="331" y="234"/>
                      </a:lnTo>
                      <a:lnTo>
                        <a:pt x="331" y="231"/>
                      </a:lnTo>
                      <a:lnTo>
                        <a:pt x="325" y="226"/>
                      </a:lnTo>
                      <a:lnTo>
                        <a:pt x="323" y="223"/>
                      </a:lnTo>
                      <a:lnTo>
                        <a:pt x="320" y="223"/>
                      </a:lnTo>
                      <a:lnTo>
                        <a:pt x="297" y="215"/>
                      </a:lnTo>
                      <a:lnTo>
                        <a:pt x="287" y="213"/>
                      </a:lnTo>
                      <a:lnTo>
                        <a:pt x="279" y="204"/>
                      </a:lnTo>
                      <a:lnTo>
                        <a:pt x="276" y="188"/>
                      </a:lnTo>
                      <a:lnTo>
                        <a:pt x="281" y="170"/>
                      </a:lnTo>
                      <a:lnTo>
                        <a:pt x="289" y="154"/>
                      </a:lnTo>
                      <a:lnTo>
                        <a:pt x="289" y="152"/>
                      </a:lnTo>
                      <a:lnTo>
                        <a:pt x="289" y="144"/>
                      </a:lnTo>
                      <a:lnTo>
                        <a:pt x="289" y="138"/>
                      </a:lnTo>
                      <a:lnTo>
                        <a:pt x="289" y="135"/>
                      </a:lnTo>
                      <a:lnTo>
                        <a:pt x="287" y="132"/>
                      </a:lnTo>
                      <a:lnTo>
                        <a:pt x="287" y="129"/>
                      </a:lnTo>
                      <a:lnTo>
                        <a:pt x="273" y="113"/>
                      </a:lnTo>
                      <a:lnTo>
                        <a:pt x="271" y="111"/>
                      </a:lnTo>
                      <a:lnTo>
                        <a:pt x="262" y="88"/>
                      </a:lnTo>
                      <a:lnTo>
                        <a:pt x="262" y="83"/>
                      </a:lnTo>
                      <a:lnTo>
                        <a:pt x="264" y="77"/>
                      </a:lnTo>
                      <a:lnTo>
                        <a:pt x="279" y="75"/>
                      </a:lnTo>
                      <a:lnTo>
                        <a:pt x="284" y="72"/>
                      </a:lnTo>
                      <a:lnTo>
                        <a:pt x="287" y="66"/>
                      </a:lnTo>
                      <a:lnTo>
                        <a:pt x="328" y="49"/>
                      </a:lnTo>
                      <a:lnTo>
                        <a:pt x="348" y="47"/>
                      </a:lnTo>
                      <a:lnTo>
                        <a:pt x="381" y="47"/>
                      </a:lnTo>
                      <a:lnTo>
                        <a:pt x="400" y="47"/>
                      </a:lnTo>
                      <a:lnTo>
                        <a:pt x="422" y="41"/>
                      </a:lnTo>
                      <a:lnTo>
                        <a:pt x="433" y="47"/>
                      </a:lnTo>
                      <a:lnTo>
                        <a:pt x="438" y="47"/>
                      </a:lnTo>
                      <a:lnTo>
                        <a:pt x="442" y="49"/>
                      </a:lnTo>
                      <a:lnTo>
                        <a:pt x="452" y="66"/>
                      </a:lnTo>
                      <a:lnTo>
                        <a:pt x="491" y="58"/>
                      </a:lnTo>
                      <a:lnTo>
                        <a:pt x="522" y="52"/>
                      </a:lnTo>
                      <a:lnTo>
                        <a:pt x="543" y="52"/>
                      </a:lnTo>
                      <a:lnTo>
                        <a:pt x="549" y="47"/>
                      </a:lnTo>
                      <a:lnTo>
                        <a:pt x="560" y="49"/>
                      </a:lnTo>
                      <a:lnTo>
                        <a:pt x="568" y="47"/>
                      </a:lnTo>
                      <a:lnTo>
                        <a:pt x="588" y="24"/>
                      </a:lnTo>
                      <a:lnTo>
                        <a:pt x="591" y="24"/>
                      </a:lnTo>
                      <a:lnTo>
                        <a:pt x="596" y="27"/>
                      </a:lnTo>
                      <a:lnTo>
                        <a:pt x="609" y="22"/>
                      </a:lnTo>
                      <a:lnTo>
                        <a:pt x="612" y="19"/>
                      </a:lnTo>
                      <a:lnTo>
                        <a:pt x="621" y="22"/>
                      </a:lnTo>
                      <a:lnTo>
                        <a:pt x="626" y="22"/>
                      </a:lnTo>
                      <a:lnTo>
                        <a:pt x="632" y="22"/>
                      </a:lnTo>
                      <a:lnTo>
                        <a:pt x="637" y="22"/>
                      </a:lnTo>
                      <a:lnTo>
                        <a:pt x="651" y="19"/>
                      </a:lnTo>
                      <a:lnTo>
                        <a:pt x="670" y="16"/>
                      </a:lnTo>
                      <a:lnTo>
                        <a:pt x="678" y="16"/>
                      </a:lnTo>
                      <a:lnTo>
                        <a:pt x="687" y="14"/>
                      </a:lnTo>
                      <a:lnTo>
                        <a:pt x="690" y="14"/>
                      </a:lnTo>
                      <a:lnTo>
                        <a:pt x="695" y="19"/>
                      </a:lnTo>
                      <a:lnTo>
                        <a:pt x="703" y="24"/>
                      </a:lnTo>
                      <a:lnTo>
                        <a:pt x="711" y="24"/>
                      </a:lnTo>
                      <a:lnTo>
                        <a:pt x="714" y="27"/>
                      </a:lnTo>
                      <a:lnTo>
                        <a:pt x="718" y="27"/>
                      </a:lnTo>
                      <a:lnTo>
                        <a:pt x="723" y="36"/>
                      </a:lnTo>
                      <a:lnTo>
                        <a:pt x="728" y="41"/>
                      </a:lnTo>
                      <a:lnTo>
                        <a:pt x="737" y="47"/>
                      </a:lnTo>
                      <a:lnTo>
                        <a:pt x="747" y="55"/>
                      </a:lnTo>
                      <a:lnTo>
                        <a:pt x="751" y="55"/>
                      </a:lnTo>
                      <a:lnTo>
                        <a:pt x="756" y="60"/>
                      </a:lnTo>
                      <a:lnTo>
                        <a:pt x="759" y="66"/>
                      </a:lnTo>
                      <a:lnTo>
                        <a:pt x="764" y="72"/>
                      </a:lnTo>
                      <a:lnTo>
                        <a:pt x="775" y="75"/>
                      </a:lnTo>
                      <a:lnTo>
                        <a:pt x="778" y="75"/>
                      </a:lnTo>
                      <a:lnTo>
                        <a:pt x="789" y="80"/>
                      </a:lnTo>
                      <a:lnTo>
                        <a:pt x="795" y="83"/>
                      </a:lnTo>
                      <a:lnTo>
                        <a:pt x="797" y="83"/>
                      </a:lnTo>
                      <a:lnTo>
                        <a:pt x="808" y="91"/>
                      </a:lnTo>
                      <a:lnTo>
                        <a:pt x="814" y="96"/>
                      </a:lnTo>
                      <a:lnTo>
                        <a:pt x="825" y="108"/>
                      </a:lnTo>
                      <a:lnTo>
                        <a:pt x="831" y="111"/>
                      </a:lnTo>
                      <a:lnTo>
                        <a:pt x="831" y="113"/>
                      </a:lnTo>
                      <a:lnTo>
                        <a:pt x="833" y="124"/>
                      </a:lnTo>
                      <a:lnTo>
                        <a:pt x="839" y="132"/>
                      </a:lnTo>
                      <a:lnTo>
                        <a:pt x="841" y="135"/>
                      </a:lnTo>
                      <a:lnTo>
                        <a:pt x="844" y="135"/>
                      </a:lnTo>
                      <a:lnTo>
                        <a:pt x="847" y="138"/>
                      </a:lnTo>
                      <a:lnTo>
                        <a:pt x="844" y="138"/>
                      </a:lnTo>
                      <a:lnTo>
                        <a:pt x="839" y="144"/>
                      </a:lnTo>
                      <a:lnTo>
                        <a:pt x="836" y="146"/>
                      </a:lnTo>
                      <a:lnTo>
                        <a:pt x="836" y="154"/>
                      </a:lnTo>
                      <a:lnTo>
                        <a:pt x="833" y="157"/>
                      </a:lnTo>
                      <a:lnTo>
                        <a:pt x="833" y="162"/>
                      </a:lnTo>
                      <a:lnTo>
                        <a:pt x="844" y="162"/>
                      </a:lnTo>
                      <a:lnTo>
                        <a:pt x="847" y="160"/>
                      </a:lnTo>
                      <a:lnTo>
                        <a:pt x="849" y="162"/>
                      </a:lnTo>
                      <a:lnTo>
                        <a:pt x="849" y="165"/>
                      </a:lnTo>
                      <a:lnTo>
                        <a:pt x="858" y="168"/>
                      </a:lnTo>
                      <a:lnTo>
                        <a:pt x="858" y="174"/>
                      </a:lnTo>
                      <a:lnTo>
                        <a:pt x="858" y="177"/>
                      </a:lnTo>
                      <a:lnTo>
                        <a:pt x="856" y="179"/>
                      </a:lnTo>
                      <a:lnTo>
                        <a:pt x="861" y="179"/>
                      </a:lnTo>
                      <a:lnTo>
                        <a:pt x="864" y="177"/>
                      </a:lnTo>
                      <a:lnTo>
                        <a:pt x="869" y="177"/>
                      </a:lnTo>
                      <a:lnTo>
                        <a:pt x="874" y="174"/>
                      </a:lnTo>
                      <a:lnTo>
                        <a:pt x="883" y="177"/>
                      </a:lnTo>
                      <a:lnTo>
                        <a:pt x="889" y="185"/>
                      </a:lnTo>
                      <a:lnTo>
                        <a:pt x="900" y="185"/>
                      </a:lnTo>
                      <a:lnTo>
                        <a:pt x="905" y="188"/>
                      </a:lnTo>
                      <a:lnTo>
                        <a:pt x="908" y="196"/>
                      </a:lnTo>
                      <a:lnTo>
                        <a:pt x="916" y="201"/>
                      </a:lnTo>
                      <a:lnTo>
                        <a:pt x="916" y="207"/>
                      </a:lnTo>
                      <a:lnTo>
                        <a:pt x="918" y="213"/>
                      </a:lnTo>
                      <a:lnTo>
                        <a:pt x="921" y="223"/>
                      </a:lnTo>
                      <a:lnTo>
                        <a:pt x="921" y="229"/>
                      </a:lnTo>
                      <a:lnTo>
                        <a:pt x="925" y="234"/>
                      </a:lnTo>
                      <a:lnTo>
                        <a:pt x="918" y="239"/>
                      </a:lnTo>
                      <a:lnTo>
                        <a:pt x="921" y="243"/>
                      </a:lnTo>
                      <a:lnTo>
                        <a:pt x="933" y="234"/>
                      </a:lnTo>
                      <a:lnTo>
                        <a:pt x="938" y="226"/>
                      </a:lnTo>
                      <a:lnTo>
                        <a:pt x="949" y="229"/>
                      </a:lnTo>
                      <a:lnTo>
                        <a:pt x="952" y="226"/>
                      </a:lnTo>
                      <a:lnTo>
                        <a:pt x="954" y="226"/>
                      </a:lnTo>
                      <a:lnTo>
                        <a:pt x="958" y="234"/>
                      </a:lnTo>
                      <a:lnTo>
                        <a:pt x="958" y="237"/>
                      </a:lnTo>
                      <a:lnTo>
                        <a:pt x="966" y="239"/>
                      </a:lnTo>
                      <a:lnTo>
                        <a:pt x="969" y="237"/>
                      </a:lnTo>
                      <a:lnTo>
                        <a:pt x="971" y="237"/>
                      </a:lnTo>
                      <a:lnTo>
                        <a:pt x="974" y="237"/>
                      </a:lnTo>
                      <a:lnTo>
                        <a:pt x="974" y="234"/>
                      </a:lnTo>
                      <a:lnTo>
                        <a:pt x="974" y="231"/>
                      </a:lnTo>
                      <a:lnTo>
                        <a:pt x="977" y="229"/>
                      </a:lnTo>
                      <a:lnTo>
                        <a:pt x="979" y="223"/>
                      </a:lnTo>
                      <a:lnTo>
                        <a:pt x="982" y="218"/>
                      </a:lnTo>
                      <a:lnTo>
                        <a:pt x="979" y="213"/>
                      </a:lnTo>
                      <a:lnTo>
                        <a:pt x="982" y="207"/>
                      </a:lnTo>
                      <a:lnTo>
                        <a:pt x="982" y="204"/>
                      </a:lnTo>
                      <a:lnTo>
                        <a:pt x="982" y="201"/>
                      </a:lnTo>
                      <a:lnTo>
                        <a:pt x="985" y="201"/>
                      </a:lnTo>
                      <a:lnTo>
                        <a:pt x="987" y="198"/>
                      </a:lnTo>
                      <a:lnTo>
                        <a:pt x="990" y="201"/>
                      </a:lnTo>
                      <a:lnTo>
                        <a:pt x="994" y="201"/>
                      </a:lnTo>
                      <a:lnTo>
                        <a:pt x="994" y="196"/>
                      </a:lnTo>
                      <a:lnTo>
                        <a:pt x="999" y="196"/>
                      </a:lnTo>
                      <a:lnTo>
                        <a:pt x="1002" y="198"/>
                      </a:lnTo>
                      <a:lnTo>
                        <a:pt x="1007" y="196"/>
                      </a:lnTo>
                      <a:lnTo>
                        <a:pt x="1007" y="188"/>
                      </a:lnTo>
                      <a:lnTo>
                        <a:pt x="1013" y="182"/>
                      </a:lnTo>
                      <a:lnTo>
                        <a:pt x="1018" y="185"/>
                      </a:lnTo>
                      <a:lnTo>
                        <a:pt x="1021" y="185"/>
                      </a:lnTo>
                      <a:lnTo>
                        <a:pt x="1027" y="185"/>
                      </a:lnTo>
                      <a:lnTo>
                        <a:pt x="1032" y="185"/>
                      </a:lnTo>
                      <a:lnTo>
                        <a:pt x="1035" y="177"/>
                      </a:lnTo>
                      <a:lnTo>
                        <a:pt x="1035" y="170"/>
                      </a:lnTo>
                      <a:lnTo>
                        <a:pt x="1030" y="168"/>
                      </a:lnTo>
                      <a:lnTo>
                        <a:pt x="1032" y="162"/>
                      </a:lnTo>
                      <a:lnTo>
                        <a:pt x="1035" y="162"/>
                      </a:lnTo>
                      <a:lnTo>
                        <a:pt x="1035" y="165"/>
                      </a:lnTo>
                      <a:lnTo>
                        <a:pt x="1040" y="165"/>
                      </a:lnTo>
                      <a:lnTo>
                        <a:pt x="1046" y="165"/>
                      </a:lnTo>
                      <a:lnTo>
                        <a:pt x="1048" y="162"/>
                      </a:lnTo>
                      <a:lnTo>
                        <a:pt x="1048" y="160"/>
                      </a:lnTo>
                      <a:lnTo>
                        <a:pt x="1051" y="162"/>
                      </a:lnTo>
                      <a:lnTo>
                        <a:pt x="1056" y="160"/>
                      </a:lnTo>
                      <a:lnTo>
                        <a:pt x="1059" y="160"/>
                      </a:lnTo>
                      <a:lnTo>
                        <a:pt x="1063" y="160"/>
                      </a:lnTo>
                      <a:lnTo>
                        <a:pt x="1065" y="154"/>
                      </a:lnTo>
                      <a:lnTo>
                        <a:pt x="1068" y="152"/>
                      </a:lnTo>
                      <a:lnTo>
                        <a:pt x="1065" y="149"/>
                      </a:lnTo>
                      <a:lnTo>
                        <a:pt x="1071" y="146"/>
                      </a:lnTo>
                      <a:lnTo>
                        <a:pt x="1073" y="146"/>
                      </a:lnTo>
                      <a:lnTo>
                        <a:pt x="1073" y="144"/>
                      </a:lnTo>
                      <a:lnTo>
                        <a:pt x="1079" y="144"/>
                      </a:lnTo>
                      <a:lnTo>
                        <a:pt x="1082" y="149"/>
                      </a:lnTo>
                      <a:lnTo>
                        <a:pt x="1087" y="149"/>
                      </a:lnTo>
                      <a:lnTo>
                        <a:pt x="1092" y="160"/>
                      </a:lnTo>
                      <a:lnTo>
                        <a:pt x="1096" y="160"/>
                      </a:lnTo>
                      <a:lnTo>
                        <a:pt x="1101" y="165"/>
                      </a:lnTo>
                      <a:lnTo>
                        <a:pt x="1101" y="168"/>
                      </a:lnTo>
                      <a:lnTo>
                        <a:pt x="1104" y="168"/>
                      </a:lnTo>
                      <a:lnTo>
                        <a:pt x="1104" y="170"/>
                      </a:lnTo>
                      <a:lnTo>
                        <a:pt x="1112" y="174"/>
                      </a:lnTo>
                      <a:lnTo>
                        <a:pt x="1112" y="182"/>
                      </a:lnTo>
                      <a:lnTo>
                        <a:pt x="1115" y="182"/>
                      </a:lnTo>
                      <a:lnTo>
                        <a:pt x="1117" y="188"/>
                      </a:lnTo>
                      <a:lnTo>
                        <a:pt x="1117" y="193"/>
                      </a:lnTo>
                      <a:lnTo>
                        <a:pt x="1123" y="196"/>
                      </a:lnTo>
                      <a:lnTo>
                        <a:pt x="1123" y="201"/>
                      </a:lnTo>
                      <a:lnTo>
                        <a:pt x="1129" y="201"/>
                      </a:lnTo>
                      <a:lnTo>
                        <a:pt x="1132" y="196"/>
                      </a:lnTo>
                      <a:lnTo>
                        <a:pt x="1132" y="201"/>
                      </a:lnTo>
                      <a:lnTo>
                        <a:pt x="1134" y="198"/>
                      </a:lnTo>
                      <a:lnTo>
                        <a:pt x="1137" y="201"/>
                      </a:lnTo>
                      <a:lnTo>
                        <a:pt x="1145" y="198"/>
                      </a:lnTo>
                      <a:lnTo>
                        <a:pt x="1151" y="201"/>
                      </a:lnTo>
                      <a:lnTo>
                        <a:pt x="1156" y="198"/>
                      </a:lnTo>
                      <a:lnTo>
                        <a:pt x="1165" y="198"/>
                      </a:lnTo>
                      <a:lnTo>
                        <a:pt x="1165" y="193"/>
                      </a:lnTo>
                      <a:lnTo>
                        <a:pt x="1168" y="190"/>
                      </a:lnTo>
                      <a:lnTo>
                        <a:pt x="1176" y="190"/>
                      </a:lnTo>
                      <a:lnTo>
                        <a:pt x="1181" y="185"/>
                      </a:lnTo>
                      <a:lnTo>
                        <a:pt x="1189" y="185"/>
                      </a:lnTo>
                      <a:lnTo>
                        <a:pt x="1192" y="190"/>
                      </a:lnTo>
                      <a:lnTo>
                        <a:pt x="1198" y="190"/>
                      </a:lnTo>
                      <a:lnTo>
                        <a:pt x="1201" y="190"/>
                      </a:lnTo>
                      <a:lnTo>
                        <a:pt x="1203" y="185"/>
                      </a:lnTo>
                      <a:lnTo>
                        <a:pt x="1201" y="182"/>
                      </a:lnTo>
                      <a:lnTo>
                        <a:pt x="1211" y="179"/>
                      </a:lnTo>
                      <a:lnTo>
                        <a:pt x="1214" y="177"/>
                      </a:lnTo>
                      <a:lnTo>
                        <a:pt x="1214" y="174"/>
                      </a:lnTo>
                      <a:lnTo>
                        <a:pt x="1217" y="170"/>
                      </a:lnTo>
                      <a:lnTo>
                        <a:pt x="1220" y="168"/>
                      </a:lnTo>
                      <a:lnTo>
                        <a:pt x="1225" y="177"/>
                      </a:lnTo>
                      <a:lnTo>
                        <a:pt x="1228" y="174"/>
                      </a:lnTo>
                      <a:lnTo>
                        <a:pt x="1230" y="177"/>
                      </a:lnTo>
                      <a:lnTo>
                        <a:pt x="1234" y="174"/>
                      </a:lnTo>
                      <a:lnTo>
                        <a:pt x="1237" y="177"/>
                      </a:lnTo>
                      <a:lnTo>
                        <a:pt x="1237" y="182"/>
                      </a:lnTo>
                      <a:lnTo>
                        <a:pt x="1237" y="185"/>
                      </a:lnTo>
                      <a:lnTo>
                        <a:pt x="1239" y="185"/>
                      </a:lnTo>
                      <a:lnTo>
                        <a:pt x="1237" y="190"/>
                      </a:lnTo>
                      <a:lnTo>
                        <a:pt x="1239" y="193"/>
                      </a:lnTo>
                      <a:lnTo>
                        <a:pt x="1242" y="196"/>
                      </a:lnTo>
                      <a:lnTo>
                        <a:pt x="1237" y="204"/>
                      </a:lnTo>
                      <a:lnTo>
                        <a:pt x="1245" y="204"/>
                      </a:lnTo>
                      <a:lnTo>
                        <a:pt x="1242" y="207"/>
                      </a:lnTo>
                      <a:lnTo>
                        <a:pt x="1245" y="210"/>
                      </a:lnTo>
                      <a:lnTo>
                        <a:pt x="1242" y="215"/>
                      </a:lnTo>
                      <a:lnTo>
                        <a:pt x="1245" y="226"/>
                      </a:lnTo>
                      <a:lnTo>
                        <a:pt x="1250" y="231"/>
                      </a:lnTo>
                      <a:lnTo>
                        <a:pt x="1253" y="234"/>
                      </a:lnTo>
                      <a:lnTo>
                        <a:pt x="1258" y="231"/>
                      </a:lnTo>
                      <a:lnTo>
                        <a:pt x="1261" y="231"/>
                      </a:lnTo>
                      <a:lnTo>
                        <a:pt x="1270" y="231"/>
                      </a:lnTo>
                      <a:lnTo>
                        <a:pt x="1270" y="229"/>
                      </a:lnTo>
                      <a:lnTo>
                        <a:pt x="1275" y="229"/>
                      </a:lnTo>
                      <a:lnTo>
                        <a:pt x="1278" y="226"/>
                      </a:lnTo>
                      <a:lnTo>
                        <a:pt x="1280" y="223"/>
                      </a:lnTo>
                      <a:lnTo>
                        <a:pt x="1286" y="221"/>
                      </a:lnTo>
                      <a:lnTo>
                        <a:pt x="1294" y="215"/>
                      </a:lnTo>
                      <a:lnTo>
                        <a:pt x="1299" y="210"/>
                      </a:lnTo>
                      <a:lnTo>
                        <a:pt x="1306" y="213"/>
                      </a:lnTo>
                      <a:lnTo>
                        <a:pt x="1308" y="213"/>
                      </a:lnTo>
                      <a:lnTo>
                        <a:pt x="1311" y="218"/>
                      </a:lnTo>
                      <a:lnTo>
                        <a:pt x="1314" y="221"/>
                      </a:lnTo>
                      <a:lnTo>
                        <a:pt x="1316" y="223"/>
                      </a:lnTo>
                      <a:lnTo>
                        <a:pt x="1316" y="226"/>
                      </a:lnTo>
                      <a:lnTo>
                        <a:pt x="1319" y="229"/>
                      </a:lnTo>
                      <a:lnTo>
                        <a:pt x="1336" y="231"/>
                      </a:lnTo>
                      <a:lnTo>
                        <a:pt x="1339" y="229"/>
                      </a:lnTo>
                      <a:lnTo>
                        <a:pt x="1339" y="226"/>
                      </a:lnTo>
                      <a:lnTo>
                        <a:pt x="1336" y="221"/>
                      </a:lnTo>
                      <a:lnTo>
                        <a:pt x="1336" y="215"/>
                      </a:lnTo>
                      <a:lnTo>
                        <a:pt x="1336" y="210"/>
                      </a:lnTo>
                      <a:lnTo>
                        <a:pt x="1339" y="207"/>
                      </a:lnTo>
                      <a:lnTo>
                        <a:pt x="1349" y="198"/>
                      </a:lnTo>
                      <a:lnTo>
                        <a:pt x="1357" y="201"/>
                      </a:lnTo>
                      <a:lnTo>
                        <a:pt x="1363" y="204"/>
                      </a:lnTo>
                      <a:lnTo>
                        <a:pt x="1363" y="210"/>
                      </a:lnTo>
                      <a:lnTo>
                        <a:pt x="1366" y="210"/>
                      </a:lnTo>
                      <a:lnTo>
                        <a:pt x="1368" y="210"/>
                      </a:lnTo>
                      <a:lnTo>
                        <a:pt x="1372" y="207"/>
                      </a:lnTo>
                      <a:lnTo>
                        <a:pt x="1377" y="210"/>
                      </a:lnTo>
                      <a:lnTo>
                        <a:pt x="1380" y="207"/>
                      </a:lnTo>
                      <a:lnTo>
                        <a:pt x="1383" y="204"/>
                      </a:lnTo>
                      <a:lnTo>
                        <a:pt x="1388" y="201"/>
                      </a:lnTo>
                      <a:lnTo>
                        <a:pt x="1388" y="196"/>
                      </a:lnTo>
                      <a:lnTo>
                        <a:pt x="1396" y="190"/>
                      </a:lnTo>
                      <a:lnTo>
                        <a:pt x="1396" y="182"/>
                      </a:lnTo>
                      <a:lnTo>
                        <a:pt x="1401" y="182"/>
                      </a:lnTo>
                      <a:lnTo>
                        <a:pt x="1408" y="182"/>
                      </a:lnTo>
                      <a:lnTo>
                        <a:pt x="1410" y="182"/>
                      </a:lnTo>
                      <a:lnTo>
                        <a:pt x="1408" y="179"/>
                      </a:lnTo>
                      <a:lnTo>
                        <a:pt x="1405" y="177"/>
                      </a:lnTo>
                      <a:lnTo>
                        <a:pt x="1408" y="174"/>
                      </a:lnTo>
                      <a:lnTo>
                        <a:pt x="1413" y="170"/>
                      </a:lnTo>
                      <a:lnTo>
                        <a:pt x="1421" y="160"/>
                      </a:lnTo>
                      <a:lnTo>
                        <a:pt x="1424" y="157"/>
                      </a:lnTo>
                      <a:lnTo>
                        <a:pt x="1429" y="154"/>
                      </a:lnTo>
                      <a:lnTo>
                        <a:pt x="1444" y="154"/>
                      </a:lnTo>
                      <a:lnTo>
                        <a:pt x="1449" y="146"/>
                      </a:lnTo>
                      <a:lnTo>
                        <a:pt x="1452" y="146"/>
                      </a:lnTo>
                      <a:lnTo>
                        <a:pt x="1454" y="146"/>
                      </a:lnTo>
                      <a:lnTo>
                        <a:pt x="1457" y="149"/>
                      </a:lnTo>
                      <a:lnTo>
                        <a:pt x="1457" y="154"/>
                      </a:lnTo>
                      <a:lnTo>
                        <a:pt x="1460" y="154"/>
                      </a:lnTo>
                      <a:lnTo>
                        <a:pt x="1460" y="160"/>
                      </a:lnTo>
                      <a:lnTo>
                        <a:pt x="1465" y="165"/>
                      </a:lnTo>
                      <a:lnTo>
                        <a:pt x="1465" y="162"/>
                      </a:lnTo>
                      <a:lnTo>
                        <a:pt x="1470" y="160"/>
                      </a:lnTo>
                      <a:lnTo>
                        <a:pt x="1470" y="154"/>
                      </a:lnTo>
                      <a:lnTo>
                        <a:pt x="1468" y="152"/>
                      </a:lnTo>
                      <a:lnTo>
                        <a:pt x="1462" y="149"/>
                      </a:lnTo>
                      <a:lnTo>
                        <a:pt x="1465" y="146"/>
                      </a:lnTo>
                      <a:lnTo>
                        <a:pt x="1465" y="144"/>
                      </a:lnTo>
                      <a:lnTo>
                        <a:pt x="1468" y="141"/>
                      </a:lnTo>
                      <a:lnTo>
                        <a:pt x="1470" y="135"/>
                      </a:lnTo>
                      <a:lnTo>
                        <a:pt x="1474" y="135"/>
                      </a:lnTo>
                      <a:lnTo>
                        <a:pt x="1477" y="127"/>
                      </a:lnTo>
                      <a:lnTo>
                        <a:pt x="1479" y="127"/>
                      </a:lnTo>
                      <a:lnTo>
                        <a:pt x="1485" y="124"/>
                      </a:lnTo>
                      <a:lnTo>
                        <a:pt x="1485" y="119"/>
                      </a:lnTo>
                      <a:lnTo>
                        <a:pt x="1485" y="116"/>
                      </a:lnTo>
                      <a:lnTo>
                        <a:pt x="1496" y="113"/>
                      </a:lnTo>
                      <a:lnTo>
                        <a:pt x="1496" y="108"/>
                      </a:lnTo>
                      <a:lnTo>
                        <a:pt x="1504" y="101"/>
                      </a:lnTo>
                      <a:lnTo>
                        <a:pt x="1507" y="108"/>
                      </a:lnTo>
                      <a:lnTo>
                        <a:pt x="1510" y="105"/>
                      </a:lnTo>
                      <a:lnTo>
                        <a:pt x="1515" y="108"/>
                      </a:lnTo>
                      <a:lnTo>
                        <a:pt x="1521" y="105"/>
                      </a:lnTo>
                      <a:lnTo>
                        <a:pt x="1523" y="101"/>
                      </a:lnTo>
                      <a:lnTo>
                        <a:pt x="1523" y="96"/>
                      </a:lnTo>
                      <a:lnTo>
                        <a:pt x="1531" y="93"/>
                      </a:lnTo>
                      <a:lnTo>
                        <a:pt x="1539" y="88"/>
                      </a:lnTo>
                      <a:lnTo>
                        <a:pt x="1548" y="85"/>
                      </a:lnTo>
                      <a:lnTo>
                        <a:pt x="1556" y="83"/>
                      </a:lnTo>
                      <a:lnTo>
                        <a:pt x="1556" y="80"/>
                      </a:lnTo>
                      <a:lnTo>
                        <a:pt x="1556" y="72"/>
                      </a:lnTo>
                      <a:lnTo>
                        <a:pt x="1559" y="69"/>
                      </a:lnTo>
                      <a:lnTo>
                        <a:pt x="1562" y="66"/>
                      </a:lnTo>
                      <a:lnTo>
                        <a:pt x="1562" y="63"/>
                      </a:lnTo>
                      <a:lnTo>
                        <a:pt x="1565" y="60"/>
                      </a:lnTo>
                      <a:lnTo>
                        <a:pt x="1567" y="60"/>
                      </a:lnTo>
                      <a:lnTo>
                        <a:pt x="1570" y="52"/>
                      </a:lnTo>
                      <a:lnTo>
                        <a:pt x="1573" y="49"/>
                      </a:lnTo>
                      <a:lnTo>
                        <a:pt x="1573" y="44"/>
                      </a:lnTo>
                      <a:lnTo>
                        <a:pt x="1570" y="39"/>
                      </a:lnTo>
                      <a:lnTo>
                        <a:pt x="1573" y="36"/>
                      </a:lnTo>
                      <a:lnTo>
                        <a:pt x="1582" y="33"/>
                      </a:lnTo>
                      <a:lnTo>
                        <a:pt x="1592" y="36"/>
                      </a:lnTo>
                      <a:lnTo>
                        <a:pt x="1595" y="33"/>
                      </a:lnTo>
                      <a:lnTo>
                        <a:pt x="1598" y="33"/>
                      </a:lnTo>
                      <a:lnTo>
                        <a:pt x="1603" y="36"/>
                      </a:lnTo>
                      <a:lnTo>
                        <a:pt x="1606" y="33"/>
                      </a:lnTo>
                      <a:lnTo>
                        <a:pt x="1615" y="33"/>
                      </a:lnTo>
                      <a:lnTo>
                        <a:pt x="1631" y="24"/>
                      </a:lnTo>
                      <a:lnTo>
                        <a:pt x="1628" y="19"/>
                      </a:lnTo>
                      <a:lnTo>
                        <a:pt x="1631" y="14"/>
                      </a:lnTo>
                      <a:lnTo>
                        <a:pt x="1636" y="6"/>
                      </a:lnTo>
                      <a:lnTo>
                        <a:pt x="1645" y="6"/>
                      </a:lnTo>
                      <a:lnTo>
                        <a:pt x="1648" y="6"/>
                      </a:lnTo>
                      <a:lnTo>
                        <a:pt x="1656" y="6"/>
                      </a:lnTo>
                      <a:lnTo>
                        <a:pt x="1659" y="0"/>
                      </a:lnTo>
                      <a:lnTo>
                        <a:pt x="1667" y="0"/>
                      </a:lnTo>
                      <a:lnTo>
                        <a:pt x="1669" y="0"/>
                      </a:lnTo>
                      <a:lnTo>
                        <a:pt x="1677" y="0"/>
                      </a:lnTo>
                      <a:lnTo>
                        <a:pt x="1686" y="6"/>
                      </a:lnTo>
                      <a:lnTo>
                        <a:pt x="1692" y="8"/>
                      </a:lnTo>
                      <a:lnTo>
                        <a:pt x="1700" y="14"/>
                      </a:lnTo>
                      <a:lnTo>
                        <a:pt x="1702" y="19"/>
                      </a:lnTo>
                      <a:lnTo>
                        <a:pt x="1705" y="24"/>
                      </a:lnTo>
                      <a:lnTo>
                        <a:pt x="1708" y="24"/>
                      </a:lnTo>
                      <a:lnTo>
                        <a:pt x="1714" y="24"/>
                      </a:lnTo>
                      <a:lnTo>
                        <a:pt x="1717" y="30"/>
                      </a:lnTo>
                      <a:lnTo>
                        <a:pt x="1720" y="27"/>
                      </a:lnTo>
                      <a:lnTo>
                        <a:pt x="1722" y="30"/>
                      </a:lnTo>
                      <a:lnTo>
                        <a:pt x="1728" y="33"/>
                      </a:lnTo>
                      <a:lnTo>
                        <a:pt x="1736" y="33"/>
                      </a:lnTo>
                      <a:lnTo>
                        <a:pt x="1741" y="36"/>
                      </a:lnTo>
                      <a:lnTo>
                        <a:pt x="1741" y="39"/>
                      </a:lnTo>
                      <a:lnTo>
                        <a:pt x="1744" y="44"/>
                      </a:lnTo>
                      <a:lnTo>
                        <a:pt x="1750" y="44"/>
                      </a:lnTo>
                      <a:lnTo>
                        <a:pt x="1750" y="41"/>
                      </a:lnTo>
                      <a:lnTo>
                        <a:pt x="1753" y="41"/>
                      </a:lnTo>
                      <a:lnTo>
                        <a:pt x="1761" y="47"/>
                      </a:lnTo>
                      <a:lnTo>
                        <a:pt x="1766" y="52"/>
                      </a:lnTo>
                      <a:lnTo>
                        <a:pt x="1761" y="60"/>
                      </a:lnTo>
                      <a:lnTo>
                        <a:pt x="1766" y="60"/>
                      </a:lnTo>
                      <a:lnTo>
                        <a:pt x="1766" y="63"/>
                      </a:lnTo>
                      <a:lnTo>
                        <a:pt x="1763" y="66"/>
                      </a:lnTo>
                      <a:lnTo>
                        <a:pt x="1766" y="72"/>
                      </a:lnTo>
                      <a:lnTo>
                        <a:pt x="1769" y="75"/>
                      </a:lnTo>
                      <a:lnTo>
                        <a:pt x="1774" y="77"/>
                      </a:lnTo>
                      <a:lnTo>
                        <a:pt x="1774" y="80"/>
                      </a:lnTo>
                      <a:lnTo>
                        <a:pt x="1774" y="83"/>
                      </a:lnTo>
                      <a:lnTo>
                        <a:pt x="1777" y="83"/>
                      </a:lnTo>
                      <a:lnTo>
                        <a:pt x="1777" y="85"/>
                      </a:lnTo>
                      <a:lnTo>
                        <a:pt x="1771" y="91"/>
                      </a:lnTo>
                      <a:lnTo>
                        <a:pt x="1769" y="88"/>
                      </a:lnTo>
                      <a:lnTo>
                        <a:pt x="1761" y="91"/>
                      </a:lnTo>
                      <a:lnTo>
                        <a:pt x="1761" y="93"/>
                      </a:lnTo>
                      <a:lnTo>
                        <a:pt x="1750" y="96"/>
                      </a:lnTo>
                      <a:lnTo>
                        <a:pt x="1744" y="101"/>
                      </a:lnTo>
                      <a:lnTo>
                        <a:pt x="1736" y="101"/>
                      </a:lnTo>
                      <a:lnTo>
                        <a:pt x="1730" y="108"/>
                      </a:lnTo>
                      <a:lnTo>
                        <a:pt x="1722" y="108"/>
                      </a:lnTo>
                      <a:lnTo>
                        <a:pt x="1717" y="116"/>
                      </a:lnTo>
                      <a:lnTo>
                        <a:pt x="1708" y="121"/>
                      </a:lnTo>
                      <a:lnTo>
                        <a:pt x="1702" y="127"/>
                      </a:lnTo>
                      <a:lnTo>
                        <a:pt x="1700" y="135"/>
                      </a:lnTo>
                      <a:lnTo>
                        <a:pt x="1697" y="144"/>
                      </a:lnTo>
                      <a:lnTo>
                        <a:pt x="1692" y="146"/>
                      </a:lnTo>
                      <a:lnTo>
                        <a:pt x="1692" y="149"/>
                      </a:lnTo>
                      <a:lnTo>
                        <a:pt x="1692" y="152"/>
                      </a:lnTo>
                      <a:lnTo>
                        <a:pt x="1692" y="157"/>
                      </a:lnTo>
                      <a:lnTo>
                        <a:pt x="1697" y="162"/>
                      </a:lnTo>
                      <a:lnTo>
                        <a:pt x="1700" y="165"/>
                      </a:lnTo>
                      <a:lnTo>
                        <a:pt x="1700" y="168"/>
                      </a:lnTo>
                      <a:lnTo>
                        <a:pt x="1702" y="174"/>
                      </a:lnTo>
                      <a:lnTo>
                        <a:pt x="1705" y="177"/>
                      </a:lnTo>
                      <a:lnTo>
                        <a:pt x="1711" y="182"/>
                      </a:lnTo>
                      <a:lnTo>
                        <a:pt x="1711" y="190"/>
                      </a:lnTo>
                      <a:lnTo>
                        <a:pt x="1717" y="196"/>
                      </a:lnTo>
                      <a:lnTo>
                        <a:pt x="1708" y="207"/>
                      </a:lnTo>
                      <a:lnTo>
                        <a:pt x="1708" y="210"/>
                      </a:lnTo>
                      <a:lnTo>
                        <a:pt x="1711" y="210"/>
                      </a:lnTo>
                      <a:lnTo>
                        <a:pt x="1708" y="215"/>
                      </a:lnTo>
                      <a:lnTo>
                        <a:pt x="1705" y="215"/>
                      </a:lnTo>
                      <a:lnTo>
                        <a:pt x="1702" y="218"/>
                      </a:lnTo>
                      <a:lnTo>
                        <a:pt x="1702" y="221"/>
                      </a:lnTo>
                      <a:lnTo>
                        <a:pt x="1700" y="218"/>
                      </a:lnTo>
                      <a:lnTo>
                        <a:pt x="1697" y="215"/>
                      </a:lnTo>
                      <a:lnTo>
                        <a:pt x="1694" y="215"/>
                      </a:lnTo>
                      <a:lnTo>
                        <a:pt x="1692" y="218"/>
                      </a:lnTo>
                      <a:lnTo>
                        <a:pt x="1684" y="223"/>
                      </a:lnTo>
                      <a:lnTo>
                        <a:pt x="1681" y="221"/>
                      </a:lnTo>
                      <a:lnTo>
                        <a:pt x="1677" y="223"/>
                      </a:lnTo>
                      <a:lnTo>
                        <a:pt x="1672" y="226"/>
                      </a:lnTo>
                      <a:lnTo>
                        <a:pt x="1675" y="229"/>
                      </a:lnTo>
                      <a:lnTo>
                        <a:pt x="1681" y="229"/>
                      </a:lnTo>
                      <a:lnTo>
                        <a:pt x="1681" y="237"/>
                      </a:lnTo>
                      <a:lnTo>
                        <a:pt x="1672" y="239"/>
                      </a:lnTo>
                      <a:lnTo>
                        <a:pt x="1669" y="243"/>
                      </a:lnTo>
                      <a:lnTo>
                        <a:pt x="1672" y="246"/>
                      </a:lnTo>
                      <a:lnTo>
                        <a:pt x="1672" y="251"/>
                      </a:lnTo>
                      <a:lnTo>
                        <a:pt x="1656" y="262"/>
                      </a:lnTo>
                      <a:lnTo>
                        <a:pt x="1648" y="262"/>
                      </a:lnTo>
                      <a:lnTo>
                        <a:pt x="1648" y="265"/>
                      </a:lnTo>
                      <a:lnTo>
                        <a:pt x="1642" y="265"/>
                      </a:lnTo>
                      <a:lnTo>
                        <a:pt x="1642" y="267"/>
                      </a:lnTo>
                      <a:lnTo>
                        <a:pt x="1645" y="267"/>
                      </a:lnTo>
                      <a:lnTo>
                        <a:pt x="1648" y="267"/>
                      </a:lnTo>
                      <a:lnTo>
                        <a:pt x="1645" y="270"/>
                      </a:lnTo>
                      <a:lnTo>
                        <a:pt x="1648" y="273"/>
                      </a:lnTo>
                      <a:lnTo>
                        <a:pt x="1648" y="275"/>
                      </a:lnTo>
                      <a:lnTo>
                        <a:pt x="1645" y="275"/>
                      </a:lnTo>
                      <a:lnTo>
                        <a:pt x="1642" y="279"/>
                      </a:lnTo>
                      <a:lnTo>
                        <a:pt x="1634" y="282"/>
                      </a:lnTo>
                      <a:lnTo>
                        <a:pt x="1631" y="282"/>
                      </a:lnTo>
                      <a:lnTo>
                        <a:pt x="1631" y="284"/>
                      </a:lnTo>
                      <a:lnTo>
                        <a:pt x="1628" y="292"/>
                      </a:lnTo>
                      <a:lnTo>
                        <a:pt x="1634" y="292"/>
                      </a:lnTo>
                      <a:lnTo>
                        <a:pt x="1634" y="295"/>
                      </a:lnTo>
                      <a:lnTo>
                        <a:pt x="1642" y="290"/>
                      </a:lnTo>
                      <a:lnTo>
                        <a:pt x="1648" y="290"/>
                      </a:lnTo>
                      <a:lnTo>
                        <a:pt x="1653" y="290"/>
                      </a:lnTo>
                      <a:lnTo>
                        <a:pt x="1659" y="292"/>
                      </a:lnTo>
                      <a:lnTo>
                        <a:pt x="1664" y="290"/>
                      </a:lnTo>
                      <a:lnTo>
                        <a:pt x="1672" y="290"/>
                      </a:lnTo>
                      <a:lnTo>
                        <a:pt x="1675" y="292"/>
                      </a:lnTo>
                      <a:lnTo>
                        <a:pt x="1677" y="290"/>
                      </a:lnTo>
                      <a:lnTo>
                        <a:pt x="1677" y="292"/>
                      </a:lnTo>
                      <a:lnTo>
                        <a:pt x="1684" y="292"/>
                      </a:lnTo>
                      <a:lnTo>
                        <a:pt x="1684" y="287"/>
                      </a:lnTo>
                      <a:lnTo>
                        <a:pt x="1689" y="284"/>
                      </a:lnTo>
                      <a:lnTo>
                        <a:pt x="1694" y="287"/>
                      </a:lnTo>
                      <a:lnTo>
                        <a:pt x="1694" y="295"/>
                      </a:lnTo>
                      <a:lnTo>
                        <a:pt x="1697" y="298"/>
                      </a:lnTo>
                      <a:lnTo>
                        <a:pt x="1700" y="298"/>
                      </a:lnTo>
                      <a:lnTo>
                        <a:pt x="1700" y="300"/>
                      </a:lnTo>
                      <a:lnTo>
                        <a:pt x="1705" y="300"/>
                      </a:lnTo>
                      <a:lnTo>
                        <a:pt x="1708" y="303"/>
                      </a:lnTo>
                      <a:lnTo>
                        <a:pt x="1711" y="306"/>
                      </a:lnTo>
                      <a:lnTo>
                        <a:pt x="1711" y="312"/>
                      </a:lnTo>
                      <a:lnTo>
                        <a:pt x="1711" y="317"/>
                      </a:lnTo>
                      <a:lnTo>
                        <a:pt x="1708" y="326"/>
                      </a:lnTo>
                      <a:lnTo>
                        <a:pt x="1708" y="331"/>
                      </a:lnTo>
                      <a:lnTo>
                        <a:pt x="1714" y="339"/>
                      </a:lnTo>
                      <a:lnTo>
                        <a:pt x="1711" y="344"/>
                      </a:lnTo>
                      <a:lnTo>
                        <a:pt x="1714" y="353"/>
                      </a:lnTo>
                      <a:lnTo>
                        <a:pt x="1714" y="356"/>
                      </a:lnTo>
                      <a:lnTo>
                        <a:pt x="1711" y="356"/>
                      </a:lnTo>
                      <a:lnTo>
                        <a:pt x="1708" y="361"/>
                      </a:lnTo>
                      <a:lnTo>
                        <a:pt x="1711" y="367"/>
                      </a:lnTo>
                      <a:lnTo>
                        <a:pt x="1705" y="369"/>
                      </a:lnTo>
                      <a:lnTo>
                        <a:pt x="1705" y="372"/>
                      </a:lnTo>
                      <a:lnTo>
                        <a:pt x="1708" y="375"/>
                      </a:lnTo>
                      <a:lnTo>
                        <a:pt x="1714" y="377"/>
                      </a:lnTo>
                      <a:lnTo>
                        <a:pt x="1722" y="375"/>
                      </a:lnTo>
                      <a:lnTo>
                        <a:pt x="1722" y="380"/>
                      </a:lnTo>
                      <a:lnTo>
                        <a:pt x="1722" y="386"/>
                      </a:lnTo>
                      <a:lnTo>
                        <a:pt x="1722" y="392"/>
                      </a:lnTo>
                      <a:lnTo>
                        <a:pt x="1733" y="403"/>
                      </a:lnTo>
                      <a:lnTo>
                        <a:pt x="1736" y="411"/>
                      </a:lnTo>
                      <a:lnTo>
                        <a:pt x="1753" y="413"/>
                      </a:lnTo>
                      <a:lnTo>
                        <a:pt x="1755" y="413"/>
                      </a:lnTo>
                      <a:lnTo>
                        <a:pt x="1763" y="425"/>
                      </a:lnTo>
                      <a:lnTo>
                        <a:pt x="1774" y="430"/>
                      </a:lnTo>
                      <a:lnTo>
                        <a:pt x="1780" y="428"/>
                      </a:lnTo>
                      <a:lnTo>
                        <a:pt x="1789" y="428"/>
                      </a:lnTo>
                      <a:lnTo>
                        <a:pt x="1791" y="428"/>
                      </a:lnTo>
                      <a:lnTo>
                        <a:pt x="1794" y="425"/>
                      </a:lnTo>
                      <a:lnTo>
                        <a:pt x="1794" y="420"/>
                      </a:lnTo>
                      <a:lnTo>
                        <a:pt x="1802" y="417"/>
                      </a:lnTo>
                      <a:lnTo>
                        <a:pt x="1810" y="408"/>
                      </a:lnTo>
                      <a:lnTo>
                        <a:pt x="1813" y="403"/>
                      </a:lnTo>
                      <a:lnTo>
                        <a:pt x="1822" y="403"/>
                      </a:lnTo>
                      <a:lnTo>
                        <a:pt x="1830" y="397"/>
                      </a:lnTo>
                      <a:lnTo>
                        <a:pt x="1848" y="389"/>
                      </a:lnTo>
                      <a:lnTo>
                        <a:pt x="1852" y="384"/>
                      </a:lnTo>
                      <a:lnTo>
                        <a:pt x="1858" y="384"/>
                      </a:lnTo>
                      <a:lnTo>
                        <a:pt x="1863" y="384"/>
                      </a:lnTo>
                      <a:lnTo>
                        <a:pt x="1868" y="386"/>
                      </a:lnTo>
                      <a:lnTo>
                        <a:pt x="1871" y="384"/>
                      </a:lnTo>
                      <a:lnTo>
                        <a:pt x="1874" y="377"/>
                      </a:lnTo>
                      <a:lnTo>
                        <a:pt x="1876" y="375"/>
                      </a:lnTo>
                      <a:lnTo>
                        <a:pt x="1885" y="375"/>
                      </a:lnTo>
                      <a:lnTo>
                        <a:pt x="1885" y="372"/>
                      </a:lnTo>
                      <a:lnTo>
                        <a:pt x="1888" y="372"/>
                      </a:lnTo>
                      <a:lnTo>
                        <a:pt x="1885" y="369"/>
                      </a:lnTo>
                      <a:lnTo>
                        <a:pt x="1885" y="367"/>
                      </a:lnTo>
                      <a:lnTo>
                        <a:pt x="1891" y="369"/>
                      </a:lnTo>
                      <a:lnTo>
                        <a:pt x="1899" y="369"/>
                      </a:lnTo>
                      <a:lnTo>
                        <a:pt x="1896" y="361"/>
                      </a:lnTo>
                      <a:lnTo>
                        <a:pt x="1899" y="359"/>
                      </a:lnTo>
                      <a:lnTo>
                        <a:pt x="1907" y="356"/>
                      </a:lnTo>
                      <a:lnTo>
                        <a:pt x="1917" y="353"/>
                      </a:lnTo>
                      <a:lnTo>
                        <a:pt x="1924" y="351"/>
                      </a:lnTo>
                      <a:lnTo>
                        <a:pt x="1924" y="344"/>
                      </a:lnTo>
                      <a:lnTo>
                        <a:pt x="1921" y="342"/>
                      </a:lnTo>
                      <a:lnTo>
                        <a:pt x="1915" y="342"/>
                      </a:lnTo>
                      <a:lnTo>
                        <a:pt x="1915" y="336"/>
                      </a:lnTo>
                      <a:lnTo>
                        <a:pt x="1912" y="336"/>
                      </a:lnTo>
                      <a:lnTo>
                        <a:pt x="1912" y="334"/>
                      </a:lnTo>
                      <a:lnTo>
                        <a:pt x="1915" y="331"/>
                      </a:lnTo>
                      <a:lnTo>
                        <a:pt x="1924" y="326"/>
                      </a:lnTo>
                      <a:lnTo>
                        <a:pt x="1924" y="308"/>
                      </a:lnTo>
                      <a:lnTo>
                        <a:pt x="1924" y="298"/>
                      </a:lnTo>
                      <a:lnTo>
                        <a:pt x="1927" y="295"/>
                      </a:lnTo>
                      <a:lnTo>
                        <a:pt x="1927" y="290"/>
                      </a:lnTo>
                      <a:lnTo>
                        <a:pt x="1929" y="282"/>
                      </a:lnTo>
                      <a:lnTo>
                        <a:pt x="1940" y="284"/>
                      </a:lnTo>
                      <a:lnTo>
                        <a:pt x="1943" y="287"/>
                      </a:lnTo>
                      <a:lnTo>
                        <a:pt x="1945" y="284"/>
                      </a:lnTo>
                      <a:lnTo>
                        <a:pt x="1943" y="282"/>
                      </a:lnTo>
                      <a:lnTo>
                        <a:pt x="1945" y="275"/>
                      </a:lnTo>
                      <a:lnTo>
                        <a:pt x="1943" y="267"/>
                      </a:lnTo>
                      <a:lnTo>
                        <a:pt x="1945" y="265"/>
                      </a:lnTo>
                      <a:lnTo>
                        <a:pt x="1948" y="262"/>
                      </a:lnTo>
                      <a:lnTo>
                        <a:pt x="1954" y="259"/>
                      </a:lnTo>
                      <a:lnTo>
                        <a:pt x="1960" y="262"/>
                      </a:lnTo>
                      <a:lnTo>
                        <a:pt x="1976" y="270"/>
                      </a:lnTo>
                      <a:lnTo>
                        <a:pt x="1981" y="267"/>
                      </a:lnTo>
                      <a:lnTo>
                        <a:pt x="1984" y="270"/>
                      </a:lnTo>
                      <a:lnTo>
                        <a:pt x="1990" y="267"/>
                      </a:lnTo>
                      <a:lnTo>
                        <a:pt x="1998" y="267"/>
                      </a:lnTo>
                      <a:lnTo>
                        <a:pt x="1998" y="265"/>
                      </a:lnTo>
                      <a:lnTo>
                        <a:pt x="2001" y="259"/>
                      </a:lnTo>
                      <a:lnTo>
                        <a:pt x="2004" y="259"/>
                      </a:lnTo>
                      <a:lnTo>
                        <a:pt x="2004" y="254"/>
                      </a:lnTo>
                      <a:lnTo>
                        <a:pt x="2001" y="251"/>
                      </a:lnTo>
                      <a:lnTo>
                        <a:pt x="2004" y="248"/>
                      </a:lnTo>
                      <a:lnTo>
                        <a:pt x="2004" y="234"/>
                      </a:lnTo>
                      <a:lnTo>
                        <a:pt x="2004" y="229"/>
                      </a:lnTo>
                      <a:lnTo>
                        <a:pt x="2006" y="226"/>
                      </a:lnTo>
                      <a:lnTo>
                        <a:pt x="2012" y="226"/>
                      </a:lnTo>
                      <a:lnTo>
                        <a:pt x="2017" y="223"/>
                      </a:lnTo>
                      <a:lnTo>
                        <a:pt x="2026" y="223"/>
                      </a:lnTo>
                      <a:lnTo>
                        <a:pt x="2031" y="221"/>
                      </a:lnTo>
                      <a:lnTo>
                        <a:pt x="2034" y="223"/>
                      </a:lnTo>
                      <a:lnTo>
                        <a:pt x="2057" y="223"/>
                      </a:lnTo>
                      <a:lnTo>
                        <a:pt x="2059" y="223"/>
                      </a:lnTo>
                      <a:lnTo>
                        <a:pt x="2062" y="226"/>
                      </a:lnTo>
                      <a:lnTo>
                        <a:pt x="2070" y="231"/>
                      </a:lnTo>
                      <a:lnTo>
                        <a:pt x="2073" y="231"/>
                      </a:lnTo>
                      <a:lnTo>
                        <a:pt x="2078" y="231"/>
                      </a:lnTo>
                      <a:lnTo>
                        <a:pt x="2081" y="226"/>
                      </a:lnTo>
                      <a:lnTo>
                        <a:pt x="2081" y="223"/>
                      </a:lnTo>
                      <a:lnTo>
                        <a:pt x="2075" y="221"/>
                      </a:lnTo>
                      <a:lnTo>
                        <a:pt x="2075" y="218"/>
                      </a:lnTo>
                      <a:lnTo>
                        <a:pt x="2078" y="215"/>
                      </a:lnTo>
                      <a:lnTo>
                        <a:pt x="2092" y="204"/>
                      </a:lnTo>
                      <a:lnTo>
                        <a:pt x="2095" y="207"/>
                      </a:lnTo>
                      <a:lnTo>
                        <a:pt x="2098" y="215"/>
                      </a:lnTo>
                      <a:lnTo>
                        <a:pt x="2106" y="213"/>
                      </a:lnTo>
                      <a:lnTo>
                        <a:pt x="2119" y="213"/>
                      </a:lnTo>
                      <a:lnTo>
                        <a:pt x="2128" y="213"/>
                      </a:lnTo>
                      <a:lnTo>
                        <a:pt x="2131" y="213"/>
                      </a:lnTo>
                      <a:lnTo>
                        <a:pt x="2136" y="210"/>
                      </a:lnTo>
                      <a:lnTo>
                        <a:pt x="2150" y="213"/>
                      </a:lnTo>
                      <a:lnTo>
                        <a:pt x="2158" y="221"/>
                      </a:lnTo>
                      <a:lnTo>
                        <a:pt x="2161" y="218"/>
                      </a:lnTo>
                      <a:lnTo>
                        <a:pt x="2164" y="218"/>
                      </a:lnTo>
                      <a:lnTo>
                        <a:pt x="2169" y="223"/>
                      </a:lnTo>
                      <a:lnTo>
                        <a:pt x="2177" y="223"/>
                      </a:lnTo>
                      <a:lnTo>
                        <a:pt x="2180" y="226"/>
                      </a:lnTo>
                      <a:lnTo>
                        <a:pt x="2183" y="221"/>
                      </a:lnTo>
                      <a:lnTo>
                        <a:pt x="2185" y="221"/>
                      </a:lnTo>
                      <a:lnTo>
                        <a:pt x="2191" y="215"/>
                      </a:lnTo>
                      <a:lnTo>
                        <a:pt x="2197" y="215"/>
                      </a:lnTo>
                      <a:lnTo>
                        <a:pt x="2203" y="215"/>
                      </a:lnTo>
                      <a:lnTo>
                        <a:pt x="2205" y="213"/>
                      </a:lnTo>
                      <a:lnTo>
                        <a:pt x="2219" y="215"/>
                      </a:lnTo>
                      <a:lnTo>
                        <a:pt x="2227" y="210"/>
                      </a:lnTo>
                      <a:lnTo>
                        <a:pt x="2227" y="204"/>
                      </a:lnTo>
                      <a:lnTo>
                        <a:pt x="2227" y="201"/>
                      </a:lnTo>
                      <a:lnTo>
                        <a:pt x="2230" y="198"/>
                      </a:lnTo>
                      <a:lnTo>
                        <a:pt x="2236" y="198"/>
                      </a:lnTo>
                      <a:lnTo>
                        <a:pt x="2244" y="196"/>
                      </a:lnTo>
                      <a:lnTo>
                        <a:pt x="2249" y="198"/>
                      </a:lnTo>
                      <a:lnTo>
                        <a:pt x="2252" y="198"/>
                      </a:lnTo>
                      <a:lnTo>
                        <a:pt x="2254" y="198"/>
                      </a:lnTo>
                      <a:lnTo>
                        <a:pt x="2263" y="193"/>
                      </a:lnTo>
                      <a:lnTo>
                        <a:pt x="2269" y="193"/>
                      </a:lnTo>
                      <a:lnTo>
                        <a:pt x="2277" y="188"/>
                      </a:lnTo>
                      <a:lnTo>
                        <a:pt x="2280" y="188"/>
                      </a:lnTo>
                      <a:lnTo>
                        <a:pt x="2282" y="185"/>
                      </a:lnTo>
                      <a:lnTo>
                        <a:pt x="2282" y="182"/>
                      </a:lnTo>
                      <a:lnTo>
                        <a:pt x="2285" y="182"/>
                      </a:lnTo>
                      <a:lnTo>
                        <a:pt x="2293" y="179"/>
                      </a:lnTo>
                      <a:lnTo>
                        <a:pt x="2296" y="179"/>
                      </a:lnTo>
                      <a:lnTo>
                        <a:pt x="2296" y="177"/>
                      </a:lnTo>
                      <a:lnTo>
                        <a:pt x="2302" y="174"/>
                      </a:lnTo>
                      <a:lnTo>
                        <a:pt x="2305" y="177"/>
                      </a:lnTo>
                      <a:lnTo>
                        <a:pt x="2307" y="177"/>
                      </a:lnTo>
                      <a:lnTo>
                        <a:pt x="2310" y="177"/>
                      </a:lnTo>
                      <a:lnTo>
                        <a:pt x="2318" y="177"/>
                      </a:lnTo>
                      <a:lnTo>
                        <a:pt x="2321" y="177"/>
                      </a:lnTo>
                      <a:lnTo>
                        <a:pt x="2326" y="170"/>
                      </a:lnTo>
                      <a:lnTo>
                        <a:pt x="2329" y="168"/>
                      </a:lnTo>
                      <a:lnTo>
                        <a:pt x="2335" y="162"/>
                      </a:lnTo>
                      <a:lnTo>
                        <a:pt x="2335" y="160"/>
                      </a:lnTo>
                      <a:lnTo>
                        <a:pt x="2338" y="157"/>
                      </a:lnTo>
                      <a:lnTo>
                        <a:pt x="2343" y="157"/>
                      </a:lnTo>
                      <a:lnTo>
                        <a:pt x="2346" y="157"/>
                      </a:lnTo>
                      <a:lnTo>
                        <a:pt x="2351" y="157"/>
                      </a:lnTo>
                      <a:lnTo>
                        <a:pt x="2357" y="160"/>
                      </a:lnTo>
                      <a:lnTo>
                        <a:pt x="2368" y="157"/>
                      </a:lnTo>
                      <a:lnTo>
                        <a:pt x="2371" y="154"/>
                      </a:lnTo>
                      <a:lnTo>
                        <a:pt x="2376" y="154"/>
                      </a:lnTo>
                      <a:lnTo>
                        <a:pt x="2368" y="144"/>
                      </a:lnTo>
                      <a:lnTo>
                        <a:pt x="2371" y="138"/>
                      </a:lnTo>
                      <a:lnTo>
                        <a:pt x="2374" y="138"/>
                      </a:lnTo>
                      <a:lnTo>
                        <a:pt x="2374" y="135"/>
                      </a:lnTo>
                      <a:lnTo>
                        <a:pt x="2376" y="129"/>
                      </a:lnTo>
                      <a:lnTo>
                        <a:pt x="2371" y="132"/>
                      </a:lnTo>
                      <a:lnTo>
                        <a:pt x="2368" y="129"/>
                      </a:lnTo>
                      <a:lnTo>
                        <a:pt x="2368" y="127"/>
                      </a:lnTo>
                      <a:lnTo>
                        <a:pt x="2371" y="124"/>
                      </a:lnTo>
                      <a:lnTo>
                        <a:pt x="2374" y="116"/>
                      </a:lnTo>
                      <a:lnTo>
                        <a:pt x="2374" y="108"/>
                      </a:lnTo>
                      <a:lnTo>
                        <a:pt x="2376" y="105"/>
                      </a:lnTo>
                      <a:lnTo>
                        <a:pt x="2379" y="101"/>
                      </a:lnTo>
                      <a:lnTo>
                        <a:pt x="2382" y="99"/>
                      </a:lnTo>
                      <a:lnTo>
                        <a:pt x="2379" y="93"/>
                      </a:lnTo>
                      <a:lnTo>
                        <a:pt x="2379" y="88"/>
                      </a:lnTo>
                      <a:lnTo>
                        <a:pt x="2382" y="75"/>
                      </a:lnTo>
                      <a:lnTo>
                        <a:pt x="2390" y="72"/>
                      </a:lnTo>
                      <a:lnTo>
                        <a:pt x="2401" y="75"/>
                      </a:lnTo>
                      <a:lnTo>
                        <a:pt x="2407" y="75"/>
                      </a:lnTo>
                      <a:lnTo>
                        <a:pt x="2410" y="80"/>
                      </a:lnTo>
                      <a:lnTo>
                        <a:pt x="2415" y="83"/>
                      </a:lnTo>
                      <a:lnTo>
                        <a:pt x="2418" y="83"/>
                      </a:lnTo>
                      <a:lnTo>
                        <a:pt x="2420" y="77"/>
                      </a:lnTo>
                      <a:lnTo>
                        <a:pt x="2431" y="72"/>
                      </a:lnTo>
                      <a:lnTo>
                        <a:pt x="2435" y="69"/>
                      </a:lnTo>
                      <a:lnTo>
                        <a:pt x="2437" y="69"/>
                      </a:lnTo>
                      <a:lnTo>
                        <a:pt x="2443" y="69"/>
                      </a:lnTo>
                      <a:lnTo>
                        <a:pt x="2443" y="66"/>
                      </a:lnTo>
                      <a:lnTo>
                        <a:pt x="2443" y="60"/>
                      </a:lnTo>
                      <a:lnTo>
                        <a:pt x="2445" y="60"/>
                      </a:lnTo>
                      <a:lnTo>
                        <a:pt x="2451" y="60"/>
                      </a:lnTo>
                      <a:lnTo>
                        <a:pt x="2451" y="58"/>
                      </a:lnTo>
                      <a:lnTo>
                        <a:pt x="2448" y="55"/>
                      </a:lnTo>
                      <a:lnTo>
                        <a:pt x="2453" y="55"/>
                      </a:lnTo>
                      <a:lnTo>
                        <a:pt x="2456" y="55"/>
                      </a:lnTo>
                      <a:lnTo>
                        <a:pt x="2459" y="55"/>
                      </a:lnTo>
                      <a:lnTo>
                        <a:pt x="2462" y="55"/>
                      </a:lnTo>
                      <a:lnTo>
                        <a:pt x="2471" y="47"/>
                      </a:lnTo>
                      <a:lnTo>
                        <a:pt x="2487" y="41"/>
                      </a:lnTo>
                      <a:lnTo>
                        <a:pt x="2492" y="44"/>
                      </a:lnTo>
                      <a:lnTo>
                        <a:pt x="2504" y="47"/>
                      </a:lnTo>
                      <a:lnTo>
                        <a:pt x="2509" y="49"/>
                      </a:lnTo>
                      <a:lnTo>
                        <a:pt x="2512" y="49"/>
                      </a:lnTo>
                      <a:lnTo>
                        <a:pt x="2517" y="47"/>
                      </a:lnTo>
                      <a:lnTo>
                        <a:pt x="2522" y="49"/>
                      </a:lnTo>
                      <a:lnTo>
                        <a:pt x="2525" y="49"/>
                      </a:lnTo>
                      <a:lnTo>
                        <a:pt x="2533" y="52"/>
                      </a:lnTo>
                      <a:lnTo>
                        <a:pt x="2536" y="52"/>
                      </a:lnTo>
                      <a:lnTo>
                        <a:pt x="2545" y="55"/>
                      </a:lnTo>
                      <a:lnTo>
                        <a:pt x="2550" y="52"/>
                      </a:lnTo>
                      <a:lnTo>
                        <a:pt x="2553" y="49"/>
                      </a:lnTo>
                      <a:lnTo>
                        <a:pt x="2556" y="49"/>
                      </a:lnTo>
                      <a:lnTo>
                        <a:pt x="2558" y="52"/>
                      </a:lnTo>
                      <a:lnTo>
                        <a:pt x="2566" y="58"/>
                      </a:lnTo>
                      <a:lnTo>
                        <a:pt x="2573" y="63"/>
                      </a:lnTo>
                      <a:lnTo>
                        <a:pt x="2583" y="72"/>
                      </a:lnTo>
                      <a:lnTo>
                        <a:pt x="2591" y="77"/>
                      </a:lnTo>
                      <a:lnTo>
                        <a:pt x="2591" y="83"/>
                      </a:lnTo>
                      <a:lnTo>
                        <a:pt x="2589" y="88"/>
                      </a:lnTo>
                      <a:lnTo>
                        <a:pt x="2591" y="93"/>
                      </a:lnTo>
                      <a:lnTo>
                        <a:pt x="2591" y="96"/>
                      </a:lnTo>
                      <a:lnTo>
                        <a:pt x="2597" y="101"/>
                      </a:lnTo>
                      <a:lnTo>
                        <a:pt x="2602" y="111"/>
                      </a:lnTo>
                      <a:lnTo>
                        <a:pt x="2605" y="111"/>
                      </a:lnTo>
                      <a:lnTo>
                        <a:pt x="2614" y="105"/>
                      </a:lnTo>
                      <a:lnTo>
                        <a:pt x="2617" y="108"/>
                      </a:lnTo>
                      <a:lnTo>
                        <a:pt x="2619" y="111"/>
                      </a:lnTo>
                      <a:lnTo>
                        <a:pt x="2622" y="111"/>
                      </a:lnTo>
                      <a:lnTo>
                        <a:pt x="2625" y="111"/>
                      </a:lnTo>
                      <a:lnTo>
                        <a:pt x="2625" y="113"/>
                      </a:lnTo>
                      <a:lnTo>
                        <a:pt x="2627" y="113"/>
                      </a:lnTo>
                      <a:lnTo>
                        <a:pt x="2630" y="108"/>
                      </a:lnTo>
                      <a:lnTo>
                        <a:pt x="2638" y="113"/>
                      </a:lnTo>
                      <a:lnTo>
                        <a:pt x="2644" y="111"/>
                      </a:lnTo>
                      <a:lnTo>
                        <a:pt x="2650" y="113"/>
                      </a:lnTo>
                      <a:lnTo>
                        <a:pt x="2652" y="113"/>
                      </a:lnTo>
                      <a:lnTo>
                        <a:pt x="2655" y="116"/>
                      </a:lnTo>
                      <a:lnTo>
                        <a:pt x="2652" y="116"/>
                      </a:lnTo>
                      <a:lnTo>
                        <a:pt x="2650" y="116"/>
                      </a:lnTo>
                      <a:lnTo>
                        <a:pt x="2652" y="121"/>
                      </a:lnTo>
                      <a:lnTo>
                        <a:pt x="2655" y="127"/>
                      </a:lnTo>
                      <a:lnTo>
                        <a:pt x="2658" y="129"/>
                      </a:lnTo>
                      <a:lnTo>
                        <a:pt x="2658" y="135"/>
                      </a:lnTo>
                      <a:lnTo>
                        <a:pt x="2663" y="141"/>
                      </a:lnTo>
                      <a:lnTo>
                        <a:pt x="2663" y="146"/>
                      </a:lnTo>
                      <a:lnTo>
                        <a:pt x="2658" y="154"/>
                      </a:lnTo>
                      <a:lnTo>
                        <a:pt x="2652" y="170"/>
                      </a:lnTo>
                      <a:lnTo>
                        <a:pt x="2650" y="170"/>
                      </a:lnTo>
                      <a:lnTo>
                        <a:pt x="2647" y="174"/>
                      </a:lnTo>
                      <a:lnTo>
                        <a:pt x="2650" y="177"/>
                      </a:lnTo>
                      <a:lnTo>
                        <a:pt x="2655" y="177"/>
                      </a:lnTo>
                      <a:lnTo>
                        <a:pt x="2652" y="182"/>
                      </a:lnTo>
                      <a:lnTo>
                        <a:pt x="2655" y="188"/>
                      </a:lnTo>
                      <a:lnTo>
                        <a:pt x="2658" y="196"/>
                      </a:lnTo>
                      <a:lnTo>
                        <a:pt x="2652" y="215"/>
                      </a:lnTo>
                      <a:lnTo>
                        <a:pt x="2652" y="223"/>
                      </a:lnTo>
                      <a:lnTo>
                        <a:pt x="2647" y="223"/>
                      </a:lnTo>
                      <a:lnTo>
                        <a:pt x="2647" y="226"/>
                      </a:lnTo>
                      <a:lnTo>
                        <a:pt x="2650" y="231"/>
                      </a:lnTo>
                      <a:lnTo>
                        <a:pt x="2650" y="234"/>
                      </a:lnTo>
                      <a:lnTo>
                        <a:pt x="2650" y="237"/>
                      </a:lnTo>
                      <a:lnTo>
                        <a:pt x="2652" y="237"/>
                      </a:lnTo>
                      <a:lnTo>
                        <a:pt x="2652" y="251"/>
                      </a:lnTo>
                      <a:lnTo>
                        <a:pt x="2658" y="257"/>
                      </a:lnTo>
                      <a:lnTo>
                        <a:pt x="2658" y="265"/>
                      </a:lnTo>
                      <a:lnTo>
                        <a:pt x="2658" y="267"/>
                      </a:lnTo>
                      <a:lnTo>
                        <a:pt x="2655" y="287"/>
                      </a:lnTo>
                      <a:lnTo>
                        <a:pt x="2652" y="298"/>
                      </a:lnTo>
                      <a:lnTo>
                        <a:pt x="2652" y="306"/>
                      </a:lnTo>
                      <a:lnTo>
                        <a:pt x="2642" y="317"/>
                      </a:lnTo>
                      <a:lnTo>
                        <a:pt x="2642" y="320"/>
                      </a:lnTo>
                      <a:lnTo>
                        <a:pt x="2642" y="323"/>
                      </a:lnTo>
                      <a:lnTo>
                        <a:pt x="2633" y="342"/>
                      </a:lnTo>
                      <a:lnTo>
                        <a:pt x="2622" y="372"/>
                      </a:lnTo>
                      <a:lnTo>
                        <a:pt x="2619" y="380"/>
                      </a:lnTo>
                      <a:lnTo>
                        <a:pt x="2619" y="389"/>
                      </a:lnTo>
                      <a:lnTo>
                        <a:pt x="2617" y="397"/>
                      </a:lnTo>
                      <a:lnTo>
                        <a:pt x="2619" y="397"/>
                      </a:lnTo>
                      <a:lnTo>
                        <a:pt x="2611" y="411"/>
                      </a:lnTo>
                      <a:lnTo>
                        <a:pt x="2609" y="420"/>
                      </a:lnTo>
                      <a:lnTo>
                        <a:pt x="2605" y="425"/>
                      </a:lnTo>
                      <a:lnTo>
                        <a:pt x="2605" y="428"/>
                      </a:lnTo>
                      <a:lnTo>
                        <a:pt x="2611" y="430"/>
                      </a:lnTo>
                      <a:lnTo>
                        <a:pt x="2605" y="444"/>
                      </a:lnTo>
                      <a:lnTo>
                        <a:pt x="2605" y="446"/>
                      </a:lnTo>
                      <a:lnTo>
                        <a:pt x="2609" y="446"/>
                      </a:lnTo>
                      <a:lnTo>
                        <a:pt x="2611" y="449"/>
                      </a:lnTo>
                      <a:lnTo>
                        <a:pt x="2609" y="453"/>
                      </a:lnTo>
                      <a:lnTo>
                        <a:pt x="2602" y="453"/>
                      </a:lnTo>
                      <a:lnTo>
                        <a:pt x="2599" y="455"/>
                      </a:lnTo>
                      <a:lnTo>
                        <a:pt x="2605" y="461"/>
                      </a:lnTo>
                      <a:lnTo>
                        <a:pt x="2594" y="486"/>
                      </a:lnTo>
                      <a:lnTo>
                        <a:pt x="2591" y="497"/>
                      </a:lnTo>
                      <a:lnTo>
                        <a:pt x="2589" y="502"/>
                      </a:lnTo>
                      <a:lnTo>
                        <a:pt x="2586" y="507"/>
                      </a:lnTo>
                      <a:lnTo>
                        <a:pt x="2586" y="510"/>
                      </a:lnTo>
                      <a:lnTo>
                        <a:pt x="2586" y="515"/>
                      </a:lnTo>
                      <a:lnTo>
                        <a:pt x="2583" y="518"/>
                      </a:lnTo>
                      <a:lnTo>
                        <a:pt x="2583" y="524"/>
                      </a:lnTo>
                      <a:lnTo>
                        <a:pt x="2586" y="530"/>
                      </a:lnTo>
                      <a:lnTo>
                        <a:pt x="2583" y="533"/>
                      </a:lnTo>
                      <a:lnTo>
                        <a:pt x="2583" y="538"/>
                      </a:lnTo>
                      <a:lnTo>
                        <a:pt x="2583" y="541"/>
                      </a:lnTo>
                      <a:lnTo>
                        <a:pt x="2581" y="541"/>
                      </a:lnTo>
                      <a:lnTo>
                        <a:pt x="2578" y="538"/>
                      </a:lnTo>
                      <a:lnTo>
                        <a:pt x="2575" y="541"/>
                      </a:lnTo>
                      <a:lnTo>
                        <a:pt x="2573" y="543"/>
                      </a:lnTo>
                      <a:lnTo>
                        <a:pt x="2569" y="549"/>
                      </a:lnTo>
                      <a:lnTo>
                        <a:pt x="2566" y="551"/>
                      </a:lnTo>
                      <a:lnTo>
                        <a:pt x="2566" y="558"/>
                      </a:lnTo>
                      <a:lnTo>
                        <a:pt x="2566" y="560"/>
                      </a:lnTo>
                      <a:lnTo>
                        <a:pt x="2558" y="574"/>
                      </a:lnTo>
                      <a:lnTo>
                        <a:pt x="2556" y="576"/>
                      </a:lnTo>
                      <a:lnTo>
                        <a:pt x="2558" y="584"/>
                      </a:lnTo>
                      <a:lnTo>
                        <a:pt x="2553" y="587"/>
                      </a:lnTo>
                      <a:lnTo>
                        <a:pt x="2550" y="593"/>
                      </a:lnTo>
                      <a:lnTo>
                        <a:pt x="2553" y="599"/>
                      </a:lnTo>
                      <a:lnTo>
                        <a:pt x="2553" y="602"/>
                      </a:lnTo>
                      <a:lnTo>
                        <a:pt x="2550" y="604"/>
                      </a:lnTo>
                      <a:lnTo>
                        <a:pt x="2548" y="610"/>
                      </a:lnTo>
                      <a:lnTo>
                        <a:pt x="2550" y="615"/>
                      </a:lnTo>
                      <a:lnTo>
                        <a:pt x="2542" y="627"/>
                      </a:lnTo>
                      <a:lnTo>
                        <a:pt x="2542" y="632"/>
                      </a:lnTo>
                      <a:lnTo>
                        <a:pt x="2545" y="632"/>
                      </a:lnTo>
                      <a:lnTo>
                        <a:pt x="2542" y="637"/>
                      </a:lnTo>
                      <a:lnTo>
                        <a:pt x="2540" y="637"/>
                      </a:lnTo>
                      <a:lnTo>
                        <a:pt x="2530" y="648"/>
                      </a:lnTo>
                      <a:lnTo>
                        <a:pt x="2530" y="656"/>
                      </a:lnTo>
                      <a:lnTo>
                        <a:pt x="2533" y="665"/>
                      </a:lnTo>
                      <a:lnTo>
                        <a:pt x="2533" y="668"/>
                      </a:lnTo>
                      <a:lnTo>
                        <a:pt x="2528" y="671"/>
                      </a:lnTo>
                      <a:lnTo>
                        <a:pt x="2522" y="687"/>
                      </a:lnTo>
                      <a:lnTo>
                        <a:pt x="2522" y="681"/>
                      </a:lnTo>
                      <a:lnTo>
                        <a:pt x="2514" y="676"/>
                      </a:lnTo>
                      <a:lnTo>
                        <a:pt x="2504" y="676"/>
                      </a:lnTo>
                      <a:lnTo>
                        <a:pt x="2500" y="676"/>
                      </a:lnTo>
                      <a:lnTo>
                        <a:pt x="2495" y="676"/>
                      </a:lnTo>
                      <a:lnTo>
                        <a:pt x="2489" y="673"/>
                      </a:lnTo>
                      <a:lnTo>
                        <a:pt x="2484" y="676"/>
                      </a:lnTo>
                      <a:lnTo>
                        <a:pt x="2473" y="671"/>
                      </a:lnTo>
                      <a:lnTo>
                        <a:pt x="2467" y="671"/>
                      </a:lnTo>
                      <a:lnTo>
                        <a:pt x="2464" y="671"/>
                      </a:lnTo>
                      <a:lnTo>
                        <a:pt x="2443" y="665"/>
                      </a:lnTo>
                      <a:lnTo>
                        <a:pt x="2423" y="659"/>
                      </a:lnTo>
                      <a:lnTo>
                        <a:pt x="2420" y="653"/>
                      </a:lnTo>
                      <a:lnTo>
                        <a:pt x="2418" y="653"/>
                      </a:lnTo>
                      <a:lnTo>
                        <a:pt x="2415" y="653"/>
                      </a:lnTo>
                      <a:lnTo>
                        <a:pt x="2410" y="653"/>
                      </a:lnTo>
                      <a:lnTo>
                        <a:pt x="2410" y="656"/>
                      </a:lnTo>
                      <a:lnTo>
                        <a:pt x="2401" y="656"/>
                      </a:lnTo>
                      <a:lnTo>
                        <a:pt x="2398" y="653"/>
                      </a:lnTo>
                      <a:lnTo>
                        <a:pt x="2398" y="651"/>
                      </a:lnTo>
                      <a:lnTo>
                        <a:pt x="2395" y="651"/>
                      </a:lnTo>
                      <a:lnTo>
                        <a:pt x="2398" y="645"/>
                      </a:lnTo>
                      <a:lnTo>
                        <a:pt x="2395" y="645"/>
                      </a:lnTo>
                      <a:lnTo>
                        <a:pt x="2392" y="645"/>
                      </a:lnTo>
                      <a:lnTo>
                        <a:pt x="2390" y="645"/>
                      </a:lnTo>
                      <a:lnTo>
                        <a:pt x="2390" y="648"/>
                      </a:lnTo>
                      <a:lnTo>
                        <a:pt x="2384" y="648"/>
                      </a:lnTo>
                      <a:lnTo>
                        <a:pt x="2384" y="651"/>
                      </a:lnTo>
                      <a:lnTo>
                        <a:pt x="2382" y="648"/>
                      </a:lnTo>
                      <a:lnTo>
                        <a:pt x="2382" y="645"/>
                      </a:lnTo>
                      <a:lnTo>
                        <a:pt x="2379" y="648"/>
                      </a:lnTo>
                      <a:lnTo>
                        <a:pt x="2379" y="645"/>
                      </a:lnTo>
                      <a:lnTo>
                        <a:pt x="2374" y="645"/>
                      </a:lnTo>
                      <a:lnTo>
                        <a:pt x="2368" y="651"/>
                      </a:lnTo>
                      <a:lnTo>
                        <a:pt x="2368" y="645"/>
                      </a:lnTo>
                      <a:lnTo>
                        <a:pt x="2365" y="648"/>
                      </a:lnTo>
                      <a:lnTo>
                        <a:pt x="2362" y="651"/>
                      </a:lnTo>
                      <a:lnTo>
                        <a:pt x="2357" y="651"/>
                      </a:lnTo>
                      <a:lnTo>
                        <a:pt x="2354" y="656"/>
                      </a:lnTo>
                      <a:lnTo>
                        <a:pt x="2351" y="656"/>
                      </a:lnTo>
                      <a:lnTo>
                        <a:pt x="2349" y="656"/>
                      </a:lnTo>
                      <a:lnTo>
                        <a:pt x="2346" y="659"/>
                      </a:lnTo>
                      <a:lnTo>
                        <a:pt x="2343" y="665"/>
                      </a:lnTo>
                      <a:lnTo>
                        <a:pt x="2335" y="665"/>
                      </a:lnTo>
                      <a:lnTo>
                        <a:pt x="2329" y="671"/>
                      </a:lnTo>
                      <a:lnTo>
                        <a:pt x="2326" y="673"/>
                      </a:lnTo>
                      <a:lnTo>
                        <a:pt x="2323" y="673"/>
                      </a:lnTo>
                      <a:lnTo>
                        <a:pt x="2321" y="673"/>
                      </a:lnTo>
                      <a:lnTo>
                        <a:pt x="2318" y="673"/>
                      </a:lnTo>
                      <a:lnTo>
                        <a:pt x="2313" y="679"/>
                      </a:lnTo>
                      <a:lnTo>
                        <a:pt x="2305" y="679"/>
                      </a:lnTo>
                      <a:lnTo>
                        <a:pt x="2302" y="684"/>
                      </a:lnTo>
                      <a:lnTo>
                        <a:pt x="2296" y="681"/>
                      </a:lnTo>
                      <a:lnTo>
                        <a:pt x="2293" y="684"/>
                      </a:lnTo>
                      <a:lnTo>
                        <a:pt x="2290" y="684"/>
                      </a:lnTo>
                      <a:lnTo>
                        <a:pt x="2288" y="684"/>
                      </a:lnTo>
                      <a:lnTo>
                        <a:pt x="2282" y="687"/>
                      </a:lnTo>
                      <a:lnTo>
                        <a:pt x="2277" y="684"/>
                      </a:lnTo>
                      <a:lnTo>
                        <a:pt x="2272" y="681"/>
                      </a:lnTo>
                      <a:lnTo>
                        <a:pt x="2269" y="679"/>
                      </a:lnTo>
                      <a:lnTo>
                        <a:pt x="2266" y="679"/>
                      </a:lnTo>
                      <a:lnTo>
                        <a:pt x="2269" y="676"/>
                      </a:lnTo>
                      <a:lnTo>
                        <a:pt x="2266" y="673"/>
                      </a:lnTo>
                      <a:lnTo>
                        <a:pt x="2269" y="668"/>
                      </a:lnTo>
                      <a:lnTo>
                        <a:pt x="2269" y="662"/>
                      </a:lnTo>
                      <a:lnTo>
                        <a:pt x="2269" y="665"/>
                      </a:lnTo>
                      <a:lnTo>
                        <a:pt x="2266" y="659"/>
                      </a:lnTo>
                      <a:lnTo>
                        <a:pt x="2263" y="659"/>
                      </a:lnTo>
                      <a:lnTo>
                        <a:pt x="2257" y="665"/>
                      </a:lnTo>
                      <a:lnTo>
                        <a:pt x="2252" y="662"/>
                      </a:lnTo>
                      <a:lnTo>
                        <a:pt x="2249" y="668"/>
                      </a:lnTo>
                      <a:lnTo>
                        <a:pt x="2244" y="668"/>
                      </a:lnTo>
                      <a:lnTo>
                        <a:pt x="2241" y="668"/>
                      </a:lnTo>
                      <a:lnTo>
                        <a:pt x="2236" y="662"/>
                      </a:lnTo>
                      <a:lnTo>
                        <a:pt x="2224" y="665"/>
                      </a:lnTo>
                      <a:lnTo>
                        <a:pt x="2221" y="662"/>
                      </a:lnTo>
                      <a:lnTo>
                        <a:pt x="2219" y="665"/>
                      </a:lnTo>
                      <a:lnTo>
                        <a:pt x="2216" y="665"/>
                      </a:lnTo>
                      <a:lnTo>
                        <a:pt x="2213" y="665"/>
                      </a:lnTo>
                      <a:lnTo>
                        <a:pt x="2213" y="668"/>
                      </a:lnTo>
                      <a:lnTo>
                        <a:pt x="2211" y="673"/>
                      </a:lnTo>
                      <a:lnTo>
                        <a:pt x="2208" y="673"/>
                      </a:lnTo>
                      <a:lnTo>
                        <a:pt x="2203" y="673"/>
                      </a:lnTo>
                      <a:lnTo>
                        <a:pt x="2200" y="676"/>
                      </a:lnTo>
                      <a:lnTo>
                        <a:pt x="2195" y="679"/>
                      </a:lnTo>
                      <a:lnTo>
                        <a:pt x="2195" y="681"/>
                      </a:lnTo>
                      <a:lnTo>
                        <a:pt x="2191" y="681"/>
                      </a:lnTo>
                      <a:lnTo>
                        <a:pt x="2188" y="681"/>
                      </a:lnTo>
                      <a:lnTo>
                        <a:pt x="2183" y="681"/>
                      </a:lnTo>
                      <a:lnTo>
                        <a:pt x="2177" y="687"/>
                      </a:lnTo>
                      <a:lnTo>
                        <a:pt x="2167" y="684"/>
                      </a:lnTo>
                      <a:lnTo>
                        <a:pt x="2152" y="687"/>
                      </a:lnTo>
                      <a:lnTo>
                        <a:pt x="2144" y="698"/>
                      </a:lnTo>
                      <a:lnTo>
                        <a:pt x="2128" y="704"/>
                      </a:lnTo>
                      <a:lnTo>
                        <a:pt x="2126" y="709"/>
                      </a:lnTo>
                      <a:lnTo>
                        <a:pt x="2128" y="714"/>
                      </a:lnTo>
                      <a:lnTo>
                        <a:pt x="2134" y="717"/>
                      </a:lnTo>
                      <a:lnTo>
                        <a:pt x="2136" y="722"/>
                      </a:lnTo>
                      <a:lnTo>
                        <a:pt x="2134" y="725"/>
                      </a:lnTo>
                      <a:lnTo>
                        <a:pt x="2134" y="728"/>
                      </a:lnTo>
                      <a:lnTo>
                        <a:pt x="2128" y="734"/>
                      </a:lnTo>
                      <a:lnTo>
                        <a:pt x="2122" y="737"/>
                      </a:lnTo>
                      <a:lnTo>
                        <a:pt x="2122" y="740"/>
                      </a:lnTo>
                      <a:lnTo>
                        <a:pt x="2119" y="740"/>
                      </a:lnTo>
                      <a:lnTo>
                        <a:pt x="2116" y="740"/>
                      </a:lnTo>
                      <a:lnTo>
                        <a:pt x="2111" y="740"/>
                      </a:lnTo>
                      <a:lnTo>
                        <a:pt x="2108" y="740"/>
                      </a:lnTo>
                      <a:lnTo>
                        <a:pt x="2106" y="740"/>
                      </a:lnTo>
                      <a:lnTo>
                        <a:pt x="2103" y="742"/>
                      </a:lnTo>
                      <a:lnTo>
                        <a:pt x="2100" y="742"/>
                      </a:lnTo>
                      <a:lnTo>
                        <a:pt x="2098" y="742"/>
                      </a:lnTo>
                      <a:lnTo>
                        <a:pt x="2095" y="750"/>
                      </a:lnTo>
                      <a:lnTo>
                        <a:pt x="2092" y="753"/>
                      </a:lnTo>
                      <a:lnTo>
                        <a:pt x="2089" y="753"/>
                      </a:lnTo>
                      <a:lnTo>
                        <a:pt x="2089" y="758"/>
                      </a:lnTo>
                      <a:lnTo>
                        <a:pt x="2083" y="764"/>
                      </a:lnTo>
                      <a:lnTo>
                        <a:pt x="2078" y="764"/>
                      </a:lnTo>
                      <a:lnTo>
                        <a:pt x="2070" y="764"/>
                      </a:lnTo>
                      <a:lnTo>
                        <a:pt x="2070" y="770"/>
                      </a:lnTo>
                      <a:lnTo>
                        <a:pt x="2073" y="773"/>
                      </a:lnTo>
                      <a:lnTo>
                        <a:pt x="2073" y="775"/>
                      </a:lnTo>
                      <a:lnTo>
                        <a:pt x="2073" y="781"/>
                      </a:lnTo>
                      <a:lnTo>
                        <a:pt x="2078" y="781"/>
                      </a:lnTo>
                      <a:lnTo>
                        <a:pt x="2081" y="783"/>
                      </a:lnTo>
                      <a:lnTo>
                        <a:pt x="2081" y="789"/>
                      </a:lnTo>
                      <a:lnTo>
                        <a:pt x="2086" y="791"/>
                      </a:lnTo>
                      <a:lnTo>
                        <a:pt x="2086" y="794"/>
                      </a:lnTo>
                      <a:lnTo>
                        <a:pt x="2078" y="797"/>
                      </a:lnTo>
                      <a:lnTo>
                        <a:pt x="2075" y="794"/>
                      </a:lnTo>
                      <a:lnTo>
                        <a:pt x="2075" y="797"/>
                      </a:lnTo>
                      <a:lnTo>
                        <a:pt x="2073" y="797"/>
                      </a:lnTo>
                      <a:lnTo>
                        <a:pt x="2073" y="794"/>
                      </a:lnTo>
                      <a:lnTo>
                        <a:pt x="2070" y="794"/>
                      </a:lnTo>
                      <a:lnTo>
                        <a:pt x="2067" y="791"/>
                      </a:lnTo>
                      <a:lnTo>
                        <a:pt x="2062" y="794"/>
                      </a:lnTo>
                      <a:lnTo>
                        <a:pt x="2059" y="794"/>
                      </a:lnTo>
                      <a:lnTo>
                        <a:pt x="2059" y="797"/>
                      </a:lnTo>
                      <a:lnTo>
                        <a:pt x="2057" y="794"/>
                      </a:lnTo>
                      <a:lnTo>
                        <a:pt x="2053" y="797"/>
                      </a:lnTo>
                      <a:lnTo>
                        <a:pt x="2053" y="794"/>
                      </a:lnTo>
                      <a:lnTo>
                        <a:pt x="2050" y="797"/>
                      </a:lnTo>
                      <a:lnTo>
                        <a:pt x="2048" y="799"/>
                      </a:lnTo>
                      <a:lnTo>
                        <a:pt x="2045" y="806"/>
                      </a:lnTo>
                      <a:lnTo>
                        <a:pt x="2042" y="808"/>
                      </a:lnTo>
                      <a:lnTo>
                        <a:pt x="2039" y="808"/>
                      </a:lnTo>
                      <a:lnTo>
                        <a:pt x="2034" y="806"/>
                      </a:lnTo>
                      <a:lnTo>
                        <a:pt x="2034" y="808"/>
                      </a:lnTo>
                      <a:lnTo>
                        <a:pt x="2037" y="811"/>
                      </a:lnTo>
                      <a:lnTo>
                        <a:pt x="2034" y="814"/>
                      </a:lnTo>
                      <a:lnTo>
                        <a:pt x="2031" y="817"/>
                      </a:lnTo>
                      <a:lnTo>
                        <a:pt x="2026" y="814"/>
                      </a:lnTo>
                      <a:lnTo>
                        <a:pt x="2020" y="817"/>
                      </a:lnTo>
                      <a:lnTo>
                        <a:pt x="2014" y="817"/>
                      </a:lnTo>
                      <a:lnTo>
                        <a:pt x="2012" y="814"/>
                      </a:lnTo>
                      <a:lnTo>
                        <a:pt x="2009" y="819"/>
                      </a:lnTo>
                      <a:lnTo>
                        <a:pt x="2006" y="817"/>
                      </a:lnTo>
                      <a:lnTo>
                        <a:pt x="2006" y="811"/>
                      </a:lnTo>
                      <a:lnTo>
                        <a:pt x="2001" y="811"/>
                      </a:lnTo>
                      <a:lnTo>
                        <a:pt x="2001" y="814"/>
                      </a:lnTo>
                      <a:lnTo>
                        <a:pt x="1996" y="817"/>
                      </a:lnTo>
                      <a:lnTo>
                        <a:pt x="1996" y="819"/>
                      </a:lnTo>
                      <a:lnTo>
                        <a:pt x="1993" y="819"/>
                      </a:lnTo>
                      <a:lnTo>
                        <a:pt x="1990" y="822"/>
                      </a:lnTo>
                      <a:lnTo>
                        <a:pt x="1987" y="825"/>
                      </a:lnTo>
                      <a:lnTo>
                        <a:pt x="1984" y="822"/>
                      </a:lnTo>
                      <a:lnTo>
                        <a:pt x="1981" y="822"/>
                      </a:lnTo>
                      <a:lnTo>
                        <a:pt x="1979" y="827"/>
                      </a:lnTo>
                      <a:lnTo>
                        <a:pt x="1979" y="830"/>
                      </a:lnTo>
                      <a:lnTo>
                        <a:pt x="1976" y="833"/>
                      </a:lnTo>
                      <a:lnTo>
                        <a:pt x="1973" y="836"/>
                      </a:lnTo>
                      <a:lnTo>
                        <a:pt x="1945" y="844"/>
                      </a:lnTo>
                      <a:lnTo>
                        <a:pt x="1945" y="855"/>
                      </a:lnTo>
                      <a:lnTo>
                        <a:pt x="1948" y="855"/>
                      </a:lnTo>
                      <a:lnTo>
                        <a:pt x="1948" y="858"/>
                      </a:lnTo>
                      <a:lnTo>
                        <a:pt x="1948" y="860"/>
                      </a:lnTo>
                      <a:lnTo>
                        <a:pt x="1945" y="860"/>
                      </a:lnTo>
                      <a:lnTo>
                        <a:pt x="1940" y="863"/>
                      </a:lnTo>
                      <a:lnTo>
                        <a:pt x="1937" y="863"/>
                      </a:lnTo>
                      <a:lnTo>
                        <a:pt x="1932" y="866"/>
                      </a:lnTo>
                      <a:lnTo>
                        <a:pt x="1932" y="863"/>
                      </a:lnTo>
                      <a:lnTo>
                        <a:pt x="1932" y="860"/>
                      </a:lnTo>
                      <a:lnTo>
                        <a:pt x="1929" y="860"/>
                      </a:lnTo>
                      <a:lnTo>
                        <a:pt x="1929" y="858"/>
                      </a:lnTo>
                      <a:lnTo>
                        <a:pt x="1927" y="860"/>
                      </a:lnTo>
                      <a:lnTo>
                        <a:pt x="1927" y="858"/>
                      </a:lnTo>
                      <a:lnTo>
                        <a:pt x="1924" y="860"/>
                      </a:lnTo>
                      <a:lnTo>
                        <a:pt x="1921" y="858"/>
                      </a:lnTo>
                      <a:lnTo>
                        <a:pt x="1921" y="855"/>
                      </a:lnTo>
                      <a:lnTo>
                        <a:pt x="1917" y="855"/>
                      </a:lnTo>
                      <a:lnTo>
                        <a:pt x="1915" y="852"/>
                      </a:lnTo>
                      <a:lnTo>
                        <a:pt x="1915" y="855"/>
                      </a:lnTo>
                      <a:lnTo>
                        <a:pt x="1909" y="852"/>
                      </a:lnTo>
                      <a:lnTo>
                        <a:pt x="1901" y="842"/>
                      </a:lnTo>
                      <a:lnTo>
                        <a:pt x="1896" y="839"/>
                      </a:lnTo>
                      <a:lnTo>
                        <a:pt x="1871" y="836"/>
                      </a:lnTo>
                      <a:lnTo>
                        <a:pt x="1855" y="844"/>
                      </a:lnTo>
                      <a:lnTo>
                        <a:pt x="1838" y="844"/>
                      </a:lnTo>
                      <a:lnTo>
                        <a:pt x="1835" y="839"/>
                      </a:lnTo>
                      <a:lnTo>
                        <a:pt x="1832" y="836"/>
                      </a:lnTo>
                      <a:lnTo>
                        <a:pt x="1824" y="836"/>
                      </a:lnTo>
                      <a:lnTo>
                        <a:pt x="1822" y="839"/>
                      </a:lnTo>
                      <a:lnTo>
                        <a:pt x="1824" y="839"/>
                      </a:lnTo>
                      <a:lnTo>
                        <a:pt x="1815" y="842"/>
                      </a:lnTo>
                      <a:lnTo>
                        <a:pt x="1813" y="842"/>
                      </a:lnTo>
                      <a:lnTo>
                        <a:pt x="1807" y="847"/>
                      </a:lnTo>
                      <a:lnTo>
                        <a:pt x="1802" y="858"/>
                      </a:lnTo>
                      <a:lnTo>
                        <a:pt x="1805" y="860"/>
                      </a:lnTo>
                      <a:lnTo>
                        <a:pt x="1805" y="863"/>
                      </a:lnTo>
                      <a:lnTo>
                        <a:pt x="1797" y="868"/>
                      </a:lnTo>
                      <a:lnTo>
                        <a:pt x="1797" y="875"/>
                      </a:lnTo>
                      <a:lnTo>
                        <a:pt x="1799" y="877"/>
                      </a:lnTo>
                      <a:lnTo>
                        <a:pt x="1799" y="880"/>
                      </a:lnTo>
                      <a:lnTo>
                        <a:pt x="1797" y="880"/>
                      </a:lnTo>
                      <a:lnTo>
                        <a:pt x="1794" y="883"/>
                      </a:lnTo>
                      <a:lnTo>
                        <a:pt x="1791" y="883"/>
                      </a:lnTo>
                      <a:lnTo>
                        <a:pt x="1783" y="875"/>
                      </a:lnTo>
                      <a:lnTo>
                        <a:pt x="1771" y="868"/>
                      </a:lnTo>
                      <a:lnTo>
                        <a:pt x="1763" y="855"/>
                      </a:lnTo>
                      <a:lnTo>
                        <a:pt x="1753" y="855"/>
                      </a:lnTo>
                      <a:lnTo>
                        <a:pt x="1750" y="850"/>
                      </a:lnTo>
                      <a:lnTo>
                        <a:pt x="1750" y="855"/>
                      </a:lnTo>
                      <a:lnTo>
                        <a:pt x="1746" y="850"/>
                      </a:lnTo>
                      <a:lnTo>
                        <a:pt x="1750" y="842"/>
                      </a:lnTo>
                      <a:lnTo>
                        <a:pt x="1741" y="830"/>
                      </a:lnTo>
                      <a:lnTo>
                        <a:pt x="1738" y="827"/>
                      </a:lnTo>
                      <a:lnTo>
                        <a:pt x="1728" y="822"/>
                      </a:lnTo>
                      <a:lnTo>
                        <a:pt x="1725" y="822"/>
                      </a:lnTo>
                      <a:lnTo>
                        <a:pt x="1720" y="830"/>
                      </a:lnTo>
                      <a:lnTo>
                        <a:pt x="1714" y="833"/>
                      </a:lnTo>
                      <a:lnTo>
                        <a:pt x="1705" y="839"/>
                      </a:lnTo>
                      <a:lnTo>
                        <a:pt x="1702" y="836"/>
                      </a:lnTo>
                      <a:lnTo>
                        <a:pt x="1702" y="833"/>
                      </a:lnTo>
                      <a:lnTo>
                        <a:pt x="1702" y="827"/>
                      </a:lnTo>
                      <a:lnTo>
                        <a:pt x="1708" y="822"/>
                      </a:lnTo>
                      <a:lnTo>
                        <a:pt x="1692" y="811"/>
                      </a:lnTo>
                      <a:lnTo>
                        <a:pt x="1686" y="814"/>
                      </a:lnTo>
                      <a:lnTo>
                        <a:pt x="1677" y="822"/>
                      </a:lnTo>
                      <a:lnTo>
                        <a:pt x="1677" y="819"/>
                      </a:lnTo>
                      <a:lnTo>
                        <a:pt x="1677" y="817"/>
                      </a:lnTo>
                      <a:lnTo>
                        <a:pt x="1677" y="814"/>
                      </a:lnTo>
                      <a:lnTo>
                        <a:pt x="1677" y="808"/>
                      </a:lnTo>
                      <a:lnTo>
                        <a:pt x="1675" y="808"/>
                      </a:lnTo>
                      <a:lnTo>
                        <a:pt x="1672" y="803"/>
                      </a:lnTo>
                      <a:lnTo>
                        <a:pt x="1672" y="799"/>
                      </a:lnTo>
                      <a:lnTo>
                        <a:pt x="1672" y="797"/>
                      </a:lnTo>
                      <a:lnTo>
                        <a:pt x="1667" y="791"/>
                      </a:lnTo>
                      <a:lnTo>
                        <a:pt x="1664" y="789"/>
                      </a:lnTo>
                      <a:lnTo>
                        <a:pt x="1659" y="783"/>
                      </a:lnTo>
                      <a:lnTo>
                        <a:pt x="1651" y="773"/>
                      </a:lnTo>
                      <a:lnTo>
                        <a:pt x="1645" y="767"/>
                      </a:lnTo>
                      <a:lnTo>
                        <a:pt x="1645" y="764"/>
                      </a:lnTo>
                      <a:lnTo>
                        <a:pt x="1645" y="761"/>
                      </a:lnTo>
                      <a:lnTo>
                        <a:pt x="1639" y="761"/>
                      </a:lnTo>
                      <a:lnTo>
                        <a:pt x="1636" y="756"/>
                      </a:lnTo>
                      <a:lnTo>
                        <a:pt x="1608" y="745"/>
                      </a:lnTo>
                      <a:lnTo>
                        <a:pt x="1603" y="740"/>
                      </a:lnTo>
                      <a:lnTo>
                        <a:pt x="1595" y="734"/>
                      </a:lnTo>
                      <a:lnTo>
                        <a:pt x="1590" y="734"/>
                      </a:lnTo>
                      <a:lnTo>
                        <a:pt x="1582" y="734"/>
                      </a:lnTo>
                      <a:lnTo>
                        <a:pt x="1570" y="722"/>
                      </a:lnTo>
                      <a:lnTo>
                        <a:pt x="1573" y="720"/>
                      </a:lnTo>
                      <a:lnTo>
                        <a:pt x="1573" y="712"/>
                      </a:lnTo>
                      <a:lnTo>
                        <a:pt x="1573" y="709"/>
                      </a:lnTo>
                      <a:lnTo>
                        <a:pt x="1565" y="709"/>
                      </a:lnTo>
                      <a:lnTo>
                        <a:pt x="1559" y="706"/>
                      </a:lnTo>
                      <a:lnTo>
                        <a:pt x="1556" y="706"/>
                      </a:lnTo>
                      <a:lnTo>
                        <a:pt x="1551" y="704"/>
                      </a:lnTo>
                      <a:lnTo>
                        <a:pt x="1543" y="712"/>
                      </a:lnTo>
                      <a:lnTo>
                        <a:pt x="1534" y="709"/>
                      </a:lnTo>
                      <a:lnTo>
                        <a:pt x="1529" y="712"/>
                      </a:lnTo>
                      <a:lnTo>
                        <a:pt x="1523" y="717"/>
                      </a:lnTo>
                      <a:lnTo>
                        <a:pt x="1521" y="722"/>
                      </a:lnTo>
                      <a:lnTo>
                        <a:pt x="1523" y="725"/>
                      </a:lnTo>
                      <a:lnTo>
                        <a:pt x="1521" y="728"/>
                      </a:lnTo>
                      <a:lnTo>
                        <a:pt x="1510" y="728"/>
                      </a:lnTo>
                      <a:lnTo>
                        <a:pt x="1504" y="725"/>
                      </a:lnTo>
                      <a:lnTo>
                        <a:pt x="1501" y="722"/>
                      </a:lnTo>
                      <a:lnTo>
                        <a:pt x="1504" y="720"/>
                      </a:lnTo>
                      <a:lnTo>
                        <a:pt x="1504" y="717"/>
                      </a:lnTo>
                      <a:lnTo>
                        <a:pt x="1493" y="722"/>
                      </a:lnTo>
                      <a:lnTo>
                        <a:pt x="1493" y="717"/>
                      </a:lnTo>
                      <a:lnTo>
                        <a:pt x="1487" y="720"/>
                      </a:lnTo>
                      <a:lnTo>
                        <a:pt x="1487" y="717"/>
                      </a:lnTo>
                      <a:lnTo>
                        <a:pt x="1490" y="714"/>
                      </a:lnTo>
                      <a:lnTo>
                        <a:pt x="1493" y="712"/>
                      </a:lnTo>
                      <a:lnTo>
                        <a:pt x="1493" y="709"/>
                      </a:lnTo>
                      <a:lnTo>
                        <a:pt x="1493" y="704"/>
                      </a:lnTo>
                      <a:lnTo>
                        <a:pt x="1487" y="701"/>
                      </a:lnTo>
                      <a:lnTo>
                        <a:pt x="1485" y="696"/>
                      </a:lnTo>
                      <a:lnTo>
                        <a:pt x="1485" y="692"/>
                      </a:lnTo>
                      <a:lnTo>
                        <a:pt x="1479" y="687"/>
                      </a:lnTo>
                      <a:lnTo>
                        <a:pt x="1477" y="681"/>
                      </a:lnTo>
                      <a:lnTo>
                        <a:pt x="1474" y="679"/>
                      </a:lnTo>
                      <a:lnTo>
                        <a:pt x="1474" y="676"/>
                      </a:lnTo>
                      <a:lnTo>
                        <a:pt x="1470" y="676"/>
                      </a:lnTo>
                      <a:lnTo>
                        <a:pt x="1468" y="673"/>
                      </a:lnTo>
                      <a:lnTo>
                        <a:pt x="1468" y="668"/>
                      </a:lnTo>
                      <a:lnTo>
                        <a:pt x="1462" y="662"/>
                      </a:lnTo>
                      <a:lnTo>
                        <a:pt x="1460" y="665"/>
                      </a:lnTo>
                      <a:lnTo>
                        <a:pt x="1457" y="665"/>
                      </a:lnTo>
                      <a:lnTo>
                        <a:pt x="1454" y="665"/>
                      </a:lnTo>
                      <a:lnTo>
                        <a:pt x="1446" y="673"/>
                      </a:lnTo>
                      <a:lnTo>
                        <a:pt x="1444" y="673"/>
                      </a:lnTo>
                      <a:lnTo>
                        <a:pt x="1435" y="679"/>
                      </a:lnTo>
                      <a:lnTo>
                        <a:pt x="1437" y="681"/>
                      </a:lnTo>
                      <a:lnTo>
                        <a:pt x="1437" y="687"/>
                      </a:lnTo>
                      <a:lnTo>
                        <a:pt x="1432" y="692"/>
                      </a:lnTo>
                      <a:lnTo>
                        <a:pt x="1435" y="696"/>
                      </a:lnTo>
                      <a:lnTo>
                        <a:pt x="1432" y="712"/>
                      </a:lnTo>
                      <a:lnTo>
                        <a:pt x="1429" y="714"/>
                      </a:lnTo>
                      <a:lnTo>
                        <a:pt x="1426" y="720"/>
                      </a:lnTo>
                      <a:lnTo>
                        <a:pt x="1421" y="725"/>
                      </a:lnTo>
                      <a:lnTo>
                        <a:pt x="1416" y="728"/>
                      </a:lnTo>
                      <a:lnTo>
                        <a:pt x="1416" y="731"/>
                      </a:lnTo>
                      <a:lnTo>
                        <a:pt x="1413" y="740"/>
                      </a:lnTo>
                      <a:lnTo>
                        <a:pt x="1410" y="737"/>
                      </a:lnTo>
                      <a:lnTo>
                        <a:pt x="1405" y="740"/>
                      </a:lnTo>
                      <a:lnTo>
                        <a:pt x="1401" y="745"/>
                      </a:lnTo>
                      <a:lnTo>
                        <a:pt x="1391" y="756"/>
                      </a:lnTo>
                      <a:lnTo>
                        <a:pt x="1388" y="761"/>
                      </a:lnTo>
                      <a:lnTo>
                        <a:pt x="1385" y="764"/>
                      </a:lnTo>
                      <a:lnTo>
                        <a:pt x="1383" y="767"/>
                      </a:lnTo>
                      <a:lnTo>
                        <a:pt x="1383" y="770"/>
                      </a:lnTo>
                      <a:lnTo>
                        <a:pt x="1377" y="775"/>
                      </a:lnTo>
                      <a:lnTo>
                        <a:pt x="1375" y="783"/>
                      </a:lnTo>
                      <a:lnTo>
                        <a:pt x="1368" y="786"/>
                      </a:lnTo>
                      <a:lnTo>
                        <a:pt x="1366" y="786"/>
                      </a:lnTo>
                      <a:lnTo>
                        <a:pt x="1360" y="786"/>
                      </a:lnTo>
                      <a:lnTo>
                        <a:pt x="1355" y="786"/>
                      </a:lnTo>
                      <a:lnTo>
                        <a:pt x="1352" y="791"/>
                      </a:lnTo>
                      <a:lnTo>
                        <a:pt x="1347" y="791"/>
                      </a:lnTo>
                      <a:lnTo>
                        <a:pt x="1344" y="791"/>
                      </a:lnTo>
                      <a:lnTo>
                        <a:pt x="1339" y="794"/>
                      </a:lnTo>
                      <a:lnTo>
                        <a:pt x="1332" y="794"/>
                      </a:lnTo>
                      <a:lnTo>
                        <a:pt x="1327" y="794"/>
                      </a:lnTo>
                      <a:lnTo>
                        <a:pt x="1324" y="797"/>
                      </a:lnTo>
                      <a:lnTo>
                        <a:pt x="1316" y="806"/>
                      </a:lnTo>
                      <a:lnTo>
                        <a:pt x="1308" y="814"/>
                      </a:lnTo>
                      <a:lnTo>
                        <a:pt x="1303" y="825"/>
                      </a:lnTo>
                      <a:lnTo>
                        <a:pt x="1303" y="827"/>
                      </a:lnTo>
                      <a:lnTo>
                        <a:pt x="1303" y="833"/>
                      </a:lnTo>
                      <a:lnTo>
                        <a:pt x="1291" y="844"/>
                      </a:lnTo>
                      <a:lnTo>
                        <a:pt x="1283" y="847"/>
                      </a:lnTo>
                      <a:lnTo>
                        <a:pt x="1270" y="860"/>
                      </a:lnTo>
                      <a:lnTo>
                        <a:pt x="1263" y="844"/>
                      </a:lnTo>
                      <a:lnTo>
                        <a:pt x="1250" y="814"/>
                      </a:lnTo>
                      <a:lnTo>
                        <a:pt x="1253" y="808"/>
                      </a:lnTo>
                      <a:lnTo>
                        <a:pt x="1247" y="794"/>
                      </a:lnTo>
                      <a:lnTo>
                        <a:pt x="1242" y="786"/>
                      </a:lnTo>
                      <a:lnTo>
                        <a:pt x="1239" y="783"/>
                      </a:lnTo>
                      <a:lnTo>
                        <a:pt x="1237" y="781"/>
                      </a:lnTo>
                      <a:lnTo>
                        <a:pt x="1234" y="770"/>
                      </a:lnTo>
                      <a:lnTo>
                        <a:pt x="1242" y="761"/>
                      </a:lnTo>
                      <a:lnTo>
                        <a:pt x="1237" y="761"/>
                      </a:lnTo>
                      <a:lnTo>
                        <a:pt x="1234" y="756"/>
                      </a:lnTo>
                      <a:lnTo>
                        <a:pt x="1237" y="750"/>
                      </a:lnTo>
                      <a:lnTo>
                        <a:pt x="1245" y="745"/>
                      </a:lnTo>
                      <a:lnTo>
                        <a:pt x="1247" y="742"/>
                      </a:lnTo>
                      <a:lnTo>
                        <a:pt x="1247" y="740"/>
                      </a:lnTo>
                      <a:lnTo>
                        <a:pt x="1245" y="731"/>
                      </a:lnTo>
                      <a:lnTo>
                        <a:pt x="1237" y="722"/>
                      </a:lnTo>
                      <a:lnTo>
                        <a:pt x="1237" y="717"/>
                      </a:lnTo>
                      <a:lnTo>
                        <a:pt x="1228" y="717"/>
                      </a:lnTo>
                      <a:lnTo>
                        <a:pt x="1222" y="720"/>
                      </a:lnTo>
                      <a:lnTo>
                        <a:pt x="1220" y="720"/>
                      </a:lnTo>
                      <a:lnTo>
                        <a:pt x="1209" y="731"/>
                      </a:lnTo>
                      <a:lnTo>
                        <a:pt x="1201" y="740"/>
                      </a:lnTo>
                      <a:lnTo>
                        <a:pt x="1192" y="737"/>
                      </a:lnTo>
                      <a:lnTo>
                        <a:pt x="1186" y="734"/>
                      </a:lnTo>
                      <a:lnTo>
                        <a:pt x="1181" y="731"/>
                      </a:lnTo>
                      <a:lnTo>
                        <a:pt x="1170" y="722"/>
                      </a:lnTo>
                      <a:lnTo>
                        <a:pt x="1161" y="714"/>
                      </a:lnTo>
                      <a:lnTo>
                        <a:pt x="1156" y="706"/>
                      </a:lnTo>
                      <a:lnTo>
                        <a:pt x="1153" y="701"/>
                      </a:lnTo>
                      <a:lnTo>
                        <a:pt x="1153" y="698"/>
                      </a:lnTo>
                      <a:lnTo>
                        <a:pt x="1156" y="696"/>
                      </a:lnTo>
                      <a:lnTo>
                        <a:pt x="1156" y="692"/>
                      </a:lnTo>
                      <a:lnTo>
                        <a:pt x="1159" y="689"/>
                      </a:lnTo>
                      <a:lnTo>
                        <a:pt x="1170" y="681"/>
                      </a:lnTo>
                      <a:lnTo>
                        <a:pt x="1173" y="676"/>
                      </a:lnTo>
                      <a:lnTo>
                        <a:pt x="1176" y="665"/>
                      </a:lnTo>
                      <a:lnTo>
                        <a:pt x="1170" y="659"/>
                      </a:lnTo>
                      <a:lnTo>
                        <a:pt x="1159" y="651"/>
                      </a:lnTo>
                      <a:lnTo>
                        <a:pt x="1142" y="648"/>
                      </a:lnTo>
                      <a:lnTo>
                        <a:pt x="1134" y="651"/>
                      </a:lnTo>
                      <a:lnTo>
                        <a:pt x="1120" y="673"/>
                      </a:lnTo>
                      <a:lnTo>
                        <a:pt x="1117" y="679"/>
                      </a:lnTo>
                      <a:lnTo>
                        <a:pt x="1117" y="704"/>
                      </a:lnTo>
                      <a:lnTo>
                        <a:pt x="1112" y="714"/>
                      </a:lnTo>
                      <a:lnTo>
                        <a:pt x="1109" y="714"/>
                      </a:lnTo>
                      <a:lnTo>
                        <a:pt x="1104" y="717"/>
                      </a:lnTo>
                      <a:lnTo>
                        <a:pt x="1092" y="712"/>
                      </a:lnTo>
                      <a:lnTo>
                        <a:pt x="1087" y="701"/>
                      </a:lnTo>
                      <a:lnTo>
                        <a:pt x="1084" y="696"/>
                      </a:lnTo>
                      <a:lnTo>
                        <a:pt x="1084" y="687"/>
                      </a:lnTo>
                      <a:lnTo>
                        <a:pt x="1082" y="673"/>
                      </a:lnTo>
                      <a:lnTo>
                        <a:pt x="1079" y="665"/>
                      </a:lnTo>
                      <a:lnTo>
                        <a:pt x="1073" y="659"/>
                      </a:lnTo>
                      <a:lnTo>
                        <a:pt x="1065" y="656"/>
                      </a:lnTo>
                      <a:lnTo>
                        <a:pt x="1054" y="645"/>
                      </a:lnTo>
                      <a:lnTo>
                        <a:pt x="1043" y="637"/>
                      </a:lnTo>
                      <a:lnTo>
                        <a:pt x="1040" y="635"/>
                      </a:lnTo>
                      <a:lnTo>
                        <a:pt x="1038" y="635"/>
                      </a:lnTo>
                      <a:lnTo>
                        <a:pt x="1018" y="632"/>
                      </a:lnTo>
                      <a:lnTo>
                        <a:pt x="1013" y="632"/>
                      </a:lnTo>
                      <a:lnTo>
                        <a:pt x="1007" y="635"/>
                      </a:lnTo>
                      <a:lnTo>
                        <a:pt x="990" y="637"/>
                      </a:lnTo>
                      <a:lnTo>
                        <a:pt x="982" y="640"/>
                      </a:lnTo>
                      <a:lnTo>
                        <a:pt x="979" y="640"/>
                      </a:lnTo>
                      <a:lnTo>
                        <a:pt x="977" y="640"/>
                      </a:lnTo>
                      <a:lnTo>
                        <a:pt x="974" y="637"/>
                      </a:lnTo>
                      <a:lnTo>
                        <a:pt x="969" y="635"/>
                      </a:lnTo>
                      <a:lnTo>
                        <a:pt x="963" y="623"/>
                      </a:lnTo>
                      <a:lnTo>
                        <a:pt x="952" y="618"/>
                      </a:lnTo>
                      <a:lnTo>
                        <a:pt x="946" y="612"/>
                      </a:lnTo>
                      <a:lnTo>
                        <a:pt x="943" y="612"/>
                      </a:lnTo>
                      <a:lnTo>
                        <a:pt x="933" y="610"/>
                      </a:lnTo>
                      <a:lnTo>
                        <a:pt x="921" y="607"/>
                      </a:lnTo>
                      <a:lnTo>
                        <a:pt x="908" y="604"/>
                      </a:lnTo>
                      <a:lnTo>
                        <a:pt x="897" y="602"/>
                      </a:lnTo>
                      <a:lnTo>
                        <a:pt x="897" y="599"/>
                      </a:lnTo>
                      <a:lnTo>
                        <a:pt x="892" y="593"/>
                      </a:lnTo>
                      <a:lnTo>
                        <a:pt x="889" y="596"/>
                      </a:lnTo>
                      <a:lnTo>
                        <a:pt x="885" y="599"/>
                      </a:lnTo>
                      <a:lnTo>
                        <a:pt x="877" y="602"/>
                      </a:lnTo>
                      <a:lnTo>
                        <a:pt x="869" y="599"/>
                      </a:lnTo>
                      <a:lnTo>
                        <a:pt x="869" y="602"/>
                      </a:lnTo>
                      <a:lnTo>
                        <a:pt x="866" y="602"/>
                      </a:lnTo>
                      <a:lnTo>
                        <a:pt x="864" y="599"/>
                      </a:lnTo>
                      <a:lnTo>
                        <a:pt x="861" y="596"/>
                      </a:lnTo>
                      <a:lnTo>
                        <a:pt x="858" y="591"/>
                      </a:lnTo>
                      <a:lnTo>
                        <a:pt x="858" y="587"/>
                      </a:lnTo>
                      <a:lnTo>
                        <a:pt x="858" y="574"/>
                      </a:lnTo>
                      <a:lnTo>
                        <a:pt x="861" y="571"/>
                      </a:lnTo>
                      <a:lnTo>
                        <a:pt x="858" y="566"/>
                      </a:lnTo>
                      <a:lnTo>
                        <a:pt x="856" y="563"/>
                      </a:lnTo>
                      <a:lnTo>
                        <a:pt x="849" y="560"/>
                      </a:lnTo>
                      <a:lnTo>
                        <a:pt x="847" y="551"/>
                      </a:lnTo>
                      <a:lnTo>
                        <a:pt x="847" y="549"/>
                      </a:lnTo>
                      <a:lnTo>
                        <a:pt x="847" y="546"/>
                      </a:lnTo>
                      <a:lnTo>
                        <a:pt x="844" y="541"/>
                      </a:lnTo>
                      <a:lnTo>
                        <a:pt x="841" y="538"/>
                      </a:lnTo>
                      <a:lnTo>
                        <a:pt x="836" y="538"/>
                      </a:lnTo>
                      <a:lnTo>
                        <a:pt x="825" y="538"/>
                      </a:lnTo>
                      <a:lnTo>
                        <a:pt x="820" y="538"/>
                      </a:lnTo>
                      <a:lnTo>
                        <a:pt x="814" y="533"/>
                      </a:lnTo>
                      <a:lnTo>
                        <a:pt x="811" y="530"/>
                      </a:lnTo>
                      <a:lnTo>
                        <a:pt x="808" y="527"/>
                      </a:lnTo>
                      <a:lnTo>
                        <a:pt x="806" y="527"/>
                      </a:lnTo>
                      <a:lnTo>
                        <a:pt x="803" y="527"/>
                      </a:lnTo>
                      <a:lnTo>
                        <a:pt x="792" y="530"/>
                      </a:lnTo>
                      <a:lnTo>
                        <a:pt x="789" y="530"/>
                      </a:lnTo>
                      <a:lnTo>
                        <a:pt x="787" y="538"/>
                      </a:lnTo>
                      <a:lnTo>
                        <a:pt x="780" y="538"/>
                      </a:lnTo>
                      <a:lnTo>
                        <a:pt x="775" y="538"/>
                      </a:lnTo>
                      <a:lnTo>
                        <a:pt x="772" y="541"/>
                      </a:lnTo>
                      <a:lnTo>
                        <a:pt x="772" y="546"/>
                      </a:lnTo>
                      <a:lnTo>
                        <a:pt x="764" y="551"/>
                      </a:lnTo>
                      <a:lnTo>
                        <a:pt x="747" y="558"/>
                      </a:lnTo>
                      <a:lnTo>
                        <a:pt x="745" y="560"/>
                      </a:lnTo>
                      <a:lnTo>
                        <a:pt x="734" y="563"/>
                      </a:lnTo>
                      <a:lnTo>
                        <a:pt x="731" y="566"/>
                      </a:lnTo>
                      <a:lnTo>
                        <a:pt x="728" y="568"/>
                      </a:lnTo>
                      <a:lnTo>
                        <a:pt x="728" y="571"/>
                      </a:lnTo>
                      <a:lnTo>
                        <a:pt x="711" y="576"/>
                      </a:lnTo>
                      <a:lnTo>
                        <a:pt x="703" y="576"/>
                      </a:lnTo>
                      <a:lnTo>
                        <a:pt x="695" y="579"/>
                      </a:lnTo>
                      <a:lnTo>
                        <a:pt x="690" y="579"/>
                      </a:lnTo>
                      <a:lnTo>
                        <a:pt x="678" y="579"/>
                      </a:lnTo>
                      <a:lnTo>
                        <a:pt x="676" y="587"/>
                      </a:lnTo>
                      <a:lnTo>
                        <a:pt x="681" y="599"/>
                      </a:lnTo>
                      <a:lnTo>
                        <a:pt x="685" y="612"/>
                      </a:lnTo>
                      <a:lnTo>
                        <a:pt x="685" y="615"/>
                      </a:lnTo>
                      <a:lnTo>
                        <a:pt x="685" y="620"/>
                      </a:lnTo>
                      <a:lnTo>
                        <a:pt x="687" y="629"/>
                      </a:lnTo>
                      <a:lnTo>
                        <a:pt x="685" y="632"/>
                      </a:lnTo>
                      <a:lnTo>
                        <a:pt x="681" y="635"/>
                      </a:lnTo>
                      <a:lnTo>
                        <a:pt x="678" y="637"/>
                      </a:lnTo>
                      <a:lnTo>
                        <a:pt x="673" y="637"/>
                      </a:lnTo>
                      <a:lnTo>
                        <a:pt x="654" y="635"/>
                      </a:lnTo>
                      <a:lnTo>
                        <a:pt x="637" y="645"/>
                      </a:lnTo>
                      <a:lnTo>
                        <a:pt x="632" y="645"/>
                      </a:lnTo>
                      <a:lnTo>
                        <a:pt x="626" y="643"/>
                      </a:lnTo>
                      <a:lnTo>
                        <a:pt x="604" y="648"/>
                      </a:lnTo>
                      <a:lnTo>
                        <a:pt x="596" y="651"/>
                      </a:lnTo>
                      <a:lnTo>
                        <a:pt x="593" y="653"/>
                      </a:lnTo>
                      <a:lnTo>
                        <a:pt x="593" y="659"/>
                      </a:lnTo>
                      <a:lnTo>
                        <a:pt x="593" y="662"/>
                      </a:lnTo>
                      <a:lnTo>
                        <a:pt x="593" y="665"/>
                      </a:lnTo>
                      <a:lnTo>
                        <a:pt x="601" y="681"/>
                      </a:lnTo>
                      <a:lnTo>
                        <a:pt x="604" y="692"/>
                      </a:lnTo>
                      <a:lnTo>
                        <a:pt x="596" y="709"/>
                      </a:lnTo>
                      <a:lnTo>
                        <a:pt x="591" y="712"/>
                      </a:lnTo>
                      <a:lnTo>
                        <a:pt x="588" y="720"/>
                      </a:lnTo>
                      <a:lnTo>
                        <a:pt x="585" y="722"/>
                      </a:lnTo>
                      <a:lnTo>
                        <a:pt x="568" y="742"/>
                      </a:lnTo>
                      <a:lnTo>
                        <a:pt x="560" y="745"/>
                      </a:lnTo>
                      <a:lnTo>
                        <a:pt x="555" y="748"/>
                      </a:lnTo>
                      <a:lnTo>
                        <a:pt x="552" y="748"/>
                      </a:lnTo>
                      <a:lnTo>
                        <a:pt x="538" y="748"/>
                      </a:lnTo>
                      <a:lnTo>
                        <a:pt x="527" y="748"/>
                      </a:lnTo>
                      <a:lnTo>
                        <a:pt x="522" y="753"/>
                      </a:lnTo>
                      <a:lnTo>
                        <a:pt x="516" y="758"/>
                      </a:lnTo>
                      <a:lnTo>
                        <a:pt x="499" y="767"/>
                      </a:lnTo>
                      <a:lnTo>
                        <a:pt x="491" y="767"/>
                      </a:lnTo>
                      <a:lnTo>
                        <a:pt x="486" y="767"/>
                      </a:lnTo>
                      <a:lnTo>
                        <a:pt x="483" y="761"/>
                      </a:lnTo>
                      <a:lnTo>
                        <a:pt x="474" y="756"/>
                      </a:lnTo>
                      <a:lnTo>
                        <a:pt x="466" y="748"/>
                      </a:lnTo>
                      <a:lnTo>
                        <a:pt x="463" y="748"/>
                      </a:lnTo>
                      <a:lnTo>
                        <a:pt x="460" y="745"/>
                      </a:lnTo>
                      <a:lnTo>
                        <a:pt x="458" y="745"/>
                      </a:lnTo>
                      <a:lnTo>
                        <a:pt x="452" y="745"/>
                      </a:lnTo>
                      <a:lnTo>
                        <a:pt x="450" y="748"/>
                      </a:lnTo>
                      <a:lnTo>
                        <a:pt x="442" y="756"/>
                      </a:lnTo>
                      <a:lnTo>
                        <a:pt x="435" y="773"/>
                      </a:lnTo>
                      <a:lnTo>
                        <a:pt x="433" y="786"/>
                      </a:lnTo>
                      <a:lnTo>
                        <a:pt x="435" y="797"/>
                      </a:lnTo>
                      <a:lnTo>
                        <a:pt x="433" y="806"/>
                      </a:lnTo>
                      <a:lnTo>
                        <a:pt x="427" y="836"/>
                      </a:lnTo>
                      <a:lnTo>
                        <a:pt x="422" y="842"/>
                      </a:lnTo>
                      <a:lnTo>
                        <a:pt x="417" y="858"/>
                      </a:lnTo>
                      <a:lnTo>
                        <a:pt x="417" y="860"/>
                      </a:lnTo>
                      <a:lnTo>
                        <a:pt x="417" y="868"/>
                      </a:lnTo>
                      <a:lnTo>
                        <a:pt x="405" y="880"/>
                      </a:lnTo>
                      <a:lnTo>
                        <a:pt x="402" y="880"/>
                      </a:lnTo>
                      <a:lnTo>
                        <a:pt x="394" y="877"/>
                      </a:lnTo>
                      <a:lnTo>
                        <a:pt x="386" y="868"/>
                      </a:lnTo>
                      <a:lnTo>
                        <a:pt x="381" y="868"/>
                      </a:lnTo>
                      <a:lnTo>
                        <a:pt x="375" y="875"/>
                      </a:lnTo>
                      <a:lnTo>
                        <a:pt x="366" y="891"/>
                      </a:lnTo>
                      <a:lnTo>
                        <a:pt x="361" y="899"/>
                      </a:lnTo>
                      <a:lnTo>
                        <a:pt x="358" y="896"/>
                      </a:lnTo>
                      <a:lnTo>
                        <a:pt x="350" y="894"/>
                      </a:lnTo>
                      <a:lnTo>
                        <a:pt x="348" y="894"/>
                      </a:lnTo>
                      <a:lnTo>
                        <a:pt x="345" y="894"/>
                      </a:lnTo>
                      <a:lnTo>
                        <a:pt x="336" y="896"/>
                      </a:lnTo>
                      <a:lnTo>
                        <a:pt x="333" y="899"/>
                      </a:lnTo>
                      <a:lnTo>
                        <a:pt x="331" y="911"/>
                      </a:lnTo>
                      <a:lnTo>
                        <a:pt x="328" y="911"/>
                      </a:lnTo>
                      <a:lnTo>
                        <a:pt x="323" y="916"/>
                      </a:lnTo>
                      <a:lnTo>
                        <a:pt x="320" y="919"/>
                      </a:lnTo>
                      <a:lnTo>
                        <a:pt x="317" y="919"/>
                      </a:lnTo>
                      <a:lnTo>
                        <a:pt x="312" y="919"/>
                      </a:lnTo>
                      <a:lnTo>
                        <a:pt x="297" y="924"/>
                      </a:lnTo>
                      <a:lnTo>
                        <a:pt x="287" y="921"/>
                      </a:lnTo>
                      <a:lnTo>
                        <a:pt x="276" y="919"/>
                      </a:lnTo>
                      <a:lnTo>
                        <a:pt x="262" y="911"/>
                      </a:lnTo>
                      <a:lnTo>
                        <a:pt x="259" y="908"/>
                      </a:lnTo>
                      <a:lnTo>
                        <a:pt x="248" y="908"/>
                      </a:lnTo>
                      <a:lnTo>
                        <a:pt x="237" y="913"/>
                      </a:lnTo>
                      <a:lnTo>
                        <a:pt x="240" y="908"/>
                      </a:lnTo>
                      <a:lnTo>
                        <a:pt x="243" y="902"/>
                      </a:lnTo>
                      <a:lnTo>
                        <a:pt x="243" y="894"/>
                      </a:lnTo>
                      <a:lnTo>
                        <a:pt x="248" y="891"/>
                      </a:lnTo>
                      <a:lnTo>
                        <a:pt x="251" y="891"/>
                      </a:lnTo>
                      <a:lnTo>
                        <a:pt x="251" y="888"/>
                      </a:lnTo>
                      <a:lnTo>
                        <a:pt x="251" y="883"/>
                      </a:lnTo>
                      <a:lnTo>
                        <a:pt x="248" y="877"/>
                      </a:lnTo>
                      <a:lnTo>
                        <a:pt x="254" y="872"/>
                      </a:lnTo>
                      <a:lnTo>
                        <a:pt x="251" y="866"/>
                      </a:lnTo>
                      <a:lnTo>
                        <a:pt x="254" y="863"/>
                      </a:lnTo>
                      <a:lnTo>
                        <a:pt x="245" y="852"/>
                      </a:lnTo>
                      <a:lnTo>
                        <a:pt x="248" y="850"/>
                      </a:lnTo>
                      <a:lnTo>
                        <a:pt x="251" y="850"/>
                      </a:lnTo>
                      <a:lnTo>
                        <a:pt x="251" y="847"/>
                      </a:lnTo>
                      <a:lnTo>
                        <a:pt x="259" y="850"/>
                      </a:lnTo>
                      <a:lnTo>
                        <a:pt x="264" y="847"/>
                      </a:lnTo>
                      <a:lnTo>
                        <a:pt x="264" y="844"/>
                      </a:lnTo>
                      <a:lnTo>
                        <a:pt x="264" y="842"/>
                      </a:lnTo>
                      <a:lnTo>
                        <a:pt x="273" y="839"/>
                      </a:lnTo>
                      <a:lnTo>
                        <a:pt x="276" y="836"/>
                      </a:lnTo>
                      <a:lnTo>
                        <a:pt x="276" y="830"/>
                      </a:lnTo>
                      <a:lnTo>
                        <a:pt x="273" y="830"/>
                      </a:lnTo>
                      <a:lnTo>
                        <a:pt x="273" y="825"/>
                      </a:lnTo>
                      <a:lnTo>
                        <a:pt x="271" y="819"/>
                      </a:lnTo>
                      <a:lnTo>
                        <a:pt x="276" y="811"/>
                      </a:lnTo>
                      <a:lnTo>
                        <a:pt x="276" y="808"/>
                      </a:lnTo>
                      <a:lnTo>
                        <a:pt x="279" y="803"/>
                      </a:lnTo>
                      <a:lnTo>
                        <a:pt x="279" y="799"/>
                      </a:lnTo>
                      <a:lnTo>
                        <a:pt x="279" y="794"/>
                      </a:lnTo>
                      <a:lnTo>
                        <a:pt x="281" y="789"/>
                      </a:lnTo>
                      <a:lnTo>
                        <a:pt x="276" y="786"/>
                      </a:lnTo>
                      <a:lnTo>
                        <a:pt x="273" y="781"/>
                      </a:lnTo>
                      <a:lnTo>
                        <a:pt x="264" y="781"/>
                      </a:lnTo>
                      <a:lnTo>
                        <a:pt x="262" y="781"/>
                      </a:lnTo>
                      <a:lnTo>
                        <a:pt x="254" y="775"/>
                      </a:lnTo>
                      <a:lnTo>
                        <a:pt x="248" y="773"/>
                      </a:lnTo>
                      <a:lnTo>
                        <a:pt x="245" y="773"/>
                      </a:lnTo>
                      <a:lnTo>
                        <a:pt x="245" y="767"/>
                      </a:lnTo>
                      <a:lnTo>
                        <a:pt x="243" y="767"/>
                      </a:lnTo>
                      <a:lnTo>
                        <a:pt x="237" y="764"/>
                      </a:lnTo>
                      <a:lnTo>
                        <a:pt x="231" y="767"/>
                      </a:lnTo>
                      <a:lnTo>
                        <a:pt x="231" y="764"/>
                      </a:lnTo>
                      <a:lnTo>
                        <a:pt x="226" y="764"/>
                      </a:lnTo>
                      <a:lnTo>
                        <a:pt x="223" y="758"/>
                      </a:lnTo>
                      <a:lnTo>
                        <a:pt x="218" y="756"/>
                      </a:lnTo>
                      <a:lnTo>
                        <a:pt x="220" y="750"/>
                      </a:lnTo>
                      <a:lnTo>
                        <a:pt x="218" y="748"/>
                      </a:lnTo>
                      <a:lnTo>
                        <a:pt x="218" y="740"/>
                      </a:lnTo>
                      <a:lnTo>
                        <a:pt x="215" y="737"/>
                      </a:lnTo>
                      <a:lnTo>
                        <a:pt x="215" y="734"/>
                      </a:lnTo>
                      <a:lnTo>
                        <a:pt x="215" y="731"/>
                      </a:lnTo>
                      <a:lnTo>
                        <a:pt x="212" y="725"/>
                      </a:lnTo>
                      <a:lnTo>
                        <a:pt x="210" y="720"/>
                      </a:lnTo>
                      <a:lnTo>
                        <a:pt x="207" y="714"/>
                      </a:lnTo>
                      <a:lnTo>
                        <a:pt x="207" y="701"/>
                      </a:lnTo>
                      <a:lnTo>
                        <a:pt x="202" y="701"/>
                      </a:lnTo>
                      <a:lnTo>
                        <a:pt x="202" y="689"/>
                      </a:lnTo>
                      <a:lnTo>
                        <a:pt x="193" y="687"/>
                      </a:lnTo>
                      <a:lnTo>
                        <a:pt x="193" y="681"/>
                      </a:lnTo>
                      <a:lnTo>
                        <a:pt x="187" y="676"/>
                      </a:lnTo>
                      <a:lnTo>
                        <a:pt x="187" y="668"/>
                      </a:lnTo>
                      <a:lnTo>
                        <a:pt x="187" y="665"/>
                      </a:lnTo>
                      <a:lnTo>
                        <a:pt x="185" y="665"/>
                      </a:lnTo>
                      <a:lnTo>
                        <a:pt x="179" y="659"/>
                      </a:lnTo>
                      <a:lnTo>
                        <a:pt x="179" y="653"/>
                      </a:lnTo>
                      <a:lnTo>
                        <a:pt x="168" y="656"/>
                      </a:lnTo>
                      <a:lnTo>
                        <a:pt x="162" y="656"/>
                      </a:lnTo>
                      <a:lnTo>
                        <a:pt x="162" y="651"/>
                      </a:lnTo>
                      <a:lnTo>
                        <a:pt x="154" y="648"/>
                      </a:lnTo>
                      <a:lnTo>
                        <a:pt x="149" y="651"/>
                      </a:lnTo>
                      <a:lnTo>
                        <a:pt x="146" y="651"/>
                      </a:lnTo>
                      <a:lnTo>
                        <a:pt x="138" y="656"/>
                      </a:lnTo>
                      <a:lnTo>
                        <a:pt x="133" y="653"/>
                      </a:lnTo>
                      <a:lnTo>
                        <a:pt x="135" y="643"/>
                      </a:lnTo>
                      <a:lnTo>
                        <a:pt x="133" y="632"/>
                      </a:lnTo>
                      <a:lnTo>
                        <a:pt x="129" y="632"/>
                      </a:lnTo>
                      <a:lnTo>
                        <a:pt x="124" y="632"/>
                      </a:lnTo>
                      <a:lnTo>
                        <a:pt x="118" y="632"/>
                      </a:lnTo>
                      <a:lnTo>
                        <a:pt x="116" y="632"/>
                      </a:lnTo>
                      <a:lnTo>
                        <a:pt x="113" y="635"/>
                      </a:lnTo>
                      <a:lnTo>
                        <a:pt x="113" y="632"/>
                      </a:lnTo>
                      <a:lnTo>
                        <a:pt x="105" y="632"/>
                      </a:lnTo>
                      <a:lnTo>
                        <a:pt x="102" y="627"/>
                      </a:lnTo>
                      <a:lnTo>
                        <a:pt x="99" y="623"/>
                      </a:lnTo>
                      <a:lnTo>
                        <a:pt x="99" y="620"/>
                      </a:lnTo>
                      <a:lnTo>
                        <a:pt x="96" y="618"/>
                      </a:lnTo>
                      <a:lnTo>
                        <a:pt x="93" y="612"/>
                      </a:lnTo>
                      <a:lnTo>
                        <a:pt x="93" y="610"/>
                      </a:lnTo>
                      <a:lnTo>
                        <a:pt x="96" y="607"/>
                      </a:lnTo>
                      <a:lnTo>
                        <a:pt x="96" y="604"/>
                      </a:lnTo>
                      <a:lnTo>
                        <a:pt x="99" y="599"/>
                      </a:lnTo>
                      <a:lnTo>
                        <a:pt x="80" y="602"/>
                      </a:lnTo>
                      <a:lnTo>
                        <a:pt x="77" y="599"/>
                      </a:lnTo>
                      <a:lnTo>
                        <a:pt x="74" y="602"/>
                      </a:lnTo>
                      <a:lnTo>
                        <a:pt x="72" y="599"/>
                      </a:lnTo>
                      <a:lnTo>
                        <a:pt x="69" y="602"/>
                      </a:lnTo>
                      <a:lnTo>
                        <a:pt x="66" y="599"/>
                      </a:lnTo>
                      <a:lnTo>
                        <a:pt x="64" y="602"/>
                      </a:lnTo>
                      <a:lnTo>
                        <a:pt x="55" y="599"/>
                      </a:lnTo>
                      <a:lnTo>
                        <a:pt x="52" y="599"/>
                      </a:lnTo>
                      <a:lnTo>
                        <a:pt x="49" y="602"/>
                      </a:lnTo>
                      <a:lnTo>
                        <a:pt x="49" y="604"/>
                      </a:lnTo>
                      <a:lnTo>
                        <a:pt x="41" y="604"/>
                      </a:lnTo>
                      <a:lnTo>
                        <a:pt x="36" y="610"/>
                      </a:lnTo>
                      <a:lnTo>
                        <a:pt x="30" y="612"/>
                      </a:lnTo>
                      <a:lnTo>
                        <a:pt x="27" y="612"/>
                      </a:lnTo>
                      <a:lnTo>
                        <a:pt x="19" y="607"/>
                      </a:lnTo>
                      <a:lnTo>
                        <a:pt x="11" y="607"/>
                      </a:lnTo>
                      <a:lnTo>
                        <a:pt x="0" y="599"/>
                      </a:lnTo>
                      <a:close/>
                    </a:path>
                  </a:pathLst>
                </a:custGeom>
                <a:grpFill/>
                <a:ln w="12700" cap="flat" cmpd="sng" algn="ctr">
                  <a:solidFill>
                    <a:schemeClr val="bg1">
                      <a:lumMod val="85000"/>
                    </a:schemeClr>
                  </a:solidFill>
                  <a:prstDash val="solid"/>
                  <a:round/>
                  <a:headEnd type="none" w="med" len="med"/>
                  <a:tailEnd type="none" w="med" len="med"/>
                </a:ln>
              </p:spPr>
            </p:sp>
            <p:sp>
              <p:nvSpPr>
                <p:cNvPr id="56" name="ee4p_BR_17"/>
                <p:cNvSpPr>
                  <a:spLocks/>
                </p:cNvSpPr>
                <p:nvPr>
                  <p:custDataLst>
                    <p:tags r:id="rId18"/>
                  </p:custDataLst>
                </p:nvPr>
              </p:nvSpPr>
              <p:spPr bwMode="auto">
                <a:xfrm>
                  <a:off x="6231812" y="2735121"/>
                  <a:ext cx="382169" cy="251657"/>
                </a:xfrm>
                <a:custGeom>
                  <a:avLst/>
                  <a:gdLst/>
                  <a:ahLst/>
                  <a:cxnLst>
                    <a:cxn ang="0">
                      <a:pos x="32" y="569"/>
                    </a:cxn>
                    <a:cxn ang="0">
                      <a:pos x="74" y="511"/>
                    </a:cxn>
                    <a:cxn ang="0">
                      <a:pos x="113" y="524"/>
                    </a:cxn>
                    <a:cxn ang="0">
                      <a:pos x="165" y="470"/>
                    </a:cxn>
                    <a:cxn ang="0">
                      <a:pos x="212" y="386"/>
                    </a:cxn>
                    <a:cxn ang="0">
                      <a:pos x="231" y="320"/>
                    </a:cxn>
                    <a:cxn ang="0">
                      <a:pos x="284" y="257"/>
                    </a:cxn>
                    <a:cxn ang="0">
                      <a:pos x="323" y="194"/>
                    </a:cxn>
                    <a:cxn ang="0">
                      <a:pos x="348" y="102"/>
                    </a:cxn>
                    <a:cxn ang="0">
                      <a:pos x="543" y="5"/>
                    </a:cxn>
                    <a:cxn ang="0">
                      <a:pos x="626" y="50"/>
                    </a:cxn>
                    <a:cxn ang="0">
                      <a:pos x="726" y="86"/>
                    </a:cxn>
                    <a:cxn ang="0">
                      <a:pos x="795" y="108"/>
                    </a:cxn>
                    <a:cxn ang="0">
                      <a:pos x="885" y="102"/>
                    </a:cxn>
                    <a:cxn ang="0">
                      <a:pos x="1010" y="102"/>
                    </a:cxn>
                    <a:cxn ang="0">
                      <a:pos x="1131" y="100"/>
                    </a:cxn>
                    <a:cxn ang="0">
                      <a:pos x="1206" y="117"/>
                    </a:cxn>
                    <a:cxn ang="0">
                      <a:pos x="1306" y="194"/>
                    </a:cxn>
                    <a:cxn ang="0">
                      <a:pos x="1349" y="273"/>
                    </a:cxn>
                    <a:cxn ang="0">
                      <a:pos x="1366" y="334"/>
                    </a:cxn>
                    <a:cxn ang="0">
                      <a:pos x="1383" y="403"/>
                    </a:cxn>
                    <a:cxn ang="0">
                      <a:pos x="1404" y="475"/>
                    </a:cxn>
                    <a:cxn ang="0">
                      <a:pos x="1418" y="565"/>
                    </a:cxn>
                    <a:cxn ang="0">
                      <a:pos x="1440" y="621"/>
                    </a:cxn>
                    <a:cxn ang="0">
                      <a:pos x="1468" y="693"/>
                    </a:cxn>
                    <a:cxn ang="0">
                      <a:pos x="1410" y="701"/>
                    </a:cxn>
                    <a:cxn ang="0">
                      <a:pos x="1352" y="712"/>
                    </a:cxn>
                    <a:cxn ang="0">
                      <a:pos x="1269" y="690"/>
                    </a:cxn>
                    <a:cxn ang="0">
                      <a:pos x="1239" y="690"/>
                    </a:cxn>
                    <a:cxn ang="0">
                      <a:pos x="1197" y="679"/>
                    </a:cxn>
                    <a:cxn ang="0">
                      <a:pos x="1109" y="693"/>
                    </a:cxn>
                    <a:cxn ang="0">
                      <a:pos x="1021" y="662"/>
                    </a:cxn>
                    <a:cxn ang="0">
                      <a:pos x="960" y="670"/>
                    </a:cxn>
                    <a:cxn ang="0">
                      <a:pos x="930" y="613"/>
                    </a:cxn>
                    <a:cxn ang="0">
                      <a:pos x="833" y="682"/>
                    </a:cxn>
                    <a:cxn ang="0">
                      <a:pos x="872" y="751"/>
                    </a:cxn>
                    <a:cxn ang="0">
                      <a:pos x="828" y="795"/>
                    </a:cxn>
                    <a:cxn ang="0">
                      <a:pos x="822" y="841"/>
                    </a:cxn>
                    <a:cxn ang="0">
                      <a:pos x="747" y="894"/>
                    </a:cxn>
                    <a:cxn ang="0">
                      <a:pos x="668" y="812"/>
                    </a:cxn>
                    <a:cxn ang="0">
                      <a:pos x="626" y="800"/>
                    </a:cxn>
                    <a:cxn ang="0">
                      <a:pos x="532" y="812"/>
                    </a:cxn>
                    <a:cxn ang="0">
                      <a:pos x="450" y="770"/>
                    </a:cxn>
                    <a:cxn ang="0">
                      <a:pos x="463" y="712"/>
                    </a:cxn>
                    <a:cxn ang="0">
                      <a:pos x="491" y="643"/>
                    </a:cxn>
                    <a:cxn ang="0">
                      <a:pos x="546" y="580"/>
                    </a:cxn>
                    <a:cxn ang="0">
                      <a:pos x="573" y="530"/>
                    </a:cxn>
                    <a:cxn ang="0">
                      <a:pos x="532" y="514"/>
                    </a:cxn>
                    <a:cxn ang="0">
                      <a:pos x="458" y="539"/>
                    </a:cxn>
                    <a:cxn ang="0">
                      <a:pos x="400" y="563"/>
                    </a:cxn>
                    <a:cxn ang="0">
                      <a:pos x="328" y="585"/>
                    </a:cxn>
                    <a:cxn ang="0">
                      <a:pos x="312" y="621"/>
                    </a:cxn>
                    <a:cxn ang="0">
                      <a:pos x="281" y="657"/>
                    </a:cxn>
                    <a:cxn ang="0">
                      <a:pos x="228" y="677"/>
                    </a:cxn>
                    <a:cxn ang="0">
                      <a:pos x="212" y="682"/>
                    </a:cxn>
                    <a:cxn ang="0">
                      <a:pos x="154" y="693"/>
                    </a:cxn>
                    <a:cxn ang="0">
                      <a:pos x="93" y="682"/>
                    </a:cxn>
                    <a:cxn ang="0">
                      <a:pos x="52" y="654"/>
                    </a:cxn>
                    <a:cxn ang="0">
                      <a:pos x="24" y="634"/>
                    </a:cxn>
                    <a:cxn ang="0">
                      <a:pos x="3" y="608"/>
                    </a:cxn>
                  </a:cxnLst>
                  <a:rect l="0" t="0" r="r" b="b"/>
                  <a:pathLst>
                    <a:path w="1468" h="900">
                      <a:moveTo>
                        <a:pt x="3" y="608"/>
                      </a:moveTo>
                      <a:lnTo>
                        <a:pt x="3" y="605"/>
                      </a:lnTo>
                      <a:lnTo>
                        <a:pt x="8" y="601"/>
                      </a:lnTo>
                      <a:lnTo>
                        <a:pt x="11" y="599"/>
                      </a:lnTo>
                      <a:lnTo>
                        <a:pt x="13" y="591"/>
                      </a:lnTo>
                      <a:lnTo>
                        <a:pt x="19" y="593"/>
                      </a:lnTo>
                      <a:lnTo>
                        <a:pt x="21" y="588"/>
                      </a:lnTo>
                      <a:lnTo>
                        <a:pt x="24" y="585"/>
                      </a:lnTo>
                      <a:lnTo>
                        <a:pt x="24" y="583"/>
                      </a:lnTo>
                      <a:lnTo>
                        <a:pt x="21" y="580"/>
                      </a:lnTo>
                      <a:lnTo>
                        <a:pt x="21" y="572"/>
                      </a:lnTo>
                      <a:lnTo>
                        <a:pt x="32" y="569"/>
                      </a:lnTo>
                      <a:lnTo>
                        <a:pt x="32" y="563"/>
                      </a:lnTo>
                      <a:lnTo>
                        <a:pt x="44" y="552"/>
                      </a:lnTo>
                      <a:lnTo>
                        <a:pt x="44" y="549"/>
                      </a:lnTo>
                      <a:lnTo>
                        <a:pt x="47" y="544"/>
                      </a:lnTo>
                      <a:lnTo>
                        <a:pt x="49" y="536"/>
                      </a:lnTo>
                      <a:lnTo>
                        <a:pt x="52" y="536"/>
                      </a:lnTo>
                      <a:lnTo>
                        <a:pt x="57" y="530"/>
                      </a:lnTo>
                      <a:lnTo>
                        <a:pt x="55" y="524"/>
                      </a:lnTo>
                      <a:lnTo>
                        <a:pt x="60" y="522"/>
                      </a:lnTo>
                      <a:lnTo>
                        <a:pt x="69" y="514"/>
                      </a:lnTo>
                      <a:lnTo>
                        <a:pt x="72" y="514"/>
                      </a:lnTo>
                      <a:lnTo>
                        <a:pt x="74" y="511"/>
                      </a:lnTo>
                      <a:lnTo>
                        <a:pt x="77" y="514"/>
                      </a:lnTo>
                      <a:lnTo>
                        <a:pt x="80" y="511"/>
                      </a:lnTo>
                      <a:lnTo>
                        <a:pt x="80" y="516"/>
                      </a:lnTo>
                      <a:lnTo>
                        <a:pt x="82" y="516"/>
                      </a:lnTo>
                      <a:lnTo>
                        <a:pt x="82" y="519"/>
                      </a:lnTo>
                      <a:lnTo>
                        <a:pt x="85" y="524"/>
                      </a:lnTo>
                      <a:lnTo>
                        <a:pt x="88" y="527"/>
                      </a:lnTo>
                      <a:lnTo>
                        <a:pt x="96" y="522"/>
                      </a:lnTo>
                      <a:lnTo>
                        <a:pt x="96" y="516"/>
                      </a:lnTo>
                      <a:lnTo>
                        <a:pt x="98" y="522"/>
                      </a:lnTo>
                      <a:lnTo>
                        <a:pt x="108" y="522"/>
                      </a:lnTo>
                      <a:lnTo>
                        <a:pt x="113" y="524"/>
                      </a:lnTo>
                      <a:lnTo>
                        <a:pt x="118" y="519"/>
                      </a:lnTo>
                      <a:lnTo>
                        <a:pt x="124" y="519"/>
                      </a:lnTo>
                      <a:lnTo>
                        <a:pt x="124" y="516"/>
                      </a:lnTo>
                      <a:lnTo>
                        <a:pt x="129" y="511"/>
                      </a:lnTo>
                      <a:lnTo>
                        <a:pt x="132" y="511"/>
                      </a:lnTo>
                      <a:lnTo>
                        <a:pt x="134" y="508"/>
                      </a:lnTo>
                      <a:lnTo>
                        <a:pt x="134" y="494"/>
                      </a:lnTo>
                      <a:lnTo>
                        <a:pt x="138" y="488"/>
                      </a:lnTo>
                      <a:lnTo>
                        <a:pt x="154" y="475"/>
                      </a:lnTo>
                      <a:lnTo>
                        <a:pt x="159" y="472"/>
                      </a:lnTo>
                      <a:lnTo>
                        <a:pt x="162" y="470"/>
                      </a:lnTo>
                      <a:lnTo>
                        <a:pt x="165" y="470"/>
                      </a:lnTo>
                      <a:lnTo>
                        <a:pt x="170" y="467"/>
                      </a:lnTo>
                      <a:lnTo>
                        <a:pt x="170" y="464"/>
                      </a:lnTo>
                      <a:lnTo>
                        <a:pt x="170" y="458"/>
                      </a:lnTo>
                      <a:lnTo>
                        <a:pt x="176" y="453"/>
                      </a:lnTo>
                      <a:lnTo>
                        <a:pt x="179" y="447"/>
                      </a:lnTo>
                      <a:lnTo>
                        <a:pt x="185" y="442"/>
                      </a:lnTo>
                      <a:lnTo>
                        <a:pt x="190" y="425"/>
                      </a:lnTo>
                      <a:lnTo>
                        <a:pt x="187" y="419"/>
                      </a:lnTo>
                      <a:lnTo>
                        <a:pt x="193" y="414"/>
                      </a:lnTo>
                      <a:lnTo>
                        <a:pt x="193" y="411"/>
                      </a:lnTo>
                      <a:lnTo>
                        <a:pt x="207" y="398"/>
                      </a:lnTo>
                      <a:lnTo>
                        <a:pt x="212" y="386"/>
                      </a:lnTo>
                      <a:lnTo>
                        <a:pt x="218" y="375"/>
                      </a:lnTo>
                      <a:lnTo>
                        <a:pt x="212" y="375"/>
                      </a:lnTo>
                      <a:lnTo>
                        <a:pt x="212" y="373"/>
                      </a:lnTo>
                      <a:lnTo>
                        <a:pt x="207" y="373"/>
                      </a:lnTo>
                      <a:lnTo>
                        <a:pt x="201" y="375"/>
                      </a:lnTo>
                      <a:lnTo>
                        <a:pt x="201" y="370"/>
                      </a:lnTo>
                      <a:lnTo>
                        <a:pt x="203" y="362"/>
                      </a:lnTo>
                      <a:lnTo>
                        <a:pt x="203" y="350"/>
                      </a:lnTo>
                      <a:lnTo>
                        <a:pt x="207" y="348"/>
                      </a:lnTo>
                      <a:lnTo>
                        <a:pt x="215" y="340"/>
                      </a:lnTo>
                      <a:lnTo>
                        <a:pt x="223" y="337"/>
                      </a:lnTo>
                      <a:lnTo>
                        <a:pt x="231" y="320"/>
                      </a:lnTo>
                      <a:lnTo>
                        <a:pt x="237" y="315"/>
                      </a:lnTo>
                      <a:lnTo>
                        <a:pt x="237" y="309"/>
                      </a:lnTo>
                      <a:lnTo>
                        <a:pt x="239" y="307"/>
                      </a:lnTo>
                      <a:lnTo>
                        <a:pt x="239" y="304"/>
                      </a:lnTo>
                      <a:lnTo>
                        <a:pt x="254" y="296"/>
                      </a:lnTo>
                      <a:lnTo>
                        <a:pt x="259" y="293"/>
                      </a:lnTo>
                      <a:lnTo>
                        <a:pt x="264" y="281"/>
                      </a:lnTo>
                      <a:lnTo>
                        <a:pt x="270" y="281"/>
                      </a:lnTo>
                      <a:lnTo>
                        <a:pt x="276" y="279"/>
                      </a:lnTo>
                      <a:lnTo>
                        <a:pt x="279" y="273"/>
                      </a:lnTo>
                      <a:lnTo>
                        <a:pt x="281" y="271"/>
                      </a:lnTo>
                      <a:lnTo>
                        <a:pt x="284" y="257"/>
                      </a:lnTo>
                      <a:lnTo>
                        <a:pt x="284" y="255"/>
                      </a:lnTo>
                      <a:lnTo>
                        <a:pt x="284" y="251"/>
                      </a:lnTo>
                      <a:lnTo>
                        <a:pt x="292" y="240"/>
                      </a:lnTo>
                      <a:lnTo>
                        <a:pt x="295" y="235"/>
                      </a:lnTo>
                      <a:lnTo>
                        <a:pt x="292" y="227"/>
                      </a:lnTo>
                      <a:lnTo>
                        <a:pt x="295" y="224"/>
                      </a:lnTo>
                      <a:lnTo>
                        <a:pt x="295" y="221"/>
                      </a:lnTo>
                      <a:lnTo>
                        <a:pt x="297" y="212"/>
                      </a:lnTo>
                      <a:lnTo>
                        <a:pt x="303" y="210"/>
                      </a:lnTo>
                      <a:lnTo>
                        <a:pt x="315" y="202"/>
                      </a:lnTo>
                      <a:lnTo>
                        <a:pt x="320" y="196"/>
                      </a:lnTo>
                      <a:lnTo>
                        <a:pt x="323" y="194"/>
                      </a:lnTo>
                      <a:lnTo>
                        <a:pt x="325" y="194"/>
                      </a:lnTo>
                      <a:lnTo>
                        <a:pt x="325" y="191"/>
                      </a:lnTo>
                      <a:lnTo>
                        <a:pt x="323" y="186"/>
                      </a:lnTo>
                      <a:lnTo>
                        <a:pt x="323" y="179"/>
                      </a:lnTo>
                      <a:lnTo>
                        <a:pt x="325" y="171"/>
                      </a:lnTo>
                      <a:lnTo>
                        <a:pt x="325" y="166"/>
                      </a:lnTo>
                      <a:lnTo>
                        <a:pt x="323" y="163"/>
                      </a:lnTo>
                      <a:lnTo>
                        <a:pt x="323" y="158"/>
                      </a:lnTo>
                      <a:lnTo>
                        <a:pt x="328" y="150"/>
                      </a:lnTo>
                      <a:lnTo>
                        <a:pt x="331" y="127"/>
                      </a:lnTo>
                      <a:lnTo>
                        <a:pt x="345" y="113"/>
                      </a:lnTo>
                      <a:lnTo>
                        <a:pt x="348" y="102"/>
                      </a:lnTo>
                      <a:lnTo>
                        <a:pt x="350" y="100"/>
                      </a:lnTo>
                      <a:lnTo>
                        <a:pt x="353" y="97"/>
                      </a:lnTo>
                      <a:lnTo>
                        <a:pt x="366" y="92"/>
                      </a:lnTo>
                      <a:lnTo>
                        <a:pt x="374" y="69"/>
                      </a:lnTo>
                      <a:lnTo>
                        <a:pt x="378" y="56"/>
                      </a:lnTo>
                      <a:lnTo>
                        <a:pt x="384" y="39"/>
                      </a:lnTo>
                      <a:lnTo>
                        <a:pt x="453" y="23"/>
                      </a:lnTo>
                      <a:lnTo>
                        <a:pt x="461" y="20"/>
                      </a:lnTo>
                      <a:lnTo>
                        <a:pt x="499" y="12"/>
                      </a:lnTo>
                      <a:lnTo>
                        <a:pt x="538" y="3"/>
                      </a:lnTo>
                      <a:lnTo>
                        <a:pt x="540" y="0"/>
                      </a:lnTo>
                      <a:lnTo>
                        <a:pt x="543" y="5"/>
                      </a:lnTo>
                      <a:lnTo>
                        <a:pt x="552" y="20"/>
                      </a:lnTo>
                      <a:lnTo>
                        <a:pt x="557" y="25"/>
                      </a:lnTo>
                      <a:lnTo>
                        <a:pt x="568" y="36"/>
                      </a:lnTo>
                      <a:lnTo>
                        <a:pt x="576" y="41"/>
                      </a:lnTo>
                      <a:lnTo>
                        <a:pt x="579" y="41"/>
                      </a:lnTo>
                      <a:lnTo>
                        <a:pt x="588" y="45"/>
                      </a:lnTo>
                      <a:lnTo>
                        <a:pt x="593" y="41"/>
                      </a:lnTo>
                      <a:lnTo>
                        <a:pt x="599" y="39"/>
                      </a:lnTo>
                      <a:lnTo>
                        <a:pt x="604" y="39"/>
                      </a:lnTo>
                      <a:lnTo>
                        <a:pt x="609" y="41"/>
                      </a:lnTo>
                      <a:lnTo>
                        <a:pt x="621" y="48"/>
                      </a:lnTo>
                      <a:lnTo>
                        <a:pt x="626" y="50"/>
                      </a:lnTo>
                      <a:lnTo>
                        <a:pt x="632" y="48"/>
                      </a:lnTo>
                      <a:lnTo>
                        <a:pt x="642" y="41"/>
                      </a:lnTo>
                      <a:lnTo>
                        <a:pt x="650" y="41"/>
                      </a:lnTo>
                      <a:lnTo>
                        <a:pt x="654" y="41"/>
                      </a:lnTo>
                      <a:lnTo>
                        <a:pt x="657" y="39"/>
                      </a:lnTo>
                      <a:lnTo>
                        <a:pt x="660" y="36"/>
                      </a:lnTo>
                      <a:lnTo>
                        <a:pt x="676" y="48"/>
                      </a:lnTo>
                      <a:lnTo>
                        <a:pt x="684" y="50"/>
                      </a:lnTo>
                      <a:lnTo>
                        <a:pt x="693" y="50"/>
                      </a:lnTo>
                      <a:lnTo>
                        <a:pt x="701" y="58"/>
                      </a:lnTo>
                      <a:lnTo>
                        <a:pt x="709" y="69"/>
                      </a:lnTo>
                      <a:lnTo>
                        <a:pt x="726" y="86"/>
                      </a:lnTo>
                      <a:lnTo>
                        <a:pt x="739" y="92"/>
                      </a:lnTo>
                      <a:lnTo>
                        <a:pt x="747" y="97"/>
                      </a:lnTo>
                      <a:lnTo>
                        <a:pt x="753" y="94"/>
                      </a:lnTo>
                      <a:lnTo>
                        <a:pt x="750" y="97"/>
                      </a:lnTo>
                      <a:lnTo>
                        <a:pt x="756" y="102"/>
                      </a:lnTo>
                      <a:lnTo>
                        <a:pt x="759" y="100"/>
                      </a:lnTo>
                      <a:lnTo>
                        <a:pt x="762" y="97"/>
                      </a:lnTo>
                      <a:lnTo>
                        <a:pt x="764" y="97"/>
                      </a:lnTo>
                      <a:lnTo>
                        <a:pt x="764" y="105"/>
                      </a:lnTo>
                      <a:lnTo>
                        <a:pt x="770" y="108"/>
                      </a:lnTo>
                      <a:lnTo>
                        <a:pt x="778" y="105"/>
                      </a:lnTo>
                      <a:lnTo>
                        <a:pt x="795" y="108"/>
                      </a:lnTo>
                      <a:lnTo>
                        <a:pt x="798" y="102"/>
                      </a:lnTo>
                      <a:lnTo>
                        <a:pt x="803" y="105"/>
                      </a:lnTo>
                      <a:lnTo>
                        <a:pt x="806" y="102"/>
                      </a:lnTo>
                      <a:lnTo>
                        <a:pt x="808" y="102"/>
                      </a:lnTo>
                      <a:lnTo>
                        <a:pt x="811" y="102"/>
                      </a:lnTo>
                      <a:lnTo>
                        <a:pt x="822" y="105"/>
                      </a:lnTo>
                      <a:lnTo>
                        <a:pt x="825" y="102"/>
                      </a:lnTo>
                      <a:lnTo>
                        <a:pt x="836" y="102"/>
                      </a:lnTo>
                      <a:lnTo>
                        <a:pt x="844" y="97"/>
                      </a:lnTo>
                      <a:lnTo>
                        <a:pt x="852" y="97"/>
                      </a:lnTo>
                      <a:lnTo>
                        <a:pt x="872" y="100"/>
                      </a:lnTo>
                      <a:lnTo>
                        <a:pt x="885" y="102"/>
                      </a:lnTo>
                      <a:lnTo>
                        <a:pt x="900" y="108"/>
                      </a:lnTo>
                      <a:lnTo>
                        <a:pt x="908" y="108"/>
                      </a:lnTo>
                      <a:lnTo>
                        <a:pt x="910" y="105"/>
                      </a:lnTo>
                      <a:lnTo>
                        <a:pt x="916" y="108"/>
                      </a:lnTo>
                      <a:lnTo>
                        <a:pt x="924" y="110"/>
                      </a:lnTo>
                      <a:lnTo>
                        <a:pt x="924" y="113"/>
                      </a:lnTo>
                      <a:lnTo>
                        <a:pt x="933" y="108"/>
                      </a:lnTo>
                      <a:lnTo>
                        <a:pt x="938" y="108"/>
                      </a:lnTo>
                      <a:lnTo>
                        <a:pt x="952" y="110"/>
                      </a:lnTo>
                      <a:lnTo>
                        <a:pt x="987" y="110"/>
                      </a:lnTo>
                      <a:lnTo>
                        <a:pt x="999" y="108"/>
                      </a:lnTo>
                      <a:lnTo>
                        <a:pt x="1010" y="102"/>
                      </a:lnTo>
                      <a:lnTo>
                        <a:pt x="1018" y="97"/>
                      </a:lnTo>
                      <a:lnTo>
                        <a:pt x="1026" y="97"/>
                      </a:lnTo>
                      <a:lnTo>
                        <a:pt x="1035" y="92"/>
                      </a:lnTo>
                      <a:lnTo>
                        <a:pt x="1046" y="92"/>
                      </a:lnTo>
                      <a:lnTo>
                        <a:pt x="1048" y="89"/>
                      </a:lnTo>
                      <a:lnTo>
                        <a:pt x="1056" y="89"/>
                      </a:lnTo>
                      <a:lnTo>
                        <a:pt x="1071" y="89"/>
                      </a:lnTo>
                      <a:lnTo>
                        <a:pt x="1087" y="94"/>
                      </a:lnTo>
                      <a:lnTo>
                        <a:pt x="1098" y="100"/>
                      </a:lnTo>
                      <a:lnTo>
                        <a:pt x="1109" y="100"/>
                      </a:lnTo>
                      <a:lnTo>
                        <a:pt x="1120" y="102"/>
                      </a:lnTo>
                      <a:lnTo>
                        <a:pt x="1131" y="100"/>
                      </a:lnTo>
                      <a:lnTo>
                        <a:pt x="1134" y="102"/>
                      </a:lnTo>
                      <a:lnTo>
                        <a:pt x="1137" y="102"/>
                      </a:lnTo>
                      <a:lnTo>
                        <a:pt x="1143" y="105"/>
                      </a:lnTo>
                      <a:lnTo>
                        <a:pt x="1148" y="108"/>
                      </a:lnTo>
                      <a:lnTo>
                        <a:pt x="1164" y="110"/>
                      </a:lnTo>
                      <a:lnTo>
                        <a:pt x="1167" y="113"/>
                      </a:lnTo>
                      <a:lnTo>
                        <a:pt x="1173" y="113"/>
                      </a:lnTo>
                      <a:lnTo>
                        <a:pt x="1194" y="119"/>
                      </a:lnTo>
                      <a:lnTo>
                        <a:pt x="1197" y="122"/>
                      </a:lnTo>
                      <a:lnTo>
                        <a:pt x="1200" y="119"/>
                      </a:lnTo>
                      <a:lnTo>
                        <a:pt x="1206" y="119"/>
                      </a:lnTo>
                      <a:lnTo>
                        <a:pt x="1206" y="117"/>
                      </a:lnTo>
                      <a:lnTo>
                        <a:pt x="1225" y="127"/>
                      </a:lnTo>
                      <a:lnTo>
                        <a:pt x="1239" y="130"/>
                      </a:lnTo>
                      <a:lnTo>
                        <a:pt x="1250" y="135"/>
                      </a:lnTo>
                      <a:lnTo>
                        <a:pt x="1258" y="135"/>
                      </a:lnTo>
                      <a:lnTo>
                        <a:pt x="1266" y="146"/>
                      </a:lnTo>
                      <a:lnTo>
                        <a:pt x="1269" y="152"/>
                      </a:lnTo>
                      <a:lnTo>
                        <a:pt x="1275" y="155"/>
                      </a:lnTo>
                      <a:lnTo>
                        <a:pt x="1286" y="163"/>
                      </a:lnTo>
                      <a:lnTo>
                        <a:pt x="1297" y="177"/>
                      </a:lnTo>
                      <a:lnTo>
                        <a:pt x="1299" y="182"/>
                      </a:lnTo>
                      <a:lnTo>
                        <a:pt x="1302" y="186"/>
                      </a:lnTo>
                      <a:lnTo>
                        <a:pt x="1306" y="194"/>
                      </a:lnTo>
                      <a:lnTo>
                        <a:pt x="1311" y="215"/>
                      </a:lnTo>
                      <a:lnTo>
                        <a:pt x="1314" y="221"/>
                      </a:lnTo>
                      <a:lnTo>
                        <a:pt x="1319" y="227"/>
                      </a:lnTo>
                      <a:lnTo>
                        <a:pt x="1324" y="229"/>
                      </a:lnTo>
                      <a:lnTo>
                        <a:pt x="1330" y="235"/>
                      </a:lnTo>
                      <a:lnTo>
                        <a:pt x="1330" y="240"/>
                      </a:lnTo>
                      <a:lnTo>
                        <a:pt x="1335" y="248"/>
                      </a:lnTo>
                      <a:lnTo>
                        <a:pt x="1338" y="248"/>
                      </a:lnTo>
                      <a:lnTo>
                        <a:pt x="1338" y="263"/>
                      </a:lnTo>
                      <a:lnTo>
                        <a:pt x="1341" y="265"/>
                      </a:lnTo>
                      <a:lnTo>
                        <a:pt x="1347" y="271"/>
                      </a:lnTo>
                      <a:lnTo>
                        <a:pt x="1349" y="273"/>
                      </a:lnTo>
                      <a:lnTo>
                        <a:pt x="1349" y="271"/>
                      </a:lnTo>
                      <a:lnTo>
                        <a:pt x="1349" y="279"/>
                      </a:lnTo>
                      <a:lnTo>
                        <a:pt x="1352" y="284"/>
                      </a:lnTo>
                      <a:lnTo>
                        <a:pt x="1352" y="287"/>
                      </a:lnTo>
                      <a:lnTo>
                        <a:pt x="1355" y="290"/>
                      </a:lnTo>
                      <a:lnTo>
                        <a:pt x="1355" y="298"/>
                      </a:lnTo>
                      <a:lnTo>
                        <a:pt x="1358" y="304"/>
                      </a:lnTo>
                      <a:lnTo>
                        <a:pt x="1360" y="312"/>
                      </a:lnTo>
                      <a:lnTo>
                        <a:pt x="1363" y="312"/>
                      </a:lnTo>
                      <a:lnTo>
                        <a:pt x="1363" y="315"/>
                      </a:lnTo>
                      <a:lnTo>
                        <a:pt x="1363" y="326"/>
                      </a:lnTo>
                      <a:lnTo>
                        <a:pt x="1366" y="334"/>
                      </a:lnTo>
                      <a:lnTo>
                        <a:pt x="1368" y="334"/>
                      </a:lnTo>
                      <a:lnTo>
                        <a:pt x="1368" y="350"/>
                      </a:lnTo>
                      <a:lnTo>
                        <a:pt x="1368" y="353"/>
                      </a:lnTo>
                      <a:lnTo>
                        <a:pt x="1371" y="360"/>
                      </a:lnTo>
                      <a:lnTo>
                        <a:pt x="1377" y="360"/>
                      </a:lnTo>
                      <a:lnTo>
                        <a:pt x="1377" y="362"/>
                      </a:lnTo>
                      <a:lnTo>
                        <a:pt x="1375" y="381"/>
                      </a:lnTo>
                      <a:lnTo>
                        <a:pt x="1375" y="386"/>
                      </a:lnTo>
                      <a:lnTo>
                        <a:pt x="1377" y="389"/>
                      </a:lnTo>
                      <a:lnTo>
                        <a:pt x="1377" y="398"/>
                      </a:lnTo>
                      <a:lnTo>
                        <a:pt x="1380" y="403"/>
                      </a:lnTo>
                      <a:lnTo>
                        <a:pt x="1383" y="403"/>
                      </a:lnTo>
                      <a:lnTo>
                        <a:pt x="1383" y="406"/>
                      </a:lnTo>
                      <a:lnTo>
                        <a:pt x="1383" y="434"/>
                      </a:lnTo>
                      <a:lnTo>
                        <a:pt x="1385" y="439"/>
                      </a:lnTo>
                      <a:lnTo>
                        <a:pt x="1388" y="442"/>
                      </a:lnTo>
                      <a:lnTo>
                        <a:pt x="1391" y="439"/>
                      </a:lnTo>
                      <a:lnTo>
                        <a:pt x="1393" y="439"/>
                      </a:lnTo>
                      <a:lnTo>
                        <a:pt x="1393" y="447"/>
                      </a:lnTo>
                      <a:lnTo>
                        <a:pt x="1393" y="455"/>
                      </a:lnTo>
                      <a:lnTo>
                        <a:pt x="1393" y="458"/>
                      </a:lnTo>
                      <a:lnTo>
                        <a:pt x="1393" y="464"/>
                      </a:lnTo>
                      <a:lnTo>
                        <a:pt x="1396" y="475"/>
                      </a:lnTo>
                      <a:lnTo>
                        <a:pt x="1404" y="475"/>
                      </a:lnTo>
                      <a:lnTo>
                        <a:pt x="1407" y="483"/>
                      </a:lnTo>
                      <a:lnTo>
                        <a:pt x="1410" y="483"/>
                      </a:lnTo>
                      <a:lnTo>
                        <a:pt x="1410" y="486"/>
                      </a:lnTo>
                      <a:lnTo>
                        <a:pt x="1413" y="491"/>
                      </a:lnTo>
                      <a:lnTo>
                        <a:pt x="1410" y="503"/>
                      </a:lnTo>
                      <a:lnTo>
                        <a:pt x="1413" y="511"/>
                      </a:lnTo>
                      <a:lnTo>
                        <a:pt x="1413" y="514"/>
                      </a:lnTo>
                      <a:lnTo>
                        <a:pt x="1416" y="514"/>
                      </a:lnTo>
                      <a:lnTo>
                        <a:pt x="1416" y="522"/>
                      </a:lnTo>
                      <a:lnTo>
                        <a:pt x="1416" y="544"/>
                      </a:lnTo>
                      <a:lnTo>
                        <a:pt x="1416" y="547"/>
                      </a:lnTo>
                      <a:lnTo>
                        <a:pt x="1418" y="565"/>
                      </a:lnTo>
                      <a:lnTo>
                        <a:pt x="1418" y="563"/>
                      </a:lnTo>
                      <a:lnTo>
                        <a:pt x="1421" y="565"/>
                      </a:lnTo>
                      <a:lnTo>
                        <a:pt x="1421" y="569"/>
                      </a:lnTo>
                      <a:lnTo>
                        <a:pt x="1424" y="577"/>
                      </a:lnTo>
                      <a:lnTo>
                        <a:pt x="1427" y="583"/>
                      </a:lnTo>
                      <a:lnTo>
                        <a:pt x="1429" y="583"/>
                      </a:lnTo>
                      <a:lnTo>
                        <a:pt x="1432" y="585"/>
                      </a:lnTo>
                      <a:lnTo>
                        <a:pt x="1440" y="585"/>
                      </a:lnTo>
                      <a:lnTo>
                        <a:pt x="1440" y="588"/>
                      </a:lnTo>
                      <a:lnTo>
                        <a:pt x="1444" y="610"/>
                      </a:lnTo>
                      <a:lnTo>
                        <a:pt x="1444" y="618"/>
                      </a:lnTo>
                      <a:lnTo>
                        <a:pt x="1440" y="621"/>
                      </a:lnTo>
                      <a:lnTo>
                        <a:pt x="1444" y="632"/>
                      </a:lnTo>
                      <a:lnTo>
                        <a:pt x="1446" y="641"/>
                      </a:lnTo>
                      <a:lnTo>
                        <a:pt x="1449" y="643"/>
                      </a:lnTo>
                      <a:lnTo>
                        <a:pt x="1452" y="643"/>
                      </a:lnTo>
                      <a:lnTo>
                        <a:pt x="1454" y="643"/>
                      </a:lnTo>
                      <a:lnTo>
                        <a:pt x="1457" y="643"/>
                      </a:lnTo>
                      <a:lnTo>
                        <a:pt x="1460" y="646"/>
                      </a:lnTo>
                      <a:lnTo>
                        <a:pt x="1462" y="657"/>
                      </a:lnTo>
                      <a:lnTo>
                        <a:pt x="1468" y="674"/>
                      </a:lnTo>
                      <a:lnTo>
                        <a:pt x="1468" y="682"/>
                      </a:lnTo>
                      <a:lnTo>
                        <a:pt x="1468" y="687"/>
                      </a:lnTo>
                      <a:lnTo>
                        <a:pt x="1468" y="693"/>
                      </a:lnTo>
                      <a:lnTo>
                        <a:pt x="1465" y="695"/>
                      </a:lnTo>
                      <a:lnTo>
                        <a:pt x="1460" y="698"/>
                      </a:lnTo>
                      <a:lnTo>
                        <a:pt x="1452" y="701"/>
                      </a:lnTo>
                      <a:lnTo>
                        <a:pt x="1449" y="701"/>
                      </a:lnTo>
                      <a:lnTo>
                        <a:pt x="1446" y="701"/>
                      </a:lnTo>
                      <a:lnTo>
                        <a:pt x="1440" y="706"/>
                      </a:lnTo>
                      <a:lnTo>
                        <a:pt x="1432" y="710"/>
                      </a:lnTo>
                      <a:lnTo>
                        <a:pt x="1429" y="710"/>
                      </a:lnTo>
                      <a:lnTo>
                        <a:pt x="1418" y="698"/>
                      </a:lnTo>
                      <a:lnTo>
                        <a:pt x="1416" y="698"/>
                      </a:lnTo>
                      <a:lnTo>
                        <a:pt x="1413" y="701"/>
                      </a:lnTo>
                      <a:lnTo>
                        <a:pt x="1410" y="701"/>
                      </a:lnTo>
                      <a:lnTo>
                        <a:pt x="1407" y="712"/>
                      </a:lnTo>
                      <a:lnTo>
                        <a:pt x="1401" y="712"/>
                      </a:lnTo>
                      <a:lnTo>
                        <a:pt x="1396" y="721"/>
                      </a:lnTo>
                      <a:lnTo>
                        <a:pt x="1393" y="721"/>
                      </a:lnTo>
                      <a:lnTo>
                        <a:pt x="1388" y="723"/>
                      </a:lnTo>
                      <a:lnTo>
                        <a:pt x="1377" y="721"/>
                      </a:lnTo>
                      <a:lnTo>
                        <a:pt x="1375" y="721"/>
                      </a:lnTo>
                      <a:lnTo>
                        <a:pt x="1371" y="715"/>
                      </a:lnTo>
                      <a:lnTo>
                        <a:pt x="1368" y="706"/>
                      </a:lnTo>
                      <a:lnTo>
                        <a:pt x="1366" y="706"/>
                      </a:lnTo>
                      <a:lnTo>
                        <a:pt x="1363" y="712"/>
                      </a:lnTo>
                      <a:lnTo>
                        <a:pt x="1352" y="712"/>
                      </a:lnTo>
                      <a:lnTo>
                        <a:pt x="1344" y="718"/>
                      </a:lnTo>
                      <a:lnTo>
                        <a:pt x="1322" y="718"/>
                      </a:lnTo>
                      <a:lnTo>
                        <a:pt x="1316" y="715"/>
                      </a:lnTo>
                      <a:lnTo>
                        <a:pt x="1308" y="703"/>
                      </a:lnTo>
                      <a:lnTo>
                        <a:pt x="1302" y="701"/>
                      </a:lnTo>
                      <a:lnTo>
                        <a:pt x="1294" y="695"/>
                      </a:lnTo>
                      <a:lnTo>
                        <a:pt x="1291" y="695"/>
                      </a:lnTo>
                      <a:lnTo>
                        <a:pt x="1283" y="693"/>
                      </a:lnTo>
                      <a:lnTo>
                        <a:pt x="1278" y="693"/>
                      </a:lnTo>
                      <a:lnTo>
                        <a:pt x="1278" y="690"/>
                      </a:lnTo>
                      <a:lnTo>
                        <a:pt x="1275" y="693"/>
                      </a:lnTo>
                      <a:lnTo>
                        <a:pt x="1269" y="690"/>
                      </a:lnTo>
                      <a:lnTo>
                        <a:pt x="1266" y="690"/>
                      </a:lnTo>
                      <a:lnTo>
                        <a:pt x="1263" y="693"/>
                      </a:lnTo>
                      <a:lnTo>
                        <a:pt x="1261" y="693"/>
                      </a:lnTo>
                      <a:lnTo>
                        <a:pt x="1258" y="693"/>
                      </a:lnTo>
                      <a:lnTo>
                        <a:pt x="1255" y="690"/>
                      </a:lnTo>
                      <a:lnTo>
                        <a:pt x="1255" y="693"/>
                      </a:lnTo>
                      <a:lnTo>
                        <a:pt x="1253" y="690"/>
                      </a:lnTo>
                      <a:lnTo>
                        <a:pt x="1247" y="690"/>
                      </a:lnTo>
                      <a:lnTo>
                        <a:pt x="1245" y="690"/>
                      </a:lnTo>
                      <a:lnTo>
                        <a:pt x="1242" y="687"/>
                      </a:lnTo>
                      <a:lnTo>
                        <a:pt x="1242" y="690"/>
                      </a:lnTo>
                      <a:lnTo>
                        <a:pt x="1239" y="690"/>
                      </a:lnTo>
                      <a:lnTo>
                        <a:pt x="1236" y="690"/>
                      </a:lnTo>
                      <a:lnTo>
                        <a:pt x="1233" y="690"/>
                      </a:lnTo>
                      <a:lnTo>
                        <a:pt x="1230" y="695"/>
                      </a:lnTo>
                      <a:lnTo>
                        <a:pt x="1228" y="695"/>
                      </a:lnTo>
                      <a:lnTo>
                        <a:pt x="1228" y="693"/>
                      </a:lnTo>
                      <a:lnTo>
                        <a:pt x="1220" y="693"/>
                      </a:lnTo>
                      <a:lnTo>
                        <a:pt x="1217" y="690"/>
                      </a:lnTo>
                      <a:lnTo>
                        <a:pt x="1217" y="687"/>
                      </a:lnTo>
                      <a:lnTo>
                        <a:pt x="1212" y="682"/>
                      </a:lnTo>
                      <a:lnTo>
                        <a:pt x="1206" y="682"/>
                      </a:lnTo>
                      <a:lnTo>
                        <a:pt x="1203" y="682"/>
                      </a:lnTo>
                      <a:lnTo>
                        <a:pt x="1197" y="679"/>
                      </a:lnTo>
                      <a:lnTo>
                        <a:pt x="1189" y="677"/>
                      </a:lnTo>
                      <a:lnTo>
                        <a:pt x="1186" y="677"/>
                      </a:lnTo>
                      <a:lnTo>
                        <a:pt x="1186" y="679"/>
                      </a:lnTo>
                      <a:lnTo>
                        <a:pt x="1184" y="679"/>
                      </a:lnTo>
                      <a:lnTo>
                        <a:pt x="1178" y="677"/>
                      </a:lnTo>
                      <a:lnTo>
                        <a:pt x="1170" y="685"/>
                      </a:lnTo>
                      <a:lnTo>
                        <a:pt x="1167" y="687"/>
                      </a:lnTo>
                      <a:lnTo>
                        <a:pt x="1164" y="687"/>
                      </a:lnTo>
                      <a:lnTo>
                        <a:pt x="1161" y="687"/>
                      </a:lnTo>
                      <a:lnTo>
                        <a:pt x="1143" y="690"/>
                      </a:lnTo>
                      <a:lnTo>
                        <a:pt x="1140" y="693"/>
                      </a:lnTo>
                      <a:lnTo>
                        <a:pt x="1109" y="693"/>
                      </a:lnTo>
                      <a:lnTo>
                        <a:pt x="1073" y="695"/>
                      </a:lnTo>
                      <a:lnTo>
                        <a:pt x="1064" y="693"/>
                      </a:lnTo>
                      <a:lnTo>
                        <a:pt x="1059" y="693"/>
                      </a:lnTo>
                      <a:lnTo>
                        <a:pt x="1048" y="690"/>
                      </a:lnTo>
                      <a:lnTo>
                        <a:pt x="1046" y="687"/>
                      </a:lnTo>
                      <a:lnTo>
                        <a:pt x="1046" y="685"/>
                      </a:lnTo>
                      <a:lnTo>
                        <a:pt x="1046" y="679"/>
                      </a:lnTo>
                      <a:lnTo>
                        <a:pt x="1035" y="677"/>
                      </a:lnTo>
                      <a:lnTo>
                        <a:pt x="1029" y="670"/>
                      </a:lnTo>
                      <a:lnTo>
                        <a:pt x="1023" y="660"/>
                      </a:lnTo>
                      <a:lnTo>
                        <a:pt x="1023" y="662"/>
                      </a:lnTo>
                      <a:lnTo>
                        <a:pt x="1021" y="662"/>
                      </a:lnTo>
                      <a:lnTo>
                        <a:pt x="1021" y="660"/>
                      </a:lnTo>
                      <a:lnTo>
                        <a:pt x="1018" y="660"/>
                      </a:lnTo>
                      <a:lnTo>
                        <a:pt x="1015" y="662"/>
                      </a:lnTo>
                      <a:lnTo>
                        <a:pt x="1010" y="665"/>
                      </a:lnTo>
                      <a:lnTo>
                        <a:pt x="1007" y="665"/>
                      </a:lnTo>
                      <a:lnTo>
                        <a:pt x="1004" y="668"/>
                      </a:lnTo>
                      <a:lnTo>
                        <a:pt x="999" y="668"/>
                      </a:lnTo>
                      <a:lnTo>
                        <a:pt x="995" y="668"/>
                      </a:lnTo>
                      <a:lnTo>
                        <a:pt x="990" y="668"/>
                      </a:lnTo>
                      <a:lnTo>
                        <a:pt x="979" y="670"/>
                      </a:lnTo>
                      <a:lnTo>
                        <a:pt x="963" y="670"/>
                      </a:lnTo>
                      <a:lnTo>
                        <a:pt x="960" y="670"/>
                      </a:lnTo>
                      <a:lnTo>
                        <a:pt x="949" y="674"/>
                      </a:lnTo>
                      <a:lnTo>
                        <a:pt x="946" y="660"/>
                      </a:lnTo>
                      <a:lnTo>
                        <a:pt x="941" y="657"/>
                      </a:lnTo>
                      <a:lnTo>
                        <a:pt x="933" y="654"/>
                      </a:lnTo>
                      <a:lnTo>
                        <a:pt x="930" y="654"/>
                      </a:lnTo>
                      <a:lnTo>
                        <a:pt x="930" y="649"/>
                      </a:lnTo>
                      <a:lnTo>
                        <a:pt x="930" y="646"/>
                      </a:lnTo>
                      <a:lnTo>
                        <a:pt x="930" y="643"/>
                      </a:lnTo>
                      <a:lnTo>
                        <a:pt x="935" y="634"/>
                      </a:lnTo>
                      <a:lnTo>
                        <a:pt x="935" y="621"/>
                      </a:lnTo>
                      <a:lnTo>
                        <a:pt x="935" y="618"/>
                      </a:lnTo>
                      <a:lnTo>
                        <a:pt x="930" y="613"/>
                      </a:lnTo>
                      <a:lnTo>
                        <a:pt x="924" y="608"/>
                      </a:lnTo>
                      <a:lnTo>
                        <a:pt x="910" y="616"/>
                      </a:lnTo>
                      <a:lnTo>
                        <a:pt x="902" y="618"/>
                      </a:lnTo>
                      <a:lnTo>
                        <a:pt x="888" y="613"/>
                      </a:lnTo>
                      <a:lnTo>
                        <a:pt x="875" y="641"/>
                      </a:lnTo>
                      <a:lnTo>
                        <a:pt x="864" y="641"/>
                      </a:lnTo>
                      <a:lnTo>
                        <a:pt x="847" y="638"/>
                      </a:lnTo>
                      <a:lnTo>
                        <a:pt x="844" y="652"/>
                      </a:lnTo>
                      <a:lnTo>
                        <a:pt x="844" y="657"/>
                      </a:lnTo>
                      <a:lnTo>
                        <a:pt x="836" y="670"/>
                      </a:lnTo>
                      <a:lnTo>
                        <a:pt x="833" y="677"/>
                      </a:lnTo>
                      <a:lnTo>
                        <a:pt x="833" y="682"/>
                      </a:lnTo>
                      <a:lnTo>
                        <a:pt x="836" y="690"/>
                      </a:lnTo>
                      <a:lnTo>
                        <a:pt x="836" y="698"/>
                      </a:lnTo>
                      <a:lnTo>
                        <a:pt x="839" y="698"/>
                      </a:lnTo>
                      <a:lnTo>
                        <a:pt x="847" y="703"/>
                      </a:lnTo>
                      <a:lnTo>
                        <a:pt x="852" y="706"/>
                      </a:lnTo>
                      <a:lnTo>
                        <a:pt x="855" y="715"/>
                      </a:lnTo>
                      <a:lnTo>
                        <a:pt x="857" y="718"/>
                      </a:lnTo>
                      <a:lnTo>
                        <a:pt x="864" y="721"/>
                      </a:lnTo>
                      <a:lnTo>
                        <a:pt x="867" y="721"/>
                      </a:lnTo>
                      <a:lnTo>
                        <a:pt x="869" y="723"/>
                      </a:lnTo>
                      <a:lnTo>
                        <a:pt x="869" y="739"/>
                      </a:lnTo>
                      <a:lnTo>
                        <a:pt x="872" y="751"/>
                      </a:lnTo>
                      <a:lnTo>
                        <a:pt x="872" y="754"/>
                      </a:lnTo>
                      <a:lnTo>
                        <a:pt x="867" y="751"/>
                      </a:lnTo>
                      <a:lnTo>
                        <a:pt x="864" y="754"/>
                      </a:lnTo>
                      <a:lnTo>
                        <a:pt x="857" y="746"/>
                      </a:lnTo>
                      <a:lnTo>
                        <a:pt x="844" y="739"/>
                      </a:lnTo>
                      <a:lnTo>
                        <a:pt x="841" y="737"/>
                      </a:lnTo>
                      <a:lnTo>
                        <a:pt x="836" y="739"/>
                      </a:lnTo>
                      <a:lnTo>
                        <a:pt x="839" y="746"/>
                      </a:lnTo>
                      <a:lnTo>
                        <a:pt x="831" y="762"/>
                      </a:lnTo>
                      <a:lnTo>
                        <a:pt x="828" y="781"/>
                      </a:lnTo>
                      <a:lnTo>
                        <a:pt x="822" y="787"/>
                      </a:lnTo>
                      <a:lnTo>
                        <a:pt x="828" y="795"/>
                      </a:lnTo>
                      <a:lnTo>
                        <a:pt x="833" y="798"/>
                      </a:lnTo>
                      <a:lnTo>
                        <a:pt x="836" y="798"/>
                      </a:lnTo>
                      <a:lnTo>
                        <a:pt x="836" y="800"/>
                      </a:lnTo>
                      <a:lnTo>
                        <a:pt x="839" y="800"/>
                      </a:lnTo>
                      <a:lnTo>
                        <a:pt x="841" y="803"/>
                      </a:lnTo>
                      <a:lnTo>
                        <a:pt x="844" y="806"/>
                      </a:lnTo>
                      <a:lnTo>
                        <a:pt x="847" y="815"/>
                      </a:lnTo>
                      <a:lnTo>
                        <a:pt x="844" y="831"/>
                      </a:lnTo>
                      <a:lnTo>
                        <a:pt x="841" y="833"/>
                      </a:lnTo>
                      <a:lnTo>
                        <a:pt x="833" y="836"/>
                      </a:lnTo>
                      <a:lnTo>
                        <a:pt x="828" y="841"/>
                      </a:lnTo>
                      <a:lnTo>
                        <a:pt x="822" y="841"/>
                      </a:lnTo>
                      <a:lnTo>
                        <a:pt x="819" y="844"/>
                      </a:lnTo>
                      <a:lnTo>
                        <a:pt x="816" y="848"/>
                      </a:lnTo>
                      <a:lnTo>
                        <a:pt x="819" y="853"/>
                      </a:lnTo>
                      <a:lnTo>
                        <a:pt x="819" y="856"/>
                      </a:lnTo>
                      <a:lnTo>
                        <a:pt x="803" y="880"/>
                      </a:lnTo>
                      <a:lnTo>
                        <a:pt x="800" y="880"/>
                      </a:lnTo>
                      <a:lnTo>
                        <a:pt x="792" y="880"/>
                      </a:lnTo>
                      <a:lnTo>
                        <a:pt x="783" y="877"/>
                      </a:lnTo>
                      <a:lnTo>
                        <a:pt x="770" y="877"/>
                      </a:lnTo>
                      <a:lnTo>
                        <a:pt x="762" y="900"/>
                      </a:lnTo>
                      <a:lnTo>
                        <a:pt x="759" y="900"/>
                      </a:lnTo>
                      <a:lnTo>
                        <a:pt x="747" y="894"/>
                      </a:lnTo>
                      <a:lnTo>
                        <a:pt x="739" y="880"/>
                      </a:lnTo>
                      <a:lnTo>
                        <a:pt x="742" y="872"/>
                      </a:lnTo>
                      <a:lnTo>
                        <a:pt x="742" y="867"/>
                      </a:lnTo>
                      <a:lnTo>
                        <a:pt x="747" y="859"/>
                      </a:lnTo>
                      <a:lnTo>
                        <a:pt x="753" y="839"/>
                      </a:lnTo>
                      <a:lnTo>
                        <a:pt x="737" y="841"/>
                      </a:lnTo>
                      <a:lnTo>
                        <a:pt x="737" y="820"/>
                      </a:lnTo>
                      <a:lnTo>
                        <a:pt x="709" y="795"/>
                      </a:lnTo>
                      <a:lnTo>
                        <a:pt x="695" y="800"/>
                      </a:lnTo>
                      <a:lnTo>
                        <a:pt x="681" y="806"/>
                      </a:lnTo>
                      <a:lnTo>
                        <a:pt x="678" y="806"/>
                      </a:lnTo>
                      <a:lnTo>
                        <a:pt x="668" y="812"/>
                      </a:lnTo>
                      <a:lnTo>
                        <a:pt x="660" y="820"/>
                      </a:lnTo>
                      <a:lnTo>
                        <a:pt x="660" y="817"/>
                      </a:lnTo>
                      <a:lnTo>
                        <a:pt x="662" y="815"/>
                      </a:lnTo>
                      <a:lnTo>
                        <a:pt x="657" y="815"/>
                      </a:lnTo>
                      <a:lnTo>
                        <a:pt x="657" y="812"/>
                      </a:lnTo>
                      <a:lnTo>
                        <a:pt x="654" y="806"/>
                      </a:lnTo>
                      <a:lnTo>
                        <a:pt x="654" y="800"/>
                      </a:lnTo>
                      <a:lnTo>
                        <a:pt x="650" y="792"/>
                      </a:lnTo>
                      <a:lnTo>
                        <a:pt x="648" y="787"/>
                      </a:lnTo>
                      <a:lnTo>
                        <a:pt x="642" y="787"/>
                      </a:lnTo>
                      <a:lnTo>
                        <a:pt x="629" y="798"/>
                      </a:lnTo>
                      <a:lnTo>
                        <a:pt x="626" y="800"/>
                      </a:lnTo>
                      <a:lnTo>
                        <a:pt x="617" y="803"/>
                      </a:lnTo>
                      <a:lnTo>
                        <a:pt x="612" y="806"/>
                      </a:lnTo>
                      <a:lnTo>
                        <a:pt x="593" y="812"/>
                      </a:lnTo>
                      <a:lnTo>
                        <a:pt x="590" y="812"/>
                      </a:lnTo>
                      <a:lnTo>
                        <a:pt x="581" y="823"/>
                      </a:lnTo>
                      <a:lnTo>
                        <a:pt x="565" y="833"/>
                      </a:lnTo>
                      <a:lnTo>
                        <a:pt x="548" y="833"/>
                      </a:lnTo>
                      <a:lnTo>
                        <a:pt x="540" y="828"/>
                      </a:lnTo>
                      <a:lnTo>
                        <a:pt x="540" y="823"/>
                      </a:lnTo>
                      <a:lnTo>
                        <a:pt x="538" y="820"/>
                      </a:lnTo>
                      <a:lnTo>
                        <a:pt x="538" y="817"/>
                      </a:lnTo>
                      <a:lnTo>
                        <a:pt x="532" y="812"/>
                      </a:lnTo>
                      <a:lnTo>
                        <a:pt x="535" y="806"/>
                      </a:lnTo>
                      <a:lnTo>
                        <a:pt x="535" y="795"/>
                      </a:lnTo>
                      <a:lnTo>
                        <a:pt x="530" y="792"/>
                      </a:lnTo>
                      <a:lnTo>
                        <a:pt x="524" y="787"/>
                      </a:lnTo>
                      <a:lnTo>
                        <a:pt x="527" y="781"/>
                      </a:lnTo>
                      <a:lnTo>
                        <a:pt x="516" y="779"/>
                      </a:lnTo>
                      <a:lnTo>
                        <a:pt x="504" y="784"/>
                      </a:lnTo>
                      <a:lnTo>
                        <a:pt x="483" y="781"/>
                      </a:lnTo>
                      <a:lnTo>
                        <a:pt x="477" y="781"/>
                      </a:lnTo>
                      <a:lnTo>
                        <a:pt x="447" y="787"/>
                      </a:lnTo>
                      <a:lnTo>
                        <a:pt x="453" y="772"/>
                      </a:lnTo>
                      <a:lnTo>
                        <a:pt x="450" y="770"/>
                      </a:lnTo>
                      <a:lnTo>
                        <a:pt x="453" y="764"/>
                      </a:lnTo>
                      <a:lnTo>
                        <a:pt x="450" y="759"/>
                      </a:lnTo>
                      <a:lnTo>
                        <a:pt x="450" y="748"/>
                      </a:lnTo>
                      <a:lnTo>
                        <a:pt x="450" y="743"/>
                      </a:lnTo>
                      <a:lnTo>
                        <a:pt x="447" y="743"/>
                      </a:lnTo>
                      <a:lnTo>
                        <a:pt x="447" y="737"/>
                      </a:lnTo>
                      <a:lnTo>
                        <a:pt x="450" y="726"/>
                      </a:lnTo>
                      <a:lnTo>
                        <a:pt x="447" y="723"/>
                      </a:lnTo>
                      <a:lnTo>
                        <a:pt x="447" y="721"/>
                      </a:lnTo>
                      <a:lnTo>
                        <a:pt x="453" y="712"/>
                      </a:lnTo>
                      <a:lnTo>
                        <a:pt x="455" y="712"/>
                      </a:lnTo>
                      <a:lnTo>
                        <a:pt x="463" y="712"/>
                      </a:lnTo>
                      <a:lnTo>
                        <a:pt x="466" y="712"/>
                      </a:lnTo>
                      <a:lnTo>
                        <a:pt x="474" y="712"/>
                      </a:lnTo>
                      <a:lnTo>
                        <a:pt x="483" y="703"/>
                      </a:lnTo>
                      <a:lnTo>
                        <a:pt x="486" y="679"/>
                      </a:lnTo>
                      <a:lnTo>
                        <a:pt x="488" y="670"/>
                      </a:lnTo>
                      <a:lnTo>
                        <a:pt x="486" y="668"/>
                      </a:lnTo>
                      <a:lnTo>
                        <a:pt x="483" y="662"/>
                      </a:lnTo>
                      <a:lnTo>
                        <a:pt x="483" y="657"/>
                      </a:lnTo>
                      <a:lnTo>
                        <a:pt x="486" y="654"/>
                      </a:lnTo>
                      <a:lnTo>
                        <a:pt x="486" y="652"/>
                      </a:lnTo>
                      <a:lnTo>
                        <a:pt x="486" y="649"/>
                      </a:lnTo>
                      <a:lnTo>
                        <a:pt x="491" y="643"/>
                      </a:lnTo>
                      <a:lnTo>
                        <a:pt x="491" y="632"/>
                      </a:lnTo>
                      <a:lnTo>
                        <a:pt x="494" y="624"/>
                      </a:lnTo>
                      <a:lnTo>
                        <a:pt x="496" y="624"/>
                      </a:lnTo>
                      <a:lnTo>
                        <a:pt x="507" y="618"/>
                      </a:lnTo>
                      <a:lnTo>
                        <a:pt x="510" y="616"/>
                      </a:lnTo>
                      <a:lnTo>
                        <a:pt x="512" y="608"/>
                      </a:lnTo>
                      <a:lnTo>
                        <a:pt x="519" y="605"/>
                      </a:lnTo>
                      <a:lnTo>
                        <a:pt x="527" y="608"/>
                      </a:lnTo>
                      <a:lnTo>
                        <a:pt x="532" y="608"/>
                      </a:lnTo>
                      <a:lnTo>
                        <a:pt x="532" y="593"/>
                      </a:lnTo>
                      <a:lnTo>
                        <a:pt x="540" y="585"/>
                      </a:lnTo>
                      <a:lnTo>
                        <a:pt x="546" y="580"/>
                      </a:lnTo>
                      <a:lnTo>
                        <a:pt x="548" y="580"/>
                      </a:lnTo>
                      <a:lnTo>
                        <a:pt x="552" y="577"/>
                      </a:lnTo>
                      <a:lnTo>
                        <a:pt x="560" y="574"/>
                      </a:lnTo>
                      <a:lnTo>
                        <a:pt x="565" y="572"/>
                      </a:lnTo>
                      <a:lnTo>
                        <a:pt x="565" y="565"/>
                      </a:lnTo>
                      <a:lnTo>
                        <a:pt x="573" y="563"/>
                      </a:lnTo>
                      <a:lnTo>
                        <a:pt x="576" y="560"/>
                      </a:lnTo>
                      <a:lnTo>
                        <a:pt x="579" y="552"/>
                      </a:lnTo>
                      <a:lnTo>
                        <a:pt x="576" y="552"/>
                      </a:lnTo>
                      <a:lnTo>
                        <a:pt x="571" y="549"/>
                      </a:lnTo>
                      <a:lnTo>
                        <a:pt x="576" y="536"/>
                      </a:lnTo>
                      <a:lnTo>
                        <a:pt x="573" y="530"/>
                      </a:lnTo>
                      <a:lnTo>
                        <a:pt x="573" y="524"/>
                      </a:lnTo>
                      <a:lnTo>
                        <a:pt x="571" y="511"/>
                      </a:lnTo>
                      <a:lnTo>
                        <a:pt x="573" y="508"/>
                      </a:lnTo>
                      <a:lnTo>
                        <a:pt x="565" y="508"/>
                      </a:lnTo>
                      <a:lnTo>
                        <a:pt x="560" y="506"/>
                      </a:lnTo>
                      <a:lnTo>
                        <a:pt x="552" y="508"/>
                      </a:lnTo>
                      <a:lnTo>
                        <a:pt x="548" y="503"/>
                      </a:lnTo>
                      <a:lnTo>
                        <a:pt x="543" y="500"/>
                      </a:lnTo>
                      <a:lnTo>
                        <a:pt x="540" y="500"/>
                      </a:lnTo>
                      <a:lnTo>
                        <a:pt x="538" y="503"/>
                      </a:lnTo>
                      <a:lnTo>
                        <a:pt x="535" y="508"/>
                      </a:lnTo>
                      <a:lnTo>
                        <a:pt x="532" y="514"/>
                      </a:lnTo>
                      <a:lnTo>
                        <a:pt x="527" y="514"/>
                      </a:lnTo>
                      <a:lnTo>
                        <a:pt x="521" y="511"/>
                      </a:lnTo>
                      <a:lnTo>
                        <a:pt x="519" y="514"/>
                      </a:lnTo>
                      <a:lnTo>
                        <a:pt x="507" y="516"/>
                      </a:lnTo>
                      <a:lnTo>
                        <a:pt x="499" y="524"/>
                      </a:lnTo>
                      <a:lnTo>
                        <a:pt x="491" y="524"/>
                      </a:lnTo>
                      <a:lnTo>
                        <a:pt x="488" y="524"/>
                      </a:lnTo>
                      <a:lnTo>
                        <a:pt x="483" y="536"/>
                      </a:lnTo>
                      <a:lnTo>
                        <a:pt x="477" y="536"/>
                      </a:lnTo>
                      <a:lnTo>
                        <a:pt x="469" y="536"/>
                      </a:lnTo>
                      <a:lnTo>
                        <a:pt x="461" y="536"/>
                      </a:lnTo>
                      <a:lnTo>
                        <a:pt x="458" y="539"/>
                      </a:lnTo>
                      <a:lnTo>
                        <a:pt x="458" y="549"/>
                      </a:lnTo>
                      <a:lnTo>
                        <a:pt x="447" y="552"/>
                      </a:lnTo>
                      <a:lnTo>
                        <a:pt x="443" y="549"/>
                      </a:lnTo>
                      <a:lnTo>
                        <a:pt x="438" y="549"/>
                      </a:lnTo>
                      <a:lnTo>
                        <a:pt x="438" y="552"/>
                      </a:lnTo>
                      <a:lnTo>
                        <a:pt x="430" y="552"/>
                      </a:lnTo>
                      <a:lnTo>
                        <a:pt x="425" y="552"/>
                      </a:lnTo>
                      <a:lnTo>
                        <a:pt x="425" y="557"/>
                      </a:lnTo>
                      <a:lnTo>
                        <a:pt x="417" y="557"/>
                      </a:lnTo>
                      <a:lnTo>
                        <a:pt x="410" y="555"/>
                      </a:lnTo>
                      <a:lnTo>
                        <a:pt x="405" y="557"/>
                      </a:lnTo>
                      <a:lnTo>
                        <a:pt x="400" y="563"/>
                      </a:lnTo>
                      <a:lnTo>
                        <a:pt x="392" y="563"/>
                      </a:lnTo>
                      <a:lnTo>
                        <a:pt x="384" y="563"/>
                      </a:lnTo>
                      <a:lnTo>
                        <a:pt x="381" y="569"/>
                      </a:lnTo>
                      <a:lnTo>
                        <a:pt x="366" y="569"/>
                      </a:lnTo>
                      <a:lnTo>
                        <a:pt x="358" y="565"/>
                      </a:lnTo>
                      <a:lnTo>
                        <a:pt x="356" y="563"/>
                      </a:lnTo>
                      <a:lnTo>
                        <a:pt x="353" y="563"/>
                      </a:lnTo>
                      <a:lnTo>
                        <a:pt x="339" y="572"/>
                      </a:lnTo>
                      <a:lnTo>
                        <a:pt x="336" y="574"/>
                      </a:lnTo>
                      <a:lnTo>
                        <a:pt x="336" y="580"/>
                      </a:lnTo>
                      <a:lnTo>
                        <a:pt x="333" y="580"/>
                      </a:lnTo>
                      <a:lnTo>
                        <a:pt x="328" y="585"/>
                      </a:lnTo>
                      <a:lnTo>
                        <a:pt x="333" y="588"/>
                      </a:lnTo>
                      <a:lnTo>
                        <a:pt x="328" y="591"/>
                      </a:lnTo>
                      <a:lnTo>
                        <a:pt x="333" y="596"/>
                      </a:lnTo>
                      <a:lnTo>
                        <a:pt x="331" y="599"/>
                      </a:lnTo>
                      <a:lnTo>
                        <a:pt x="331" y="605"/>
                      </a:lnTo>
                      <a:lnTo>
                        <a:pt x="333" y="610"/>
                      </a:lnTo>
                      <a:lnTo>
                        <a:pt x="336" y="610"/>
                      </a:lnTo>
                      <a:lnTo>
                        <a:pt x="328" y="610"/>
                      </a:lnTo>
                      <a:lnTo>
                        <a:pt x="320" y="610"/>
                      </a:lnTo>
                      <a:lnTo>
                        <a:pt x="315" y="610"/>
                      </a:lnTo>
                      <a:lnTo>
                        <a:pt x="308" y="618"/>
                      </a:lnTo>
                      <a:lnTo>
                        <a:pt x="312" y="621"/>
                      </a:lnTo>
                      <a:lnTo>
                        <a:pt x="308" y="621"/>
                      </a:lnTo>
                      <a:lnTo>
                        <a:pt x="303" y="624"/>
                      </a:lnTo>
                      <a:lnTo>
                        <a:pt x="300" y="629"/>
                      </a:lnTo>
                      <a:lnTo>
                        <a:pt x="303" y="632"/>
                      </a:lnTo>
                      <a:lnTo>
                        <a:pt x="300" y="638"/>
                      </a:lnTo>
                      <a:lnTo>
                        <a:pt x="300" y="641"/>
                      </a:lnTo>
                      <a:lnTo>
                        <a:pt x="295" y="643"/>
                      </a:lnTo>
                      <a:lnTo>
                        <a:pt x="292" y="646"/>
                      </a:lnTo>
                      <a:lnTo>
                        <a:pt x="281" y="641"/>
                      </a:lnTo>
                      <a:lnTo>
                        <a:pt x="281" y="652"/>
                      </a:lnTo>
                      <a:lnTo>
                        <a:pt x="284" y="654"/>
                      </a:lnTo>
                      <a:lnTo>
                        <a:pt x="281" y="657"/>
                      </a:lnTo>
                      <a:lnTo>
                        <a:pt x="276" y="657"/>
                      </a:lnTo>
                      <a:lnTo>
                        <a:pt x="270" y="662"/>
                      </a:lnTo>
                      <a:lnTo>
                        <a:pt x="264" y="665"/>
                      </a:lnTo>
                      <a:lnTo>
                        <a:pt x="259" y="665"/>
                      </a:lnTo>
                      <a:lnTo>
                        <a:pt x="254" y="660"/>
                      </a:lnTo>
                      <a:lnTo>
                        <a:pt x="254" y="657"/>
                      </a:lnTo>
                      <a:lnTo>
                        <a:pt x="251" y="660"/>
                      </a:lnTo>
                      <a:lnTo>
                        <a:pt x="248" y="665"/>
                      </a:lnTo>
                      <a:lnTo>
                        <a:pt x="246" y="668"/>
                      </a:lnTo>
                      <a:lnTo>
                        <a:pt x="231" y="668"/>
                      </a:lnTo>
                      <a:lnTo>
                        <a:pt x="234" y="670"/>
                      </a:lnTo>
                      <a:lnTo>
                        <a:pt x="228" y="677"/>
                      </a:lnTo>
                      <a:lnTo>
                        <a:pt x="231" y="685"/>
                      </a:lnTo>
                      <a:lnTo>
                        <a:pt x="228" y="685"/>
                      </a:lnTo>
                      <a:lnTo>
                        <a:pt x="226" y="687"/>
                      </a:lnTo>
                      <a:lnTo>
                        <a:pt x="223" y="687"/>
                      </a:lnTo>
                      <a:lnTo>
                        <a:pt x="220" y="687"/>
                      </a:lnTo>
                      <a:lnTo>
                        <a:pt x="223" y="682"/>
                      </a:lnTo>
                      <a:lnTo>
                        <a:pt x="218" y="679"/>
                      </a:lnTo>
                      <a:lnTo>
                        <a:pt x="218" y="674"/>
                      </a:lnTo>
                      <a:lnTo>
                        <a:pt x="215" y="674"/>
                      </a:lnTo>
                      <a:lnTo>
                        <a:pt x="215" y="679"/>
                      </a:lnTo>
                      <a:lnTo>
                        <a:pt x="212" y="679"/>
                      </a:lnTo>
                      <a:lnTo>
                        <a:pt x="212" y="682"/>
                      </a:lnTo>
                      <a:lnTo>
                        <a:pt x="210" y="682"/>
                      </a:lnTo>
                      <a:lnTo>
                        <a:pt x="207" y="685"/>
                      </a:lnTo>
                      <a:lnTo>
                        <a:pt x="203" y="693"/>
                      </a:lnTo>
                      <a:lnTo>
                        <a:pt x="198" y="695"/>
                      </a:lnTo>
                      <a:lnTo>
                        <a:pt x="195" y="701"/>
                      </a:lnTo>
                      <a:lnTo>
                        <a:pt x="190" y="706"/>
                      </a:lnTo>
                      <a:lnTo>
                        <a:pt x="187" y="706"/>
                      </a:lnTo>
                      <a:lnTo>
                        <a:pt x="182" y="706"/>
                      </a:lnTo>
                      <a:lnTo>
                        <a:pt x="176" y="695"/>
                      </a:lnTo>
                      <a:lnTo>
                        <a:pt x="170" y="698"/>
                      </a:lnTo>
                      <a:lnTo>
                        <a:pt x="159" y="698"/>
                      </a:lnTo>
                      <a:lnTo>
                        <a:pt x="154" y="693"/>
                      </a:lnTo>
                      <a:lnTo>
                        <a:pt x="143" y="693"/>
                      </a:lnTo>
                      <a:lnTo>
                        <a:pt x="141" y="690"/>
                      </a:lnTo>
                      <a:lnTo>
                        <a:pt x="134" y="693"/>
                      </a:lnTo>
                      <a:lnTo>
                        <a:pt x="132" y="693"/>
                      </a:lnTo>
                      <a:lnTo>
                        <a:pt x="118" y="701"/>
                      </a:lnTo>
                      <a:lnTo>
                        <a:pt x="118" y="693"/>
                      </a:lnTo>
                      <a:lnTo>
                        <a:pt x="110" y="693"/>
                      </a:lnTo>
                      <a:lnTo>
                        <a:pt x="108" y="687"/>
                      </a:lnTo>
                      <a:lnTo>
                        <a:pt x="101" y="682"/>
                      </a:lnTo>
                      <a:lnTo>
                        <a:pt x="98" y="682"/>
                      </a:lnTo>
                      <a:lnTo>
                        <a:pt x="96" y="682"/>
                      </a:lnTo>
                      <a:lnTo>
                        <a:pt x="93" y="682"/>
                      </a:lnTo>
                      <a:lnTo>
                        <a:pt x="90" y="682"/>
                      </a:lnTo>
                      <a:lnTo>
                        <a:pt x="88" y="679"/>
                      </a:lnTo>
                      <a:lnTo>
                        <a:pt x="85" y="679"/>
                      </a:lnTo>
                      <a:lnTo>
                        <a:pt x="85" y="674"/>
                      </a:lnTo>
                      <a:lnTo>
                        <a:pt x="82" y="670"/>
                      </a:lnTo>
                      <a:lnTo>
                        <a:pt x="80" y="665"/>
                      </a:lnTo>
                      <a:lnTo>
                        <a:pt x="77" y="662"/>
                      </a:lnTo>
                      <a:lnTo>
                        <a:pt x="74" y="660"/>
                      </a:lnTo>
                      <a:lnTo>
                        <a:pt x="72" y="660"/>
                      </a:lnTo>
                      <a:lnTo>
                        <a:pt x="63" y="662"/>
                      </a:lnTo>
                      <a:lnTo>
                        <a:pt x="55" y="657"/>
                      </a:lnTo>
                      <a:lnTo>
                        <a:pt x="52" y="654"/>
                      </a:lnTo>
                      <a:lnTo>
                        <a:pt x="47" y="654"/>
                      </a:lnTo>
                      <a:lnTo>
                        <a:pt x="39" y="657"/>
                      </a:lnTo>
                      <a:lnTo>
                        <a:pt x="41" y="649"/>
                      </a:lnTo>
                      <a:lnTo>
                        <a:pt x="39" y="643"/>
                      </a:lnTo>
                      <a:lnTo>
                        <a:pt x="44" y="634"/>
                      </a:lnTo>
                      <a:lnTo>
                        <a:pt x="49" y="626"/>
                      </a:lnTo>
                      <a:lnTo>
                        <a:pt x="44" y="629"/>
                      </a:lnTo>
                      <a:lnTo>
                        <a:pt x="39" y="632"/>
                      </a:lnTo>
                      <a:lnTo>
                        <a:pt x="36" y="632"/>
                      </a:lnTo>
                      <a:lnTo>
                        <a:pt x="29" y="638"/>
                      </a:lnTo>
                      <a:lnTo>
                        <a:pt x="27" y="634"/>
                      </a:lnTo>
                      <a:lnTo>
                        <a:pt x="24" y="634"/>
                      </a:lnTo>
                      <a:lnTo>
                        <a:pt x="19" y="632"/>
                      </a:lnTo>
                      <a:lnTo>
                        <a:pt x="16" y="632"/>
                      </a:lnTo>
                      <a:lnTo>
                        <a:pt x="13" y="634"/>
                      </a:lnTo>
                      <a:lnTo>
                        <a:pt x="16" y="638"/>
                      </a:lnTo>
                      <a:lnTo>
                        <a:pt x="8" y="638"/>
                      </a:lnTo>
                      <a:lnTo>
                        <a:pt x="3" y="634"/>
                      </a:lnTo>
                      <a:lnTo>
                        <a:pt x="0" y="626"/>
                      </a:lnTo>
                      <a:lnTo>
                        <a:pt x="0" y="621"/>
                      </a:lnTo>
                      <a:lnTo>
                        <a:pt x="5" y="616"/>
                      </a:lnTo>
                      <a:lnTo>
                        <a:pt x="5" y="613"/>
                      </a:lnTo>
                      <a:lnTo>
                        <a:pt x="5" y="608"/>
                      </a:lnTo>
                      <a:lnTo>
                        <a:pt x="3" y="608"/>
                      </a:lnTo>
                      <a:close/>
                    </a:path>
                  </a:pathLst>
                </a:custGeom>
                <a:grpFill/>
                <a:ln w="12700" cap="flat" cmpd="sng" algn="ctr">
                  <a:solidFill>
                    <a:schemeClr val="bg1">
                      <a:lumMod val="85000"/>
                    </a:schemeClr>
                  </a:solidFill>
                  <a:prstDash val="solid"/>
                  <a:round/>
                  <a:headEnd type="none" w="med" len="med"/>
                  <a:tailEnd type="none" w="med" len="med"/>
                </a:ln>
              </p:spPr>
            </p:sp>
            <p:sp>
              <p:nvSpPr>
                <p:cNvPr id="57" name="ee4p_BR_18"/>
                <p:cNvSpPr>
                  <a:spLocks/>
                </p:cNvSpPr>
                <p:nvPr>
                  <p:custDataLst>
                    <p:tags r:id="rId19"/>
                  </p:custDataLst>
                </p:nvPr>
              </p:nvSpPr>
              <p:spPr bwMode="auto">
                <a:xfrm>
                  <a:off x="4231045" y="5340986"/>
                  <a:ext cx="831780" cy="779325"/>
                </a:xfrm>
                <a:custGeom>
                  <a:avLst/>
                  <a:gdLst/>
                  <a:ahLst/>
                  <a:cxnLst>
                    <a:cxn ang="0">
                      <a:pos x="411" y="884"/>
                    </a:cxn>
                    <a:cxn ang="0">
                      <a:pos x="670" y="629"/>
                    </a:cxn>
                    <a:cxn ang="0">
                      <a:pos x="762" y="500"/>
                    </a:cxn>
                    <a:cxn ang="0">
                      <a:pos x="892" y="426"/>
                    </a:cxn>
                    <a:cxn ang="0">
                      <a:pos x="1032" y="321"/>
                    </a:cxn>
                    <a:cxn ang="0">
                      <a:pos x="1143" y="204"/>
                    </a:cxn>
                    <a:cxn ang="0">
                      <a:pos x="1267" y="177"/>
                    </a:cxn>
                    <a:cxn ang="0">
                      <a:pos x="1375" y="150"/>
                    </a:cxn>
                    <a:cxn ang="0">
                      <a:pos x="1499" y="48"/>
                    </a:cxn>
                    <a:cxn ang="0">
                      <a:pos x="1623" y="39"/>
                    </a:cxn>
                    <a:cxn ang="0">
                      <a:pos x="1728" y="12"/>
                    </a:cxn>
                    <a:cxn ang="0">
                      <a:pos x="1819" y="28"/>
                    </a:cxn>
                    <a:cxn ang="0">
                      <a:pos x="1888" y="45"/>
                    </a:cxn>
                    <a:cxn ang="0">
                      <a:pos x="1988" y="56"/>
                    </a:cxn>
                    <a:cxn ang="0">
                      <a:pos x="2101" y="78"/>
                    </a:cxn>
                    <a:cxn ang="0">
                      <a:pos x="2175" y="100"/>
                    </a:cxn>
                    <a:cxn ang="0">
                      <a:pos x="2233" y="97"/>
                    </a:cxn>
                    <a:cxn ang="0">
                      <a:pos x="2294" y="135"/>
                    </a:cxn>
                    <a:cxn ang="0">
                      <a:pos x="2382" y="186"/>
                    </a:cxn>
                    <a:cxn ang="0">
                      <a:pos x="2465" y="186"/>
                    </a:cxn>
                    <a:cxn ang="0">
                      <a:pos x="2550" y="232"/>
                    </a:cxn>
                    <a:cxn ang="0">
                      <a:pos x="2663" y="312"/>
                    </a:cxn>
                    <a:cxn ang="0">
                      <a:pos x="2749" y="414"/>
                    </a:cxn>
                    <a:cxn ang="0">
                      <a:pos x="2826" y="497"/>
                    </a:cxn>
                    <a:cxn ang="0">
                      <a:pos x="2956" y="572"/>
                    </a:cxn>
                    <a:cxn ang="0">
                      <a:pos x="3036" y="574"/>
                    </a:cxn>
                    <a:cxn ang="0">
                      <a:pos x="3119" y="569"/>
                    </a:cxn>
                    <a:cxn ang="0">
                      <a:pos x="3186" y="588"/>
                    </a:cxn>
                    <a:cxn ang="0">
                      <a:pos x="3227" y="629"/>
                    </a:cxn>
                    <a:cxn ang="0">
                      <a:pos x="3179" y="674"/>
                    </a:cxn>
                    <a:cxn ang="0">
                      <a:pos x="3136" y="705"/>
                    </a:cxn>
                    <a:cxn ang="0">
                      <a:pos x="3133" y="756"/>
                    </a:cxn>
                    <a:cxn ang="0">
                      <a:pos x="3125" y="823"/>
                    </a:cxn>
                    <a:cxn ang="0">
                      <a:pos x="3102" y="859"/>
                    </a:cxn>
                    <a:cxn ang="0">
                      <a:pos x="3072" y="886"/>
                    </a:cxn>
                    <a:cxn ang="0">
                      <a:pos x="3041" y="908"/>
                    </a:cxn>
                    <a:cxn ang="0">
                      <a:pos x="3094" y="950"/>
                    </a:cxn>
                    <a:cxn ang="0">
                      <a:pos x="3166" y="905"/>
                    </a:cxn>
                    <a:cxn ang="0">
                      <a:pos x="3219" y="950"/>
                    </a:cxn>
                    <a:cxn ang="0">
                      <a:pos x="2834" y="1628"/>
                    </a:cxn>
                    <a:cxn ang="0">
                      <a:pos x="2220" y="2150"/>
                    </a:cxn>
                    <a:cxn ang="0">
                      <a:pos x="1709" y="2771"/>
                    </a:cxn>
                    <a:cxn ang="0">
                      <a:pos x="1822" y="2398"/>
                    </a:cxn>
                    <a:cxn ang="0">
                      <a:pos x="1700" y="2271"/>
                    </a:cxn>
                    <a:cxn ang="0">
                      <a:pos x="1615" y="2170"/>
                    </a:cxn>
                    <a:cxn ang="0">
                      <a:pos x="1554" y="2086"/>
                    </a:cxn>
                    <a:cxn ang="0">
                      <a:pos x="1477" y="2020"/>
                    </a:cxn>
                    <a:cxn ang="0">
                      <a:pos x="1295" y="1887"/>
                    </a:cxn>
                    <a:cxn ang="0">
                      <a:pos x="1132" y="1816"/>
                    </a:cxn>
                    <a:cxn ang="0">
                      <a:pos x="1074" y="1756"/>
                    </a:cxn>
                    <a:cxn ang="0">
                      <a:pos x="974" y="1747"/>
                    </a:cxn>
                    <a:cxn ang="0">
                      <a:pos x="933" y="1667"/>
                    </a:cxn>
                    <a:cxn ang="0">
                      <a:pos x="853" y="1595"/>
                    </a:cxn>
                    <a:cxn ang="0">
                      <a:pos x="795" y="1620"/>
                    </a:cxn>
                    <a:cxn ang="0">
                      <a:pos x="698" y="1675"/>
                    </a:cxn>
                    <a:cxn ang="0">
                      <a:pos x="654" y="1549"/>
                    </a:cxn>
                    <a:cxn ang="0">
                      <a:pos x="577" y="1474"/>
                    </a:cxn>
                    <a:cxn ang="0">
                      <a:pos x="511" y="1429"/>
                    </a:cxn>
                    <a:cxn ang="0">
                      <a:pos x="437" y="1350"/>
                    </a:cxn>
                    <a:cxn ang="0">
                      <a:pos x="351" y="1286"/>
                    </a:cxn>
                    <a:cxn ang="0">
                      <a:pos x="235" y="1258"/>
                    </a:cxn>
                    <a:cxn ang="0">
                      <a:pos x="158" y="1336"/>
                    </a:cxn>
                    <a:cxn ang="0">
                      <a:pos x="14" y="1303"/>
                    </a:cxn>
                  </a:cxnLst>
                  <a:rect l="0" t="0" r="r" b="b"/>
                  <a:pathLst>
                    <a:path w="3235" h="2795">
                      <a:moveTo>
                        <a:pt x="130" y="1212"/>
                      </a:moveTo>
                      <a:lnTo>
                        <a:pt x="133" y="1195"/>
                      </a:lnTo>
                      <a:lnTo>
                        <a:pt x="130" y="1178"/>
                      </a:lnTo>
                      <a:lnTo>
                        <a:pt x="130" y="1173"/>
                      </a:lnTo>
                      <a:lnTo>
                        <a:pt x="143" y="1151"/>
                      </a:lnTo>
                      <a:lnTo>
                        <a:pt x="163" y="1135"/>
                      </a:lnTo>
                      <a:lnTo>
                        <a:pt x="171" y="1132"/>
                      </a:lnTo>
                      <a:lnTo>
                        <a:pt x="194" y="1132"/>
                      </a:lnTo>
                      <a:lnTo>
                        <a:pt x="210" y="1126"/>
                      </a:lnTo>
                      <a:lnTo>
                        <a:pt x="213" y="1124"/>
                      </a:lnTo>
                      <a:lnTo>
                        <a:pt x="223" y="1115"/>
                      </a:lnTo>
                      <a:lnTo>
                        <a:pt x="243" y="1099"/>
                      </a:lnTo>
                      <a:lnTo>
                        <a:pt x="268" y="1066"/>
                      </a:lnTo>
                      <a:lnTo>
                        <a:pt x="276" y="1055"/>
                      </a:lnTo>
                      <a:lnTo>
                        <a:pt x="290" y="1043"/>
                      </a:lnTo>
                      <a:lnTo>
                        <a:pt x="301" y="1027"/>
                      </a:lnTo>
                      <a:lnTo>
                        <a:pt x="320" y="1015"/>
                      </a:lnTo>
                      <a:lnTo>
                        <a:pt x="332" y="1010"/>
                      </a:lnTo>
                      <a:lnTo>
                        <a:pt x="337" y="1005"/>
                      </a:lnTo>
                      <a:lnTo>
                        <a:pt x="345" y="999"/>
                      </a:lnTo>
                      <a:lnTo>
                        <a:pt x="353" y="988"/>
                      </a:lnTo>
                      <a:lnTo>
                        <a:pt x="353" y="979"/>
                      </a:lnTo>
                      <a:lnTo>
                        <a:pt x="353" y="974"/>
                      </a:lnTo>
                      <a:lnTo>
                        <a:pt x="356" y="961"/>
                      </a:lnTo>
                      <a:lnTo>
                        <a:pt x="361" y="958"/>
                      </a:lnTo>
                      <a:lnTo>
                        <a:pt x="378" y="958"/>
                      </a:lnTo>
                      <a:lnTo>
                        <a:pt x="384" y="955"/>
                      </a:lnTo>
                      <a:lnTo>
                        <a:pt x="403" y="920"/>
                      </a:lnTo>
                      <a:lnTo>
                        <a:pt x="406" y="910"/>
                      </a:lnTo>
                      <a:lnTo>
                        <a:pt x="403" y="900"/>
                      </a:lnTo>
                      <a:lnTo>
                        <a:pt x="411" y="884"/>
                      </a:lnTo>
                      <a:lnTo>
                        <a:pt x="422" y="869"/>
                      </a:lnTo>
                      <a:lnTo>
                        <a:pt x="428" y="853"/>
                      </a:lnTo>
                      <a:lnTo>
                        <a:pt x="437" y="851"/>
                      </a:lnTo>
                      <a:lnTo>
                        <a:pt x="450" y="851"/>
                      </a:lnTo>
                      <a:lnTo>
                        <a:pt x="461" y="841"/>
                      </a:lnTo>
                      <a:lnTo>
                        <a:pt x="467" y="839"/>
                      </a:lnTo>
                      <a:lnTo>
                        <a:pt x="494" y="836"/>
                      </a:lnTo>
                      <a:lnTo>
                        <a:pt x="499" y="836"/>
                      </a:lnTo>
                      <a:lnTo>
                        <a:pt x="503" y="820"/>
                      </a:lnTo>
                      <a:lnTo>
                        <a:pt x="508" y="812"/>
                      </a:lnTo>
                      <a:lnTo>
                        <a:pt x="499" y="803"/>
                      </a:lnTo>
                      <a:lnTo>
                        <a:pt x="503" y="792"/>
                      </a:lnTo>
                      <a:lnTo>
                        <a:pt x="508" y="787"/>
                      </a:lnTo>
                      <a:lnTo>
                        <a:pt x="514" y="784"/>
                      </a:lnTo>
                      <a:lnTo>
                        <a:pt x="532" y="779"/>
                      </a:lnTo>
                      <a:lnTo>
                        <a:pt x="539" y="773"/>
                      </a:lnTo>
                      <a:lnTo>
                        <a:pt x="547" y="762"/>
                      </a:lnTo>
                      <a:lnTo>
                        <a:pt x="549" y="756"/>
                      </a:lnTo>
                      <a:lnTo>
                        <a:pt x="549" y="746"/>
                      </a:lnTo>
                      <a:lnTo>
                        <a:pt x="547" y="726"/>
                      </a:lnTo>
                      <a:lnTo>
                        <a:pt x="549" y="718"/>
                      </a:lnTo>
                      <a:lnTo>
                        <a:pt x="555" y="715"/>
                      </a:lnTo>
                      <a:lnTo>
                        <a:pt x="563" y="710"/>
                      </a:lnTo>
                      <a:lnTo>
                        <a:pt x="593" y="710"/>
                      </a:lnTo>
                      <a:lnTo>
                        <a:pt x="605" y="695"/>
                      </a:lnTo>
                      <a:lnTo>
                        <a:pt x="610" y="685"/>
                      </a:lnTo>
                      <a:lnTo>
                        <a:pt x="618" y="674"/>
                      </a:lnTo>
                      <a:lnTo>
                        <a:pt x="652" y="646"/>
                      </a:lnTo>
                      <a:lnTo>
                        <a:pt x="662" y="641"/>
                      </a:lnTo>
                      <a:lnTo>
                        <a:pt x="668" y="635"/>
                      </a:lnTo>
                      <a:lnTo>
                        <a:pt x="670" y="629"/>
                      </a:lnTo>
                      <a:lnTo>
                        <a:pt x="665" y="624"/>
                      </a:lnTo>
                      <a:lnTo>
                        <a:pt x="660" y="616"/>
                      </a:lnTo>
                      <a:lnTo>
                        <a:pt x="660" y="610"/>
                      </a:lnTo>
                      <a:lnTo>
                        <a:pt x="660" y="605"/>
                      </a:lnTo>
                      <a:lnTo>
                        <a:pt x="665" y="596"/>
                      </a:lnTo>
                      <a:lnTo>
                        <a:pt x="677" y="593"/>
                      </a:lnTo>
                      <a:lnTo>
                        <a:pt x="690" y="591"/>
                      </a:lnTo>
                      <a:lnTo>
                        <a:pt x="704" y="588"/>
                      </a:lnTo>
                      <a:lnTo>
                        <a:pt x="715" y="585"/>
                      </a:lnTo>
                      <a:lnTo>
                        <a:pt x="718" y="583"/>
                      </a:lnTo>
                      <a:lnTo>
                        <a:pt x="718" y="580"/>
                      </a:lnTo>
                      <a:lnTo>
                        <a:pt x="710" y="560"/>
                      </a:lnTo>
                      <a:lnTo>
                        <a:pt x="710" y="555"/>
                      </a:lnTo>
                      <a:lnTo>
                        <a:pt x="710" y="552"/>
                      </a:lnTo>
                      <a:lnTo>
                        <a:pt x="721" y="536"/>
                      </a:lnTo>
                      <a:lnTo>
                        <a:pt x="731" y="533"/>
                      </a:lnTo>
                      <a:lnTo>
                        <a:pt x="743" y="539"/>
                      </a:lnTo>
                      <a:lnTo>
                        <a:pt x="767" y="539"/>
                      </a:lnTo>
                      <a:lnTo>
                        <a:pt x="776" y="541"/>
                      </a:lnTo>
                      <a:lnTo>
                        <a:pt x="779" y="544"/>
                      </a:lnTo>
                      <a:lnTo>
                        <a:pt x="782" y="552"/>
                      </a:lnTo>
                      <a:lnTo>
                        <a:pt x="784" y="557"/>
                      </a:lnTo>
                      <a:lnTo>
                        <a:pt x="787" y="564"/>
                      </a:lnTo>
                      <a:lnTo>
                        <a:pt x="792" y="564"/>
                      </a:lnTo>
                      <a:lnTo>
                        <a:pt x="795" y="557"/>
                      </a:lnTo>
                      <a:lnTo>
                        <a:pt x="795" y="549"/>
                      </a:lnTo>
                      <a:lnTo>
                        <a:pt x="803" y="527"/>
                      </a:lnTo>
                      <a:lnTo>
                        <a:pt x="803" y="522"/>
                      </a:lnTo>
                      <a:lnTo>
                        <a:pt x="790" y="514"/>
                      </a:lnTo>
                      <a:lnTo>
                        <a:pt x="779" y="506"/>
                      </a:lnTo>
                      <a:lnTo>
                        <a:pt x="762" y="500"/>
                      </a:lnTo>
                      <a:lnTo>
                        <a:pt x="759" y="491"/>
                      </a:lnTo>
                      <a:lnTo>
                        <a:pt x="762" y="486"/>
                      </a:lnTo>
                      <a:lnTo>
                        <a:pt x="779" y="480"/>
                      </a:lnTo>
                      <a:lnTo>
                        <a:pt x="792" y="478"/>
                      </a:lnTo>
                      <a:lnTo>
                        <a:pt x="808" y="464"/>
                      </a:lnTo>
                      <a:lnTo>
                        <a:pt x="812" y="462"/>
                      </a:lnTo>
                      <a:lnTo>
                        <a:pt x="817" y="459"/>
                      </a:lnTo>
                      <a:lnTo>
                        <a:pt x="820" y="459"/>
                      </a:lnTo>
                      <a:lnTo>
                        <a:pt x="823" y="455"/>
                      </a:lnTo>
                      <a:lnTo>
                        <a:pt x="820" y="450"/>
                      </a:lnTo>
                      <a:lnTo>
                        <a:pt x="825" y="447"/>
                      </a:lnTo>
                      <a:lnTo>
                        <a:pt x="823" y="442"/>
                      </a:lnTo>
                      <a:lnTo>
                        <a:pt x="825" y="439"/>
                      </a:lnTo>
                      <a:lnTo>
                        <a:pt x="828" y="434"/>
                      </a:lnTo>
                      <a:lnTo>
                        <a:pt x="833" y="434"/>
                      </a:lnTo>
                      <a:lnTo>
                        <a:pt x="839" y="437"/>
                      </a:lnTo>
                      <a:lnTo>
                        <a:pt x="839" y="439"/>
                      </a:lnTo>
                      <a:lnTo>
                        <a:pt x="836" y="445"/>
                      </a:lnTo>
                      <a:lnTo>
                        <a:pt x="836" y="447"/>
                      </a:lnTo>
                      <a:lnTo>
                        <a:pt x="848" y="453"/>
                      </a:lnTo>
                      <a:lnTo>
                        <a:pt x="851" y="453"/>
                      </a:lnTo>
                      <a:lnTo>
                        <a:pt x="853" y="450"/>
                      </a:lnTo>
                      <a:lnTo>
                        <a:pt x="853" y="445"/>
                      </a:lnTo>
                      <a:lnTo>
                        <a:pt x="853" y="442"/>
                      </a:lnTo>
                      <a:lnTo>
                        <a:pt x="859" y="437"/>
                      </a:lnTo>
                      <a:lnTo>
                        <a:pt x="867" y="434"/>
                      </a:lnTo>
                      <a:lnTo>
                        <a:pt x="872" y="422"/>
                      </a:lnTo>
                      <a:lnTo>
                        <a:pt x="875" y="417"/>
                      </a:lnTo>
                      <a:lnTo>
                        <a:pt x="881" y="417"/>
                      </a:lnTo>
                      <a:lnTo>
                        <a:pt x="886" y="426"/>
                      </a:lnTo>
                      <a:lnTo>
                        <a:pt x="892" y="426"/>
                      </a:lnTo>
                      <a:lnTo>
                        <a:pt x="894" y="426"/>
                      </a:lnTo>
                      <a:lnTo>
                        <a:pt x="897" y="419"/>
                      </a:lnTo>
                      <a:lnTo>
                        <a:pt x="908" y="409"/>
                      </a:lnTo>
                      <a:lnTo>
                        <a:pt x="925" y="401"/>
                      </a:lnTo>
                      <a:lnTo>
                        <a:pt x="928" y="398"/>
                      </a:lnTo>
                      <a:lnTo>
                        <a:pt x="928" y="393"/>
                      </a:lnTo>
                      <a:lnTo>
                        <a:pt x="922" y="384"/>
                      </a:lnTo>
                      <a:lnTo>
                        <a:pt x="920" y="384"/>
                      </a:lnTo>
                      <a:lnTo>
                        <a:pt x="920" y="378"/>
                      </a:lnTo>
                      <a:lnTo>
                        <a:pt x="925" y="373"/>
                      </a:lnTo>
                      <a:lnTo>
                        <a:pt x="936" y="373"/>
                      </a:lnTo>
                      <a:lnTo>
                        <a:pt x="938" y="370"/>
                      </a:lnTo>
                      <a:lnTo>
                        <a:pt x="941" y="360"/>
                      </a:lnTo>
                      <a:lnTo>
                        <a:pt x="944" y="353"/>
                      </a:lnTo>
                      <a:lnTo>
                        <a:pt x="946" y="353"/>
                      </a:lnTo>
                      <a:lnTo>
                        <a:pt x="953" y="353"/>
                      </a:lnTo>
                      <a:lnTo>
                        <a:pt x="963" y="357"/>
                      </a:lnTo>
                      <a:lnTo>
                        <a:pt x="969" y="357"/>
                      </a:lnTo>
                      <a:lnTo>
                        <a:pt x="971" y="350"/>
                      </a:lnTo>
                      <a:lnTo>
                        <a:pt x="979" y="337"/>
                      </a:lnTo>
                      <a:lnTo>
                        <a:pt x="997" y="324"/>
                      </a:lnTo>
                      <a:lnTo>
                        <a:pt x="1002" y="324"/>
                      </a:lnTo>
                      <a:lnTo>
                        <a:pt x="1007" y="326"/>
                      </a:lnTo>
                      <a:lnTo>
                        <a:pt x="1013" y="334"/>
                      </a:lnTo>
                      <a:lnTo>
                        <a:pt x="1019" y="340"/>
                      </a:lnTo>
                      <a:lnTo>
                        <a:pt x="1022" y="342"/>
                      </a:lnTo>
                      <a:lnTo>
                        <a:pt x="1024" y="340"/>
                      </a:lnTo>
                      <a:lnTo>
                        <a:pt x="1027" y="337"/>
                      </a:lnTo>
                      <a:lnTo>
                        <a:pt x="1024" y="326"/>
                      </a:lnTo>
                      <a:lnTo>
                        <a:pt x="1027" y="324"/>
                      </a:lnTo>
                      <a:lnTo>
                        <a:pt x="1032" y="321"/>
                      </a:lnTo>
                      <a:lnTo>
                        <a:pt x="1043" y="317"/>
                      </a:lnTo>
                      <a:lnTo>
                        <a:pt x="1055" y="324"/>
                      </a:lnTo>
                      <a:lnTo>
                        <a:pt x="1063" y="326"/>
                      </a:lnTo>
                      <a:lnTo>
                        <a:pt x="1066" y="321"/>
                      </a:lnTo>
                      <a:lnTo>
                        <a:pt x="1066" y="315"/>
                      </a:lnTo>
                      <a:lnTo>
                        <a:pt x="1063" y="309"/>
                      </a:lnTo>
                      <a:lnTo>
                        <a:pt x="1043" y="301"/>
                      </a:lnTo>
                      <a:lnTo>
                        <a:pt x="1040" y="296"/>
                      </a:lnTo>
                      <a:lnTo>
                        <a:pt x="1043" y="293"/>
                      </a:lnTo>
                      <a:lnTo>
                        <a:pt x="1046" y="291"/>
                      </a:lnTo>
                      <a:lnTo>
                        <a:pt x="1055" y="288"/>
                      </a:lnTo>
                      <a:lnTo>
                        <a:pt x="1068" y="299"/>
                      </a:lnTo>
                      <a:lnTo>
                        <a:pt x="1071" y="301"/>
                      </a:lnTo>
                      <a:lnTo>
                        <a:pt x="1076" y="299"/>
                      </a:lnTo>
                      <a:lnTo>
                        <a:pt x="1079" y="291"/>
                      </a:lnTo>
                      <a:lnTo>
                        <a:pt x="1085" y="291"/>
                      </a:lnTo>
                      <a:lnTo>
                        <a:pt x="1093" y="293"/>
                      </a:lnTo>
                      <a:lnTo>
                        <a:pt x="1096" y="293"/>
                      </a:lnTo>
                      <a:lnTo>
                        <a:pt x="1101" y="291"/>
                      </a:lnTo>
                      <a:lnTo>
                        <a:pt x="1104" y="285"/>
                      </a:lnTo>
                      <a:lnTo>
                        <a:pt x="1104" y="281"/>
                      </a:lnTo>
                      <a:lnTo>
                        <a:pt x="1115" y="271"/>
                      </a:lnTo>
                      <a:lnTo>
                        <a:pt x="1115" y="260"/>
                      </a:lnTo>
                      <a:lnTo>
                        <a:pt x="1115" y="243"/>
                      </a:lnTo>
                      <a:lnTo>
                        <a:pt x="1115" y="235"/>
                      </a:lnTo>
                      <a:lnTo>
                        <a:pt x="1119" y="229"/>
                      </a:lnTo>
                      <a:lnTo>
                        <a:pt x="1124" y="229"/>
                      </a:lnTo>
                      <a:lnTo>
                        <a:pt x="1135" y="229"/>
                      </a:lnTo>
                      <a:lnTo>
                        <a:pt x="1137" y="227"/>
                      </a:lnTo>
                      <a:lnTo>
                        <a:pt x="1140" y="219"/>
                      </a:lnTo>
                      <a:lnTo>
                        <a:pt x="1143" y="204"/>
                      </a:lnTo>
                      <a:lnTo>
                        <a:pt x="1151" y="188"/>
                      </a:lnTo>
                      <a:lnTo>
                        <a:pt x="1154" y="188"/>
                      </a:lnTo>
                      <a:lnTo>
                        <a:pt x="1160" y="191"/>
                      </a:lnTo>
                      <a:lnTo>
                        <a:pt x="1162" y="207"/>
                      </a:lnTo>
                      <a:lnTo>
                        <a:pt x="1168" y="210"/>
                      </a:lnTo>
                      <a:lnTo>
                        <a:pt x="1170" y="210"/>
                      </a:lnTo>
                      <a:lnTo>
                        <a:pt x="1173" y="210"/>
                      </a:lnTo>
                      <a:lnTo>
                        <a:pt x="1176" y="207"/>
                      </a:lnTo>
                      <a:lnTo>
                        <a:pt x="1181" y="202"/>
                      </a:lnTo>
                      <a:lnTo>
                        <a:pt x="1190" y="202"/>
                      </a:lnTo>
                      <a:lnTo>
                        <a:pt x="1206" y="207"/>
                      </a:lnTo>
                      <a:lnTo>
                        <a:pt x="1209" y="204"/>
                      </a:lnTo>
                      <a:lnTo>
                        <a:pt x="1209" y="199"/>
                      </a:lnTo>
                      <a:lnTo>
                        <a:pt x="1206" y="188"/>
                      </a:lnTo>
                      <a:lnTo>
                        <a:pt x="1206" y="183"/>
                      </a:lnTo>
                      <a:lnTo>
                        <a:pt x="1209" y="177"/>
                      </a:lnTo>
                      <a:lnTo>
                        <a:pt x="1212" y="177"/>
                      </a:lnTo>
                      <a:lnTo>
                        <a:pt x="1214" y="180"/>
                      </a:lnTo>
                      <a:lnTo>
                        <a:pt x="1220" y="194"/>
                      </a:lnTo>
                      <a:lnTo>
                        <a:pt x="1226" y="194"/>
                      </a:lnTo>
                      <a:lnTo>
                        <a:pt x="1229" y="194"/>
                      </a:lnTo>
                      <a:lnTo>
                        <a:pt x="1231" y="188"/>
                      </a:lnTo>
                      <a:lnTo>
                        <a:pt x="1234" y="180"/>
                      </a:lnTo>
                      <a:lnTo>
                        <a:pt x="1242" y="166"/>
                      </a:lnTo>
                      <a:lnTo>
                        <a:pt x="1242" y="161"/>
                      </a:lnTo>
                      <a:lnTo>
                        <a:pt x="1245" y="155"/>
                      </a:lnTo>
                      <a:lnTo>
                        <a:pt x="1247" y="155"/>
                      </a:lnTo>
                      <a:lnTo>
                        <a:pt x="1250" y="158"/>
                      </a:lnTo>
                      <a:lnTo>
                        <a:pt x="1259" y="166"/>
                      </a:lnTo>
                      <a:lnTo>
                        <a:pt x="1265" y="177"/>
                      </a:lnTo>
                      <a:lnTo>
                        <a:pt x="1267" y="177"/>
                      </a:lnTo>
                      <a:lnTo>
                        <a:pt x="1273" y="174"/>
                      </a:lnTo>
                      <a:lnTo>
                        <a:pt x="1275" y="169"/>
                      </a:lnTo>
                      <a:lnTo>
                        <a:pt x="1278" y="166"/>
                      </a:lnTo>
                      <a:lnTo>
                        <a:pt x="1289" y="166"/>
                      </a:lnTo>
                      <a:lnTo>
                        <a:pt x="1298" y="166"/>
                      </a:lnTo>
                      <a:lnTo>
                        <a:pt x="1303" y="163"/>
                      </a:lnTo>
                      <a:lnTo>
                        <a:pt x="1303" y="158"/>
                      </a:lnTo>
                      <a:lnTo>
                        <a:pt x="1300" y="155"/>
                      </a:lnTo>
                      <a:lnTo>
                        <a:pt x="1292" y="150"/>
                      </a:lnTo>
                      <a:lnTo>
                        <a:pt x="1292" y="143"/>
                      </a:lnTo>
                      <a:lnTo>
                        <a:pt x="1295" y="143"/>
                      </a:lnTo>
                      <a:lnTo>
                        <a:pt x="1306" y="143"/>
                      </a:lnTo>
                      <a:lnTo>
                        <a:pt x="1308" y="141"/>
                      </a:lnTo>
                      <a:lnTo>
                        <a:pt x="1314" y="135"/>
                      </a:lnTo>
                      <a:lnTo>
                        <a:pt x="1316" y="135"/>
                      </a:lnTo>
                      <a:lnTo>
                        <a:pt x="1326" y="141"/>
                      </a:lnTo>
                      <a:lnTo>
                        <a:pt x="1326" y="143"/>
                      </a:lnTo>
                      <a:lnTo>
                        <a:pt x="1334" y="155"/>
                      </a:lnTo>
                      <a:lnTo>
                        <a:pt x="1336" y="158"/>
                      </a:lnTo>
                      <a:lnTo>
                        <a:pt x="1342" y="161"/>
                      </a:lnTo>
                      <a:lnTo>
                        <a:pt x="1347" y="158"/>
                      </a:lnTo>
                      <a:lnTo>
                        <a:pt x="1347" y="152"/>
                      </a:lnTo>
                      <a:lnTo>
                        <a:pt x="1344" y="143"/>
                      </a:lnTo>
                      <a:lnTo>
                        <a:pt x="1344" y="138"/>
                      </a:lnTo>
                      <a:lnTo>
                        <a:pt x="1344" y="135"/>
                      </a:lnTo>
                      <a:lnTo>
                        <a:pt x="1347" y="135"/>
                      </a:lnTo>
                      <a:lnTo>
                        <a:pt x="1352" y="138"/>
                      </a:lnTo>
                      <a:lnTo>
                        <a:pt x="1358" y="143"/>
                      </a:lnTo>
                      <a:lnTo>
                        <a:pt x="1364" y="152"/>
                      </a:lnTo>
                      <a:lnTo>
                        <a:pt x="1367" y="152"/>
                      </a:lnTo>
                      <a:lnTo>
                        <a:pt x="1375" y="150"/>
                      </a:lnTo>
                      <a:lnTo>
                        <a:pt x="1375" y="138"/>
                      </a:lnTo>
                      <a:lnTo>
                        <a:pt x="1377" y="133"/>
                      </a:lnTo>
                      <a:lnTo>
                        <a:pt x="1380" y="130"/>
                      </a:lnTo>
                      <a:lnTo>
                        <a:pt x="1388" y="130"/>
                      </a:lnTo>
                      <a:lnTo>
                        <a:pt x="1394" y="127"/>
                      </a:lnTo>
                      <a:lnTo>
                        <a:pt x="1397" y="122"/>
                      </a:lnTo>
                      <a:lnTo>
                        <a:pt x="1397" y="117"/>
                      </a:lnTo>
                      <a:lnTo>
                        <a:pt x="1397" y="111"/>
                      </a:lnTo>
                      <a:lnTo>
                        <a:pt x="1400" y="102"/>
                      </a:lnTo>
                      <a:lnTo>
                        <a:pt x="1405" y="94"/>
                      </a:lnTo>
                      <a:lnTo>
                        <a:pt x="1405" y="89"/>
                      </a:lnTo>
                      <a:lnTo>
                        <a:pt x="1408" y="78"/>
                      </a:lnTo>
                      <a:lnTo>
                        <a:pt x="1413" y="72"/>
                      </a:lnTo>
                      <a:lnTo>
                        <a:pt x="1416" y="72"/>
                      </a:lnTo>
                      <a:lnTo>
                        <a:pt x="1419" y="75"/>
                      </a:lnTo>
                      <a:lnTo>
                        <a:pt x="1419" y="78"/>
                      </a:lnTo>
                      <a:lnTo>
                        <a:pt x="1419" y="89"/>
                      </a:lnTo>
                      <a:lnTo>
                        <a:pt x="1424" y="92"/>
                      </a:lnTo>
                      <a:lnTo>
                        <a:pt x="1430" y="92"/>
                      </a:lnTo>
                      <a:lnTo>
                        <a:pt x="1438" y="92"/>
                      </a:lnTo>
                      <a:lnTo>
                        <a:pt x="1441" y="92"/>
                      </a:lnTo>
                      <a:lnTo>
                        <a:pt x="1452" y="92"/>
                      </a:lnTo>
                      <a:lnTo>
                        <a:pt x="1454" y="86"/>
                      </a:lnTo>
                      <a:lnTo>
                        <a:pt x="1460" y="75"/>
                      </a:lnTo>
                      <a:lnTo>
                        <a:pt x="1472" y="72"/>
                      </a:lnTo>
                      <a:lnTo>
                        <a:pt x="1477" y="64"/>
                      </a:lnTo>
                      <a:lnTo>
                        <a:pt x="1477" y="56"/>
                      </a:lnTo>
                      <a:lnTo>
                        <a:pt x="1480" y="50"/>
                      </a:lnTo>
                      <a:lnTo>
                        <a:pt x="1488" y="48"/>
                      </a:lnTo>
                      <a:lnTo>
                        <a:pt x="1493" y="48"/>
                      </a:lnTo>
                      <a:lnTo>
                        <a:pt x="1499" y="48"/>
                      </a:lnTo>
                      <a:lnTo>
                        <a:pt x="1499" y="42"/>
                      </a:lnTo>
                      <a:lnTo>
                        <a:pt x="1499" y="33"/>
                      </a:lnTo>
                      <a:lnTo>
                        <a:pt x="1502" y="31"/>
                      </a:lnTo>
                      <a:lnTo>
                        <a:pt x="1507" y="31"/>
                      </a:lnTo>
                      <a:lnTo>
                        <a:pt x="1513" y="33"/>
                      </a:lnTo>
                      <a:lnTo>
                        <a:pt x="1515" y="39"/>
                      </a:lnTo>
                      <a:lnTo>
                        <a:pt x="1521" y="39"/>
                      </a:lnTo>
                      <a:lnTo>
                        <a:pt x="1526" y="31"/>
                      </a:lnTo>
                      <a:lnTo>
                        <a:pt x="1529" y="23"/>
                      </a:lnTo>
                      <a:lnTo>
                        <a:pt x="1532" y="20"/>
                      </a:lnTo>
                      <a:lnTo>
                        <a:pt x="1541" y="20"/>
                      </a:lnTo>
                      <a:lnTo>
                        <a:pt x="1546" y="33"/>
                      </a:lnTo>
                      <a:lnTo>
                        <a:pt x="1549" y="36"/>
                      </a:lnTo>
                      <a:lnTo>
                        <a:pt x="1551" y="36"/>
                      </a:lnTo>
                      <a:lnTo>
                        <a:pt x="1554" y="39"/>
                      </a:lnTo>
                      <a:lnTo>
                        <a:pt x="1557" y="39"/>
                      </a:lnTo>
                      <a:lnTo>
                        <a:pt x="1559" y="39"/>
                      </a:lnTo>
                      <a:lnTo>
                        <a:pt x="1562" y="36"/>
                      </a:lnTo>
                      <a:lnTo>
                        <a:pt x="1574" y="28"/>
                      </a:lnTo>
                      <a:lnTo>
                        <a:pt x="1579" y="31"/>
                      </a:lnTo>
                      <a:lnTo>
                        <a:pt x="1584" y="45"/>
                      </a:lnTo>
                      <a:lnTo>
                        <a:pt x="1590" y="45"/>
                      </a:lnTo>
                      <a:lnTo>
                        <a:pt x="1595" y="42"/>
                      </a:lnTo>
                      <a:lnTo>
                        <a:pt x="1598" y="42"/>
                      </a:lnTo>
                      <a:lnTo>
                        <a:pt x="1602" y="39"/>
                      </a:lnTo>
                      <a:lnTo>
                        <a:pt x="1607" y="36"/>
                      </a:lnTo>
                      <a:lnTo>
                        <a:pt x="1610" y="33"/>
                      </a:lnTo>
                      <a:lnTo>
                        <a:pt x="1615" y="33"/>
                      </a:lnTo>
                      <a:lnTo>
                        <a:pt x="1618" y="33"/>
                      </a:lnTo>
                      <a:lnTo>
                        <a:pt x="1623" y="36"/>
                      </a:lnTo>
                      <a:lnTo>
                        <a:pt x="1623" y="39"/>
                      </a:lnTo>
                      <a:lnTo>
                        <a:pt x="1626" y="42"/>
                      </a:lnTo>
                      <a:lnTo>
                        <a:pt x="1626" y="48"/>
                      </a:lnTo>
                      <a:lnTo>
                        <a:pt x="1626" y="56"/>
                      </a:lnTo>
                      <a:lnTo>
                        <a:pt x="1628" y="58"/>
                      </a:lnTo>
                      <a:lnTo>
                        <a:pt x="1631" y="58"/>
                      </a:lnTo>
                      <a:lnTo>
                        <a:pt x="1637" y="45"/>
                      </a:lnTo>
                      <a:lnTo>
                        <a:pt x="1640" y="45"/>
                      </a:lnTo>
                      <a:lnTo>
                        <a:pt x="1645" y="45"/>
                      </a:lnTo>
                      <a:lnTo>
                        <a:pt x="1648" y="45"/>
                      </a:lnTo>
                      <a:lnTo>
                        <a:pt x="1659" y="39"/>
                      </a:lnTo>
                      <a:lnTo>
                        <a:pt x="1664" y="39"/>
                      </a:lnTo>
                      <a:lnTo>
                        <a:pt x="1667" y="39"/>
                      </a:lnTo>
                      <a:lnTo>
                        <a:pt x="1676" y="48"/>
                      </a:lnTo>
                      <a:lnTo>
                        <a:pt x="1681" y="50"/>
                      </a:lnTo>
                      <a:lnTo>
                        <a:pt x="1684" y="50"/>
                      </a:lnTo>
                      <a:lnTo>
                        <a:pt x="1689" y="50"/>
                      </a:lnTo>
                      <a:lnTo>
                        <a:pt x="1689" y="48"/>
                      </a:lnTo>
                      <a:lnTo>
                        <a:pt x="1689" y="42"/>
                      </a:lnTo>
                      <a:lnTo>
                        <a:pt x="1689" y="39"/>
                      </a:lnTo>
                      <a:lnTo>
                        <a:pt x="1684" y="33"/>
                      </a:lnTo>
                      <a:lnTo>
                        <a:pt x="1684" y="31"/>
                      </a:lnTo>
                      <a:lnTo>
                        <a:pt x="1684" y="28"/>
                      </a:lnTo>
                      <a:lnTo>
                        <a:pt x="1684" y="23"/>
                      </a:lnTo>
                      <a:lnTo>
                        <a:pt x="1687" y="23"/>
                      </a:lnTo>
                      <a:lnTo>
                        <a:pt x="1689" y="23"/>
                      </a:lnTo>
                      <a:lnTo>
                        <a:pt x="1695" y="23"/>
                      </a:lnTo>
                      <a:lnTo>
                        <a:pt x="1697" y="28"/>
                      </a:lnTo>
                      <a:lnTo>
                        <a:pt x="1704" y="31"/>
                      </a:lnTo>
                      <a:lnTo>
                        <a:pt x="1722" y="25"/>
                      </a:lnTo>
                      <a:lnTo>
                        <a:pt x="1725" y="20"/>
                      </a:lnTo>
                      <a:lnTo>
                        <a:pt x="1728" y="12"/>
                      </a:lnTo>
                      <a:lnTo>
                        <a:pt x="1733" y="6"/>
                      </a:lnTo>
                      <a:lnTo>
                        <a:pt x="1736" y="6"/>
                      </a:lnTo>
                      <a:lnTo>
                        <a:pt x="1740" y="3"/>
                      </a:lnTo>
                      <a:lnTo>
                        <a:pt x="1742" y="6"/>
                      </a:lnTo>
                      <a:lnTo>
                        <a:pt x="1745" y="12"/>
                      </a:lnTo>
                      <a:lnTo>
                        <a:pt x="1748" y="14"/>
                      </a:lnTo>
                      <a:lnTo>
                        <a:pt x="1750" y="14"/>
                      </a:lnTo>
                      <a:lnTo>
                        <a:pt x="1753" y="14"/>
                      </a:lnTo>
                      <a:lnTo>
                        <a:pt x="1756" y="14"/>
                      </a:lnTo>
                      <a:lnTo>
                        <a:pt x="1764" y="14"/>
                      </a:lnTo>
                      <a:lnTo>
                        <a:pt x="1764" y="17"/>
                      </a:lnTo>
                      <a:lnTo>
                        <a:pt x="1766" y="20"/>
                      </a:lnTo>
                      <a:lnTo>
                        <a:pt x="1769" y="20"/>
                      </a:lnTo>
                      <a:lnTo>
                        <a:pt x="1769" y="23"/>
                      </a:lnTo>
                      <a:lnTo>
                        <a:pt x="1769" y="25"/>
                      </a:lnTo>
                      <a:lnTo>
                        <a:pt x="1769" y="28"/>
                      </a:lnTo>
                      <a:lnTo>
                        <a:pt x="1766" y="33"/>
                      </a:lnTo>
                      <a:lnTo>
                        <a:pt x="1758" y="48"/>
                      </a:lnTo>
                      <a:lnTo>
                        <a:pt x="1758" y="50"/>
                      </a:lnTo>
                      <a:lnTo>
                        <a:pt x="1758" y="53"/>
                      </a:lnTo>
                      <a:lnTo>
                        <a:pt x="1758" y="56"/>
                      </a:lnTo>
                      <a:lnTo>
                        <a:pt x="1761" y="56"/>
                      </a:lnTo>
                      <a:lnTo>
                        <a:pt x="1764" y="56"/>
                      </a:lnTo>
                      <a:lnTo>
                        <a:pt x="1769" y="48"/>
                      </a:lnTo>
                      <a:lnTo>
                        <a:pt x="1786" y="39"/>
                      </a:lnTo>
                      <a:lnTo>
                        <a:pt x="1791" y="36"/>
                      </a:lnTo>
                      <a:lnTo>
                        <a:pt x="1794" y="36"/>
                      </a:lnTo>
                      <a:lnTo>
                        <a:pt x="1808" y="45"/>
                      </a:lnTo>
                      <a:lnTo>
                        <a:pt x="1814" y="45"/>
                      </a:lnTo>
                      <a:lnTo>
                        <a:pt x="1817" y="42"/>
                      </a:lnTo>
                      <a:lnTo>
                        <a:pt x="1819" y="28"/>
                      </a:lnTo>
                      <a:lnTo>
                        <a:pt x="1819" y="25"/>
                      </a:lnTo>
                      <a:lnTo>
                        <a:pt x="1822" y="25"/>
                      </a:lnTo>
                      <a:lnTo>
                        <a:pt x="1825" y="23"/>
                      </a:lnTo>
                      <a:lnTo>
                        <a:pt x="1827" y="25"/>
                      </a:lnTo>
                      <a:lnTo>
                        <a:pt x="1833" y="36"/>
                      </a:lnTo>
                      <a:lnTo>
                        <a:pt x="1833" y="39"/>
                      </a:lnTo>
                      <a:lnTo>
                        <a:pt x="1835" y="39"/>
                      </a:lnTo>
                      <a:lnTo>
                        <a:pt x="1844" y="36"/>
                      </a:lnTo>
                      <a:lnTo>
                        <a:pt x="1860" y="31"/>
                      </a:lnTo>
                      <a:lnTo>
                        <a:pt x="1860" y="25"/>
                      </a:lnTo>
                      <a:lnTo>
                        <a:pt x="1860" y="23"/>
                      </a:lnTo>
                      <a:lnTo>
                        <a:pt x="1858" y="14"/>
                      </a:lnTo>
                      <a:lnTo>
                        <a:pt x="1858" y="12"/>
                      </a:lnTo>
                      <a:lnTo>
                        <a:pt x="1858" y="9"/>
                      </a:lnTo>
                      <a:lnTo>
                        <a:pt x="1866" y="0"/>
                      </a:lnTo>
                      <a:lnTo>
                        <a:pt x="1868" y="0"/>
                      </a:lnTo>
                      <a:lnTo>
                        <a:pt x="1877" y="0"/>
                      </a:lnTo>
                      <a:lnTo>
                        <a:pt x="1880" y="0"/>
                      </a:lnTo>
                      <a:lnTo>
                        <a:pt x="1883" y="3"/>
                      </a:lnTo>
                      <a:lnTo>
                        <a:pt x="1880" y="9"/>
                      </a:lnTo>
                      <a:lnTo>
                        <a:pt x="1871" y="20"/>
                      </a:lnTo>
                      <a:lnTo>
                        <a:pt x="1871" y="28"/>
                      </a:lnTo>
                      <a:lnTo>
                        <a:pt x="1875" y="31"/>
                      </a:lnTo>
                      <a:lnTo>
                        <a:pt x="1877" y="31"/>
                      </a:lnTo>
                      <a:lnTo>
                        <a:pt x="1888" y="23"/>
                      </a:lnTo>
                      <a:lnTo>
                        <a:pt x="1891" y="23"/>
                      </a:lnTo>
                      <a:lnTo>
                        <a:pt x="1894" y="28"/>
                      </a:lnTo>
                      <a:lnTo>
                        <a:pt x="1896" y="28"/>
                      </a:lnTo>
                      <a:lnTo>
                        <a:pt x="1896" y="33"/>
                      </a:lnTo>
                      <a:lnTo>
                        <a:pt x="1891" y="42"/>
                      </a:lnTo>
                      <a:lnTo>
                        <a:pt x="1888" y="45"/>
                      </a:lnTo>
                      <a:lnTo>
                        <a:pt x="1888" y="53"/>
                      </a:lnTo>
                      <a:lnTo>
                        <a:pt x="1891" y="53"/>
                      </a:lnTo>
                      <a:lnTo>
                        <a:pt x="1894" y="56"/>
                      </a:lnTo>
                      <a:lnTo>
                        <a:pt x="1899" y="58"/>
                      </a:lnTo>
                      <a:lnTo>
                        <a:pt x="1902" y="56"/>
                      </a:lnTo>
                      <a:lnTo>
                        <a:pt x="1902" y="42"/>
                      </a:lnTo>
                      <a:lnTo>
                        <a:pt x="1904" y="33"/>
                      </a:lnTo>
                      <a:lnTo>
                        <a:pt x="1907" y="33"/>
                      </a:lnTo>
                      <a:lnTo>
                        <a:pt x="1916" y="36"/>
                      </a:lnTo>
                      <a:lnTo>
                        <a:pt x="1916" y="48"/>
                      </a:lnTo>
                      <a:lnTo>
                        <a:pt x="1919" y="50"/>
                      </a:lnTo>
                      <a:lnTo>
                        <a:pt x="1921" y="50"/>
                      </a:lnTo>
                      <a:lnTo>
                        <a:pt x="1929" y="48"/>
                      </a:lnTo>
                      <a:lnTo>
                        <a:pt x="1935" y="45"/>
                      </a:lnTo>
                      <a:lnTo>
                        <a:pt x="1935" y="42"/>
                      </a:lnTo>
                      <a:lnTo>
                        <a:pt x="1946" y="36"/>
                      </a:lnTo>
                      <a:lnTo>
                        <a:pt x="1949" y="36"/>
                      </a:lnTo>
                      <a:lnTo>
                        <a:pt x="1952" y="39"/>
                      </a:lnTo>
                      <a:lnTo>
                        <a:pt x="1952" y="50"/>
                      </a:lnTo>
                      <a:lnTo>
                        <a:pt x="1952" y="53"/>
                      </a:lnTo>
                      <a:lnTo>
                        <a:pt x="1955" y="53"/>
                      </a:lnTo>
                      <a:lnTo>
                        <a:pt x="1957" y="53"/>
                      </a:lnTo>
                      <a:lnTo>
                        <a:pt x="1963" y="50"/>
                      </a:lnTo>
                      <a:lnTo>
                        <a:pt x="1965" y="50"/>
                      </a:lnTo>
                      <a:lnTo>
                        <a:pt x="1971" y="50"/>
                      </a:lnTo>
                      <a:lnTo>
                        <a:pt x="1973" y="50"/>
                      </a:lnTo>
                      <a:lnTo>
                        <a:pt x="1976" y="53"/>
                      </a:lnTo>
                      <a:lnTo>
                        <a:pt x="1982" y="53"/>
                      </a:lnTo>
                      <a:lnTo>
                        <a:pt x="1985" y="53"/>
                      </a:lnTo>
                      <a:lnTo>
                        <a:pt x="1985" y="56"/>
                      </a:lnTo>
                      <a:lnTo>
                        <a:pt x="1988" y="56"/>
                      </a:lnTo>
                      <a:lnTo>
                        <a:pt x="1988" y="58"/>
                      </a:lnTo>
                      <a:lnTo>
                        <a:pt x="1985" y="66"/>
                      </a:lnTo>
                      <a:lnTo>
                        <a:pt x="1985" y="69"/>
                      </a:lnTo>
                      <a:lnTo>
                        <a:pt x="1990" y="72"/>
                      </a:lnTo>
                      <a:lnTo>
                        <a:pt x="1990" y="75"/>
                      </a:lnTo>
                      <a:lnTo>
                        <a:pt x="1993" y="72"/>
                      </a:lnTo>
                      <a:lnTo>
                        <a:pt x="1998" y="66"/>
                      </a:lnTo>
                      <a:lnTo>
                        <a:pt x="2001" y="64"/>
                      </a:lnTo>
                      <a:lnTo>
                        <a:pt x="2004" y="64"/>
                      </a:lnTo>
                      <a:lnTo>
                        <a:pt x="2006" y="69"/>
                      </a:lnTo>
                      <a:lnTo>
                        <a:pt x="2009" y="78"/>
                      </a:lnTo>
                      <a:lnTo>
                        <a:pt x="2009" y="81"/>
                      </a:lnTo>
                      <a:lnTo>
                        <a:pt x="2013" y="83"/>
                      </a:lnTo>
                      <a:lnTo>
                        <a:pt x="2015" y="83"/>
                      </a:lnTo>
                      <a:lnTo>
                        <a:pt x="2021" y="78"/>
                      </a:lnTo>
                      <a:lnTo>
                        <a:pt x="2021" y="69"/>
                      </a:lnTo>
                      <a:lnTo>
                        <a:pt x="2023" y="66"/>
                      </a:lnTo>
                      <a:lnTo>
                        <a:pt x="2026" y="66"/>
                      </a:lnTo>
                      <a:lnTo>
                        <a:pt x="2029" y="66"/>
                      </a:lnTo>
                      <a:lnTo>
                        <a:pt x="2034" y="75"/>
                      </a:lnTo>
                      <a:lnTo>
                        <a:pt x="2040" y="78"/>
                      </a:lnTo>
                      <a:lnTo>
                        <a:pt x="2042" y="78"/>
                      </a:lnTo>
                      <a:lnTo>
                        <a:pt x="2045" y="75"/>
                      </a:lnTo>
                      <a:lnTo>
                        <a:pt x="2054" y="72"/>
                      </a:lnTo>
                      <a:lnTo>
                        <a:pt x="2057" y="69"/>
                      </a:lnTo>
                      <a:lnTo>
                        <a:pt x="2065" y="69"/>
                      </a:lnTo>
                      <a:lnTo>
                        <a:pt x="2067" y="69"/>
                      </a:lnTo>
                      <a:lnTo>
                        <a:pt x="2073" y="66"/>
                      </a:lnTo>
                      <a:lnTo>
                        <a:pt x="2078" y="75"/>
                      </a:lnTo>
                      <a:lnTo>
                        <a:pt x="2093" y="78"/>
                      </a:lnTo>
                      <a:lnTo>
                        <a:pt x="2101" y="78"/>
                      </a:lnTo>
                      <a:lnTo>
                        <a:pt x="2101" y="75"/>
                      </a:lnTo>
                      <a:lnTo>
                        <a:pt x="2101" y="69"/>
                      </a:lnTo>
                      <a:lnTo>
                        <a:pt x="2101" y="66"/>
                      </a:lnTo>
                      <a:lnTo>
                        <a:pt x="2101" y="64"/>
                      </a:lnTo>
                      <a:lnTo>
                        <a:pt x="2114" y="56"/>
                      </a:lnTo>
                      <a:lnTo>
                        <a:pt x="2118" y="56"/>
                      </a:lnTo>
                      <a:lnTo>
                        <a:pt x="2120" y="56"/>
                      </a:lnTo>
                      <a:lnTo>
                        <a:pt x="2120" y="58"/>
                      </a:lnTo>
                      <a:lnTo>
                        <a:pt x="2118" y="66"/>
                      </a:lnTo>
                      <a:lnTo>
                        <a:pt x="2118" y="69"/>
                      </a:lnTo>
                      <a:lnTo>
                        <a:pt x="2118" y="75"/>
                      </a:lnTo>
                      <a:lnTo>
                        <a:pt x="2126" y="83"/>
                      </a:lnTo>
                      <a:lnTo>
                        <a:pt x="2128" y="86"/>
                      </a:lnTo>
                      <a:lnTo>
                        <a:pt x="2131" y="89"/>
                      </a:lnTo>
                      <a:lnTo>
                        <a:pt x="2134" y="89"/>
                      </a:lnTo>
                      <a:lnTo>
                        <a:pt x="2136" y="86"/>
                      </a:lnTo>
                      <a:lnTo>
                        <a:pt x="2134" y="75"/>
                      </a:lnTo>
                      <a:lnTo>
                        <a:pt x="2134" y="72"/>
                      </a:lnTo>
                      <a:lnTo>
                        <a:pt x="2136" y="72"/>
                      </a:lnTo>
                      <a:lnTo>
                        <a:pt x="2139" y="72"/>
                      </a:lnTo>
                      <a:lnTo>
                        <a:pt x="2139" y="75"/>
                      </a:lnTo>
                      <a:lnTo>
                        <a:pt x="2142" y="75"/>
                      </a:lnTo>
                      <a:lnTo>
                        <a:pt x="2139" y="86"/>
                      </a:lnTo>
                      <a:lnTo>
                        <a:pt x="2142" y="94"/>
                      </a:lnTo>
                      <a:lnTo>
                        <a:pt x="2147" y="92"/>
                      </a:lnTo>
                      <a:lnTo>
                        <a:pt x="2154" y="86"/>
                      </a:lnTo>
                      <a:lnTo>
                        <a:pt x="2156" y="86"/>
                      </a:lnTo>
                      <a:lnTo>
                        <a:pt x="2162" y="92"/>
                      </a:lnTo>
                      <a:lnTo>
                        <a:pt x="2167" y="94"/>
                      </a:lnTo>
                      <a:lnTo>
                        <a:pt x="2172" y="100"/>
                      </a:lnTo>
                      <a:lnTo>
                        <a:pt x="2175" y="100"/>
                      </a:lnTo>
                      <a:lnTo>
                        <a:pt x="2175" y="97"/>
                      </a:lnTo>
                      <a:lnTo>
                        <a:pt x="2178" y="94"/>
                      </a:lnTo>
                      <a:lnTo>
                        <a:pt x="2175" y="89"/>
                      </a:lnTo>
                      <a:lnTo>
                        <a:pt x="2172" y="83"/>
                      </a:lnTo>
                      <a:lnTo>
                        <a:pt x="2172" y="78"/>
                      </a:lnTo>
                      <a:lnTo>
                        <a:pt x="2172" y="75"/>
                      </a:lnTo>
                      <a:lnTo>
                        <a:pt x="2175" y="75"/>
                      </a:lnTo>
                      <a:lnTo>
                        <a:pt x="2183" y="75"/>
                      </a:lnTo>
                      <a:lnTo>
                        <a:pt x="2189" y="75"/>
                      </a:lnTo>
                      <a:lnTo>
                        <a:pt x="2192" y="72"/>
                      </a:lnTo>
                      <a:lnTo>
                        <a:pt x="2200" y="78"/>
                      </a:lnTo>
                      <a:lnTo>
                        <a:pt x="2197" y="81"/>
                      </a:lnTo>
                      <a:lnTo>
                        <a:pt x="2189" y="83"/>
                      </a:lnTo>
                      <a:lnTo>
                        <a:pt x="2183" y="89"/>
                      </a:lnTo>
                      <a:lnTo>
                        <a:pt x="2183" y="92"/>
                      </a:lnTo>
                      <a:lnTo>
                        <a:pt x="2195" y="94"/>
                      </a:lnTo>
                      <a:lnTo>
                        <a:pt x="2197" y="94"/>
                      </a:lnTo>
                      <a:lnTo>
                        <a:pt x="2203" y="102"/>
                      </a:lnTo>
                      <a:lnTo>
                        <a:pt x="2205" y="102"/>
                      </a:lnTo>
                      <a:lnTo>
                        <a:pt x="2205" y="105"/>
                      </a:lnTo>
                      <a:lnTo>
                        <a:pt x="2208" y="105"/>
                      </a:lnTo>
                      <a:lnTo>
                        <a:pt x="2211" y="102"/>
                      </a:lnTo>
                      <a:lnTo>
                        <a:pt x="2213" y="97"/>
                      </a:lnTo>
                      <a:lnTo>
                        <a:pt x="2216" y="89"/>
                      </a:lnTo>
                      <a:lnTo>
                        <a:pt x="2222" y="83"/>
                      </a:lnTo>
                      <a:lnTo>
                        <a:pt x="2225" y="81"/>
                      </a:lnTo>
                      <a:lnTo>
                        <a:pt x="2228" y="81"/>
                      </a:lnTo>
                      <a:lnTo>
                        <a:pt x="2231" y="83"/>
                      </a:lnTo>
                      <a:lnTo>
                        <a:pt x="2228" y="97"/>
                      </a:lnTo>
                      <a:lnTo>
                        <a:pt x="2231" y="97"/>
                      </a:lnTo>
                      <a:lnTo>
                        <a:pt x="2233" y="97"/>
                      </a:lnTo>
                      <a:lnTo>
                        <a:pt x="2239" y="94"/>
                      </a:lnTo>
                      <a:lnTo>
                        <a:pt x="2244" y="94"/>
                      </a:lnTo>
                      <a:lnTo>
                        <a:pt x="2247" y="92"/>
                      </a:lnTo>
                      <a:lnTo>
                        <a:pt x="2253" y="94"/>
                      </a:lnTo>
                      <a:lnTo>
                        <a:pt x="2253" y="97"/>
                      </a:lnTo>
                      <a:lnTo>
                        <a:pt x="2253" y="102"/>
                      </a:lnTo>
                      <a:lnTo>
                        <a:pt x="2253" y="108"/>
                      </a:lnTo>
                      <a:lnTo>
                        <a:pt x="2256" y="111"/>
                      </a:lnTo>
                      <a:lnTo>
                        <a:pt x="2261" y="111"/>
                      </a:lnTo>
                      <a:lnTo>
                        <a:pt x="2266" y="108"/>
                      </a:lnTo>
                      <a:lnTo>
                        <a:pt x="2274" y="111"/>
                      </a:lnTo>
                      <a:lnTo>
                        <a:pt x="2277" y="111"/>
                      </a:lnTo>
                      <a:lnTo>
                        <a:pt x="2280" y="111"/>
                      </a:lnTo>
                      <a:lnTo>
                        <a:pt x="2289" y="105"/>
                      </a:lnTo>
                      <a:lnTo>
                        <a:pt x="2291" y="105"/>
                      </a:lnTo>
                      <a:lnTo>
                        <a:pt x="2291" y="111"/>
                      </a:lnTo>
                      <a:lnTo>
                        <a:pt x="2285" y="114"/>
                      </a:lnTo>
                      <a:lnTo>
                        <a:pt x="2289" y="117"/>
                      </a:lnTo>
                      <a:lnTo>
                        <a:pt x="2289" y="119"/>
                      </a:lnTo>
                      <a:lnTo>
                        <a:pt x="2294" y="122"/>
                      </a:lnTo>
                      <a:lnTo>
                        <a:pt x="2297" y="125"/>
                      </a:lnTo>
                      <a:lnTo>
                        <a:pt x="2302" y="122"/>
                      </a:lnTo>
                      <a:lnTo>
                        <a:pt x="2310" y="122"/>
                      </a:lnTo>
                      <a:lnTo>
                        <a:pt x="2316" y="125"/>
                      </a:lnTo>
                      <a:lnTo>
                        <a:pt x="2316" y="130"/>
                      </a:lnTo>
                      <a:lnTo>
                        <a:pt x="2313" y="130"/>
                      </a:lnTo>
                      <a:lnTo>
                        <a:pt x="2300" y="130"/>
                      </a:lnTo>
                      <a:lnTo>
                        <a:pt x="2297" y="130"/>
                      </a:lnTo>
                      <a:lnTo>
                        <a:pt x="2294" y="130"/>
                      </a:lnTo>
                      <a:lnTo>
                        <a:pt x="2294" y="133"/>
                      </a:lnTo>
                      <a:lnTo>
                        <a:pt x="2294" y="135"/>
                      </a:lnTo>
                      <a:lnTo>
                        <a:pt x="2300" y="138"/>
                      </a:lnTo>
                      <a:lnTo>
                        <a:pt x="2305" y="138"/>
                      </a:lnTo>
                      <a:lnTo>
                        <a:pt x="2313" y="138"/>
                      </a:lnTo>
                      <a:lnTo>
                        <a:pt x="2322" y="147"/>
                      </a:lnTo>
                      <a:lnTo>
                        <a:pt x="2322" y="150"/>
                      </a:lnTo>
                      <a:lnTo>
                        <a:pt x="2322" y="152"/>
                      </a:lnTo>
                      <a:lnTo>
                        <a:pt x="2310" y="161"/>
                      </a:lnTo>
                      <a:lnTo>
                        <a:pt x="2313" y="163"/>
                      </a:lnTo>
                      <a:lnTo>
                        <a:pt x="2318" y="163"/>
                      </a:lnTo>
                      <a:lnTo>
                        <a:pt x="2325" y="161"/>
                      </a:lnTo>
                      <a:lnTo>
                        <a:pt x="2330" y="158"/>
                      </a:lnTo>
                      <a:lnTo>
                        <a:pt x="2333" y="158"/>
                      </a:lnTo>
                      <a:lnTo>
                        <a:pt x="2335" y="161"/>
                      </a:lnTo>
                      <a:lnTo>
                        <a:pt x="2335" y="174"/>
                      </a:lnTo>
                      <a:lnTo>
                        <a:pt x="2341" y="183"/>
                      </a:lnTo>
                      <a:lnTo>
                        <a:pt x="2346" y="183"/>
                      </a:lnTo>
                      <a:lnTo>
                        <a:pt x="2346" y="180"/>
                      </a:lnTo>
                      <a:lnTo>
                        <a:pt x="2343" y="171"/>
                      </a:lnTo>
                      <a:lnTo>
                        <a:pt x="2346" y="169"/>
                      </a:lnTo>
                      <a:lnTo>
                        <a:pt x="2346" y="166"/>
                      </a:lnTo>
                      <a:lnTo>
                        <a:pt x="2354" y="166"/>
                      </a:lnTo>
                      <a:lnTo>
                        <a:pt x="2360" y="166"/>
                      </a:lnTo>
                      <a:lnTo>
                        <a:pt x="2360" y="169"/>
                      </a:lnTo>
                      <a:lnTo>
                        <a:pt x="2354" y="183"/>
                      </a:lnTo>
                      <a:lnTo>
                        <a:pt x="2358" y="186"/>
                      </a:lnTo>
                      <a:lnTo>
                        <a:pt x="2363" y="183"/>
                      </a:lnTo>
                      <a:lnTo>
                        <a:pt x="2369" y="180"/>
                      </a:lnTo>
                      <a:lnTo>
                        <a:pt x="2377" y="188"/>
                      </a:lnTo>
                      <a:lnTo>
                        <a:pt x="2379" y="188"/>
                      </a:lnTo>
                      <a:lnTo>
                        <a:pt x="2382" y="188"/>
                      </a:lnTo>
                      <a:lnTo>
                        <a:pt x="2382" y="186"/>
                      </a:lnTo>
                      <a:lnTo>
                        <a:pt x="2382" y="183"/>
                      </a:lnTo>
                      <a:lnTo>
                        <a:pt x="2377" y="177"/>
                      </a:lnTo>
                      <a:lnTo>
                        <a:pt x="2377" y="171"/>
                      </a:lnTo>
                      <a:lnTo>
                        <a:pt x="2382" y="171"/>
                      </a:lnTo>
                      <a:lnTo>
                        <a:pt x="2396" y="169"/>
                      </a:lnTo>
                      <a:lnTo>
                        <a:pt x="2396" y="171"/>
                      </a:lnTo>
                      <a:lnTo>
                        <a:pt x="2402" y="174"/>
                      </a:lnTo>
                      <a:lnTo>
                        <a:pt x="2407" y="180"/>
                      </a:lnTo>
                      <a:lnTo>
                        <a:pt x="2410" y="180"/>
                      </a:lnTo>
                      <a:lnTo>
                        <a:pt x="2412" y="177"/>
                      </a:lnTo>
                      <a:lnTo>
                        <a:pt x="2415" y="169"/>
                      </a:lnTo>
                      <a:lnTo>
                        <a:pt x="2418" y="166"/>
                      </a:lnTo>
                      <a:lnTo>
                        <a:pt x="2423" y="166"/>
                      </a:lnTo>
                      <a:lnTo>
                        <a:pt x="2429" y="169"/>
                      </a:lnTo>
                      <a:lnTo>
                        <a:pt x="2429" y="171"/>
                      </a:lnTo>
                      <a:lnTo>
                        <a:pt x="2427" y="177"/>
                      </a:lnTo>
                      <a:lnTo>
                        <a:pt x="2429" y="183"/>
                      </a:lnTo>
                      <a:lnTo>
                        <a:pt x="2432" y="183"/>
                      </a:lnTo>
                      <a:lnTo>
                        <a:pt x="2435" y="183"/>
                      </a:lnTo>
                      <a:lnTo>
                        <a:pt x="2437" y="183"/>
                      </a:lnTo>
                      <a:lnTo>
                        <a:pt x="2440" y="180"/>
                      </a:lnTo>
                      <a:lnTo>
                        <a:pt x="2440" y="171"/>
                      </a:lnTo>
                      <a:lnTo>
                        <a:pt x="2446" y="171"/>
                      </a:lnTo>
                      <a:lnTo>
                        <a:pt x="2448" y="171"/>
                      </a:lnTo>
                      <a:lnTo>
                        <a:pt x="2448" y="174"/>
                      </a:lnTo>
                      <a:lnTo>
                        <a:pt x="2451" y="174"/>
                      </a:lnTo>
                      <a:lnTo>
                        <a:pt x="2446" y="191"/>
                      </a:lnTo>
                      <a:lnTo>
                        <a:pt x="2448" y="194"/>
                      </a:lnTo>
                      <a:lnTo>
                        <a:pt x="2454" y="194"/>
                      </a:lnTo>
                      <a:lnTo>
                        <a:pt x="2460" y="186"/>
                      </a:lnTo>
                      <a:lnTo>
                        <a:pt x="2465" y="186"/>
                      </a:lnTo>
                      <a:lnTo>
                        <a:pt x="2468" y="186"/>
                      </a:lnTo>
                      <a:lnTo>
                        <a:pt x="2468" y="188"/>
                      </a:lnTo>
                      <a:lnTo>
                        <a:pt x="2468" y="191"/>
                      </a:lnTo>
                      <a:lnTo>
                        <a:pt x="2465" y="202"/>
                      </a:lnTo>
                      <a:lnTo>
                        <a:pt x="2468" y="207"/>
                      </a:lnTo>
                      <a:lnTo>
                        <a:pt x="2471" y="210"/>
                      </a:lnTo>
                      <a:lnTo>
                        <a:pt x="2473" y="210"/>
                      </a:lnTo>
                      <a:lnTo>
                        <a:pt x="2476" y="204"/>
                      </a:lnTo>
                      <a:lnTo>
                        <a:pt x="2476" y="202"/>
                      </a:lnTo>
                      <a:lnTo>
                        <a:pt x="2479" y="202"/>
                      </a:lnTo>
                      <a:lnTo>
                        <a:pt x="2479" y="199"/>
                      </a:lnTo>
                      <a:lnTo>
                        <a:pt x="2484" y="202"/>
                      </a:lnTo>
                      <a:lnTo>
                        <a:pt x="2496" y="199"/>
                      </a:lnTo>
                      <a:lnTo>
                        <a:pt x="2504" y="199"/>
                      </a:lnTo>
                      <a:lnTo>
                        <a:pt x="2506" y="204"/>
                      </a:lnTo>
                      <a:lnTo>
                        <a:pt x="2509" y="204"/>
                      </a:lnTo>
                      <a:lnTo>
                        <a:pt x="2509" y="216"/>
                      </a:lnTo>
                      <a:lnTo>
                        <a:pt x="2512" y="219"/>
                      </a:lnTo>
                      <a:lnTo>
                        <a:pt x="2515" y="221"/>
                      </a:lnTo>
                      <a:lnTo>
                        <a:pt x="2517" y="221"/>
                      </a:lnTo>
                      <a:lnTo>
                        <a:pt x="2517" y="224"/>
                      </a:lnTo>
                      <a:lnTo>
                        <a:pt x="2525" y="232"/>
                      </a:lnTo>
                      <a:lnTo>
                        <a:pt x="2525" y="238"/>
                      </a:lnTo>
                      <a:lnTo>
                        <a:pt x="2525" y="240"/>
                      </a:lnTo>
                      <a:lnTo>
                        <a:pt x="2532" y="240"/>
                      </a:lnTo>
                      <a:lnTo>
                        <a:pt x="2534" y="235"/>
                      </a:lnTo>
                      <a:lnTo>
                        <a:pt x="2537" y="232"/>
                      </a:lnTo>
                      <a:lnTo>
                        <a:pt x="2540" y="229"/>
                      </a:lnTo>
                      <a:lnTo>
                        <a:pt x="2545" y="227"/>
                      </a:lnTo>
                      <a:lnTo>
                        <a:pt x="2550" y="229"/>
                      </a:lnTo>
                      <a:lnTo>
                        <a:pt x="2550" y="232"/>
                      </a:lnTo>
                      <a:lnTo>
                        <a:pt x="2548" y="243"/>
                      </a:lnTo>
                      <a:lnTo>
                        <a:pt x="2553" y="246"/>
                      </a:lnTo>
                      <a:lnTo>
                        <a:pt x="2558" y="252"/>
                      </a:lnTo>
                      <a:lnTo>
                        <a:pt x="2568" y="246"/>
                      </a:lnTo>
                      <a:lnTo>
                        <a:pt x="2573" y="248"/>
                      </a:lnTo>
                      <a:lnTo>
                        <a:pt x="2576" y="248"/>
                      </a:lnTo>
                      <a:lnTo>
                        <a:pt x="2576" y="252"/>
                      </a:lnTo>
                      <a:lnTo>
                        <a:pt x="2576" y="257"/>
                      </a:lnTo>
                      <a:lnTo>
                        <a:pt x="2578" y="260"/>
                      </a:lnTo>
                      <a:lnTo>
                        <a:pt x="2576" y="263"/>
                      </a:lnTo>
                      <a:lnTo>
                        <a:pt x="2576" y="268"/>
                      </a:lnTo>
                      <a:lnTo>
                        <a:pt x="2584" y="271"/>
                      </a:lnTo>
                      <a:lnTo>
                        <a:pt x="2589" y="268"/>
                      </a:lnTo>
                      <a:lnTo>
                        <a:pt x="2592" y="273"/>
                      </a:lnTo>
                      <a:lnTo>
                        <a:pt x="2592" y="279"/>
                      </a:lnTo>
                      <a:lnTo>
                        <a:pt x="2601" y="285"/>
                      </a:lnTo>
                      <a:lnTo>
                        <a:pt x="2603" y="291"/>
                      </a:lnTo>
                      <a:lnTo>
                        <a:pt x="2606" y="293"/>
                      </a:lnTo>
                      <a:lnTo>
                        <a:pt x="2609" y="291"/>
                      </a:lnTo>
                      <a:lnTo>
                        <a:pt x="2611" y="288"/>
                      </a:lnTo>
                      <a:lnTo>
                        <a:pt x="2617" y="291"/>
                      </a:lnTo>
                      <a:lnTo>
                        <a:pt x="2625" y="291"/>
                      </a:lnTo>
                      <a:lnTo>
                        <a:pt x="2631" y="296"/>
                      </a:lnTo>
                      <a:lnTo>
                        <a:pt x="2639" y="301"/>
                      </a:lnTo>
                      <a:lnTo>
                        <a:pt x="2647" y="301"/>
                      </a:lnTo>
                      <a:lnTo>
                        <a:pt x="2647" y="304"/>
                      </a:lnTo>
                      <a:lnTo>
                        <a:pt x="2650" y="312"/>
                      </a:lnTo>
                      <a:lnTo>
                        <a:pt x="2650" y="315"/>
                      </a:lnTo>
                      <a:lnTo>
                        <a:pt x="2653" y="315"/>
                      </a:lnTo>
                      <a:lnTo>
                        <a:pt x="2661" y="312"/>
                      </a:lnTo>
                      <a:lnTo>
                        <a:pt x="2663" y="312"/>
                      </a:lnTo>
                      <a:lnTo>
                        <a:pt x="2670" y="315"/>
                      </a:lnTo>
                      <a:lnTo>
                        <a:pt x="2672" y="317"/>
                      </a:lnTo>
                      <a:lnTo>
                        <a:pt x="2670" y="326"/>
                      </a:lnTo>
                      <a:lnTo>
                        <a:pt x="2672" y="329"/>
                      </a:lnTo>
                      <a:lnTo>
                        <a:pt x="2680" y="329"/>
                      </a:lnTo>
                      <a:lnTo>
                        <a:pt x="2680" y="332"/>
                      </a:lnTo>
                      <a:lnTo>
                        <a:pt x="2680" y="337"/>
                      </a:lnTo>
                      <a:lnTo>
                        <a:pt x="2680" y="342"/>
                      </a:lnTo>
                      <a:lnTo>
                        <a:pt x="2686" y="348"/>
                      </a:lnTo>
                      <a:lnTo>
                        <a:pt x="2694" y="353"/>
                      </a:lnTo>
                      <a:lnTo>
                        <a:pt x="2694" y="362"/>
                      </a:lnTo>
                      <a:lnTo>
                        <a:pt x="2694" y="365"/>
                      </a:lnTo>
                      <a:lnTo>
                        <a:pt x="2696" y="368"/>
                      </a:lnTo>
                      <a:lnTo>
                        <a:pt x="2696" y="370"/>
                      </a:lnTo>
                      <a:lnTo>
                        <a:pt x="2703" y="370"/>
                      </a:lnTo>
                      <a:lnTo>
                        <a:pt x="2705" y="362"/>
                      </a:lnTo>
                      <a:lnTo>
                        <a:pt x="2708" y="360"/>
                      </a:lnTo>
                      <a:lnTo>
                        <a:pt x="2711" y="362"/>
                      </a:lnTo>
                      <a:lnTo>
                        <a:pt x="2714" y="368"/>
                      </a:lnTo>
                      <a:lnTo>
                        <a:pt x="2724" y="373"/>
                      </a:lnTo>
                      <a:lnTo>
                        <a:pt x="2730" y="373"/>
                      </a:lnTo>
                      <a:lnTo>
                        <a:pt x="2732" y="376"/>
                      </a:lnTo>
                      <a:lnTo>
                        <a:pt x="2730" y="381"/>
                      </a:lnTo>
                      <a:lnTo>
                        <a:pt x="2736" y="386"/>
                      </a:lnTo>
                      <a:lnTo>
                        <a:pt x="2732" y="390"/>
                      </a:lnTo>
                      <a:lnTo>
                        <a:pt x="2747" y="393"/>
                      </a:lnTo>
                      <a:lnTo>
                        <a:pt x="2752" y="398"/>
                      </a:lnTo>
                      <a:lnTo>
                        <a:pt x="2752" y="401"/>
                      </a:lnTo>
                      <a:lnTo>
                        <a:pt x="2752" y="403"/>
                      </a:lnTo>
                      <a:lnTo>
                        <a:pt x="2752" y="409"/>
                      </a:lnTo>
                      <a:lnTo>
                        <a:pt x="2749" y="414"/>
                      </a:lnTo>
                      <a:lnTo>
                        <a:pt x="2744" y="417"/>
                      </a:lnTo>
                      <a:lnTo>
                        <a:pt x="2741" y="419"/>
                      </a:lnTo>
                      <a:lnTo>
                        <a:pt x="2749" y="422"/>
                      </a:lnTo>
                      <a:lnTo>
                        <a:pt x="2752" y="426"/>
                      </a:lnTo>
                      <a:lnTo>
                        <a:pt x="2755" y="431"/>
                      </a:lnTo>
                      <a:lnTo>
                        <a:pt x="2752" y="439"/>
                      </a:lnTo>
                      <a:lnTo>
                        <a:pt x="2755" y="442"/>
                      </a:lnTo>
                      <a:lnTo>
                        <a:pt x="2757" y="442"/>
                      </a:lnTo>
                      <a:lnTo>
                        <a:pt x="2760" y="442"/>
                      </a:lnTo>
                      <a:lnTo>
                        <a:pt x="2769" y="434"/>
                      </a:lnTo>
                      <a:lnTo>
                        <a:pt x="2772" y="434"/>
                      </a:lnTo>
                      <a:lnTo>
                        <a:pt x="2777" y="442"/>
                      </a:lnTo>
                      <a:lnTo>
                        <a:pt x="2777" y="445"/>
                      </a:lnTo>
                      <a:lnTo>
                        <a:pt x="2788" y="442"/>
                      </a:lnTo>
                      <a:lnTo>
                        <a:pt x="2788" y="445"/>
                      </a:lnTo>
                      <a:lnTo>
                        <a:pt x="2791" y="445"/>
                      </a:lnTo>
                      <a:lnTo>
                        <a:pt x="2788" y="450"/>
                      </a:lnTo>
                      <a:lnTo>
                        <a:pt x="2791" y="459"/>
                      </a:lnTo>
                      <a:lnTo>
                        <a:pt x="2788" y="464"/>
                      </a:lnTo>
                      <a:lnTo>
                        <a:pt x="2788" y="467"/>
                      </a:lnTo>
                      <a:lnTo>
                        <a:pt x="2793" y="470"/>
                      </a:lnTo>
                      <a:lnTo>
                        <a:pt x="2796" y="464"/>
                      </a:lnTo>
                      <a:lnTo>
                        <a:pt x="2799" y="467"/>
                      </a:lnTo>
                      <a:lnTo>
                        <a:pt x="2799" y="470"/>
                      </a:lnTo>
                      <a:lnTo>
                        <a:pt x="2801" y="472"/>
                      </a:lnTo>
                      <a:lnTo>
                        <a:pt x="2801" y="480"/>
                      </a:lnTo>
                      <a:lnTo>
                        <a:pt x="2801" y="488"/>
                      </a:lnTo>
                      <a:lnTo>
                        <a:pt x="2805" y="488"/>
                      </a:lnTo>
                      <a:lnTo>
                        <a:pt x="2818" y="497"/>
                      </a:lnTo>
                      <a:lnTo>
                        <a:pt x="2824" y="497"/>
                      </a:lnTo>
                      <a:lnTo>
                        <a:pt x="2826" y="497"/>
                      </a:lnTo>
                      <a:lnTo>
                        <a:pt x="2826" y="506"/>
                      </a:lnTo>
                      <a:lnTo>
                        <a:pt x="2832" y="508"/>
                      </a:lnTo>
                      <a:lnTo>
                        <a:pt x="2834" y="511"/>
                      </a:lnTo>
                      <a:lnTo>
                        <a:pt x="2841" y="519"/>
                      </a:lnTo>
                      <a:lnTo>
                        <a:pt x="2838" y="527"/>
                      </a:lnTo>
                      <a:lnTo>
                        <a:pt x="2846" y="531"/>
                      </a:lnTo>
                      <a:lnTo>
                        <a:pt x="2854" y="539"/>
                      </a:lnTo>
                      <a:lnTo>
                        <a:pt x="2851" y="544"/>
                      </a:lnTo>
                      <a:lnTo>
                        <a:pt x="2854" y="549"/>
                      </a:lnTo>
                      <a:lnTo>
                        <a:pt x="2860" y="549"/>
                      </a:lnTo>
                      <a:lnTo>
                        <a:pt x="2865" y="544"/>
                      </a:lnTo>
                      <a:lnTo>
                        <a:pt x="2868" y="544"/>
                      </a:lnTo>
                      <a:lnTo>
                        <a:pt x="2874" y="549"/>
                      </a:lnTo>
                      <a:lnTo>
                        <a:pt x="2879" y="557"/>
                      </a:lnTo>
                      <a:lnTo>
                        <a:pt x="2885" y="560"/>
                      </a:lnTo>
                      <a:lnTo>
                        <a:pt x="2887" y="564"/>
                      </a:lnTo>
                      <a:lnTo>
                        <a:pt x="2890" y="564"/>
                      </a:lnTo>
                      <a:lnTo>
                        <a:pt x="2893" y="564"/>
                      </a:lnTo>
                      <a:lnTo>
                        <a:pt x="2893" y="555"/>
                      </a:lnTo>
                      <a:lnTo>
                        <a:pt x="2895" y="555"/>
                      </a:lnTo>
                      <a:lnTo>
                        <a:pt x="2898" y="555"/>
                      </a:lnTo>
                      <a:lnTo>
                        <a:pt x="2907" y="557"/>
                      </a:lnTo>
                      <a:lnTo>
                        <a:pt x="2918" y="557"/>
                      </a:lnTo>
                      <a:lnTo>
                        <a:pt x="2923" y="557"/>
                      </a:lnTo>
                      <a:lnTo>
                        <a:pt x="2929" y="564"/>
                      </a:lnTo>
                      <a:lnTo>
                        <a:pt x="2931" y="566"/>
                      </a:lnTo>
                      <a:lnTo>
                        <a:pt x="2937" y="566"/>
                      </a:lnTo>
                      <a:lnTo>
                        <a:pt x="2948" y="566"/>
                      </a:lnTo>
                      <a:lnTo>
                        <a:pt x="2951" y="572"/>
                      </a:lnTo>
                      <a:lnTo>
                        <a:pt x="2954" y="572"/>
                      </a:lnTo>
                      <a:lnTo>
                        <a:pt x="2956" y="572"/>
                      </a:lnTo>
                      <a:lnTo>
                        <a:pt x="2959" y="564"/>
                      </a:lnTo>
                      <a:lnTo>
                        <a:pt x="2962" y="560"/>
                      </a:lnTo>
                      <a:lnTo>
                        <a:pt x="2964" y="560"/>
                      </a:lnTo>
                      <a:lnTo>
                        <a:pt x="2967" y="564"/>
                      </a:lnTo>
                      <a:lnTo>
                        <a:pt x="2967" y="574"/>
                      </a:lnTo>
                      <a:lnTo>
                        <a:pt x="2967" y="580"/>
                      </a:lnTo>
                      <a:lnTo>
                        <a:pt x="2970" y="577"/>
                      </a:lnTo>
                      <a:lnTo>
                        <a:pt x="2972" y="577"/>
                      </a:lnTo>
                      <a:lnTo>
                        <a:pt x="2970" y="569"/>
                      </a:lnTo>
                      <a:lnTo>
                        <a:pt x="2972" y="569"/>
                      </a:lnTo>
                      <a:lnTo>
                        <a:pt x="2976" y="566"/>
                      </a:lnTo>
                      <a:lnTo>
                        <a:pt x="2981" y="566"/>
                      </a:lnTo>
                      <a:lnTo>
                        <a:pt x="2987" y="569"/>
                      </a:lnTo>
                      <a:lnTo>
                        <a:pt x="2990" y="572"/>
                      </a:lnTo>
                      <a:lnTo>
                        <a:pt x="2990" y="574"/>
                      </a:lnTo>
                      <a:lnTo>
                        <a:pt x="2992" y="574"/>
                      </a:lnTo>
                      <a:lnTo>
                        <a:pt x="2998" y="577"/>
                      </a:lnTo>
                      <a:lnTo>
                        <a:pt x="3006" y="574"/>
                      </a:lnTo>
                      <a:lnTo>
                        <a:pt x="3006" y="572"/>
                      </a:lnTo>
                      <a:lnTo>
                        <a:pt x="3003" y="572"/>
                      </a:lnTo>
                      <a:lnTo>
                        <a:pt x="3000" y="569"/>
                      </a:lnTo>
                      <a:lnTo>
                        <a:pt x="3009" y="564"/>
                      </a:lnTo>
                      <a:lnTo>
                        <a:pt x="3009" y="566"/>
                      </a:lnTo>
                      <a:lnTo>
                        <a:pt x="3015" y="577"/>
                      </a:lnTo>
                      <a:lnTo>
                        <a:pt x="3017" y="580"/>
                      </a:lnTo>
                      <a:lnTo>
                        <a:pt x="3020" y="577"/>
                      </a:lnTo>
                      <a:lnTo>
                        <a:pt x="3025" y="572"/>
                      </a:lnTo>
                      <a:lnTo>
                        <a:pt x="3028" y="572"/>
                      </a:lnTo>
                      <a:lnTo>
                        <a:pt x="3031" y="574"/>
                      </a:lnTo>
                      <a:lnTo>
                        <a:pt x="3033" y="574"/>
                      </a:lnTo>
                      <a:lnTo>
                        <a:pt x="3036" y="574"/>
                      </a:lnTo>
                      <a:lnTo>
                        <a:pt x="3041" y="583"/>
                      </a:lnTo>
                      <a:lnTo>
                        <a:pt x="3041" y="591"/>
                      </a:lnTo>
                      <a:lnTo>
                        <a:pt x="3045" y="593"/>
                      </a:lnTo>
                      <a:lnTo>
                        <a:pt x="3053" y="591"/>
                      </a:lnTo>
                      <a:lnTo>
                        <a:pt x="3050" y="585"/>
                      </a:lnTo>
                      <a:lnTo>
                        <a:pt x="3045" y="577"/>
                      </a:lnTo>
                      <a:lnTo>
                        <a:pt x="3048" y="577"/>
                      </a:lnTo>
                      <a:lnTo>
                        <a:pt x="3050" y="572"/>
                      </a:lnTo>
                      <a:lnTo>
                        <a:pt x="3056" y="569"/>
                      </a:lnTo>
                      <a:lnTo>
                        <a:pt x="3056" y="566"/>
                      </a:lnTo>
                      <a:lnTo>
                        <a:pt x="3059" y="564"/>
                      </a:lnTo>
                      <a:lnTo>
                        <a:pt x="3059" y="566"/>
                      </a:lnTo>
                      <a:lnTo>
                        <a:pt x="3064" y="569"/>
                      </a:lnTo>
                      <a:lnTo>
                        <a:pt x="3064" y="572"/>
                      </a:lnTo>
                      <a:lnTo>
                        <a:pt x="3061" y="574"/>
                      </a:lnTo>
                      <a:lnTo>
                        <a:pt x="3059" y="580"/>
                      </a:lnTo>
                      <a:lnTo>
                        <a:pt x="3059" y="583"/>
                      </a:lnTo>
                      <a:lnTo>
                        <a:pt x="3064" y="583"/>
                      </a:lnTo>
                      <a:lnTo>
                        <a:pt x="3069" y="588"/>
                      </a:lnTo>
                      <a:lnTo>
                        <a:pt x="3075" y="583"/>
                      </a:lnTo>
                      <a:lnTo>
                        <a:pt x="3081" y="585"/>
                      </a:lnTo>
                      <a:lnTo>
                        <a:pt x="3084" y="585"/>
                      </a:lnTo>
                      <a:lnTo>
                        <a:pt x="3094" y="585"/>
                      </a:lnTo>
                      <a:lnTo>
                        <a:pt x="3097" y="583"/>
                      </a:lnTo>
                      <a:lnTo>
                        <a:pt x="3100" y="577"/>
                      </a:lnTo>
                      <a:lnTo>
                        <a:pt x="3102" y="574"/>
                      </a:lnTo>
                      <a:lnTo>
                        <a:pt x="3108" y="577"/>
                      </a:lnTo>
                      <a:lnTo>
                        <a:pt x="3114" y="574"/>
                      </a:lnTo>
                      <a:lnTo>
                        <a:pt x="3114" y="572"/>
                      </a:lnTo>
                      <a:lnTo>
                        <a:pt x="3117" y="569"/>
                      </a:lnTo>
                      <a:lnTo>
                        <a:pt x="3119" y="569"/>
                      </a:lnTo>
                      <a:lnTo>
                        <a:pt x="3122" y="574"/>
                      </a:lnTo>
                      <a:lnTo>
                        <a:pt x="3125" y="574"/>
                      </a:lnTo>
                      <a:lnTo>
                        <a:pt x="3128" y="574"/>
                      </a:lnTo>
                      <a:lnTo>
                        <a:pt x="3130" y="580"/>
                      </a:lnTo>
                      <a:lnTo>
                        <a:pt x="3133" y="585"/>
                      </a:lnTo>
                      <a:lnTo>
                        <a:pt x="3138" y="583"/>
                      </a:lnTo>
                      <a:lnTo>
                        <a:pt x="3136" y="580"/>
                      </a:lnTo>
                      <a:lnTo>
                        <a:pt x="3133" y="577"/>
                      </a:lnTo>
                      <a:lnTo>
                        <a:pt x="3136" y="574"/>
                      </a:lnTo>
                      <a:lnTo>
                        <a:pt x="3138" y="574"/>
                      </a:lnTo>
                      <a:lnTo>
                        <a:pt x="3147" y="580"/>
                      </a:lnTo>
                      <a:lnTo>
                        <a:pt x="3150" y="580"/>
                      </a:lnTo>
                      <a:lnTo>
                        <a:pt x="3153" y="577"/>
                      </a:lnTo>
                      <a:lnTo>
                        <a:pt x="3155" y="577"/>
                      </a:lnTo>
                      <a:lnTo>
                        <a:pt x="3153" y="572"/>
                      </a:lnTo>
                      <a:lnTo>
                        <a:pt x="3153" y="569"/>
                      </a:lnTo>
                      <a:lnTo>
                        <a:pt x="3158" y="572"/>
                      </a:lnTo>
                      <a:lnTo>
                        <a:pt x="3161" y="569"/>
                      </a:lnTo>
                      <a:lnTo>
                        <a:pt x="3166" y="572"/>
                      </a:lnTo>
                      <a:lnTo>
                        <a:pt x="3169" y="572"/>
                      </a:lnTo>
                      <a:lnTo>
                        <a:pt x="3166" y="572"/>
                      </a:lnTo>
                      <a:lnTo>
                        <a:pt x="3158" y="574"/>
                      </a:lnTo>
                      <a:lnTo>
                        <a:pt x="3163" y="577"/>
                      </a:lnTo>
                      <a:lnTo>
                        <a:pt x="3163" y="583"/>
                      </a:lnTo>
                      <a:lnTo>
                        <a:pt x="3163" y="585"/>
                      </a:lnTo>
                      <a:lnTo>
                        <a:pt x="3163" y="588"/>
                      </a:lnTo>
                      <a:lnTo>
                        <a:pt x="3174" y="588"/>
                      </a:lnTo>
                      <a:lnTo>
                        <a:pt x="3171" y="591"/>
                      </a:lnTo>
                      <a:lnTo>
                        <a:pt x="3174" y="593"/>
                      </a:lnTo>
                      <a:lnTo>
                        <a:pt x="3179" y="585"/>
                      </a:lnTo>
                      <a:lnTo>
                        <a:pt x="3186" y="588"/>
                      </a:lnTo>
                      <a:lnTo>
                        <a:pt x="3183" y="585"/>
                      </a:lnTo>
                      <a:lnTo>
                        <a:pt x="3183" y="580"/>
                      </a:lnTo>
                      <a:lnTo>
                        <a:pt x="3186" y="580"/>
                      </a:lnTo>
                      <a:lnTo>
                        <a:pt x="3188" y="588"/>
                      </a:lnTo>
                      <a:lnTo>
                        <a:pt x="3191" y="588"/>
                      </a:lnTo>
                      <a:lnTo>
                        <a:pt x="3194" y="591"/>
                      </a:lnTo>
                      <a:lnTo>
                        <a:pt x="3197" y="593"/>
                      </a:lnTo>
                      <a:lnTo>
                        <a:pt x="3199" y="591"/>
                      </a:lnTo>
                      <a:lnTo>
                        <a:pt x="3197" y="588"/>
                      </a:lnTo>
                      <a:lnTo>
                        <a:pt x="3199" y="583"/>
                      </a:lnTo>
                      <a:lnTo>
                        <a:pt x="3197" y="583"/>
                      </a:lnTo>
                      <a:lnTo>
                        <a:pt x="3202" y="580"/>
                      </a:lnTo>
                      <a:lnTo>
                        <a:pt x="3202" y="577"/>
                      </a:lnTo>
                      <a:lnTo>
                        <a:pt x="3205" y="577"/>
                      </a:lnTo>
                      <a:lnTo>
                        <a:pt x="3205" y="588"/>
                      </a:lnTo>
                      <a:lnTo>
                        <a:pt x="3202" y="591"/>
                      </a:lnTo>
                      <a:lnTo>
                        <a:pt x="3205" y="593"/>
                      </a:lnTo>
                      <a:lnTo>
                        <a:pt x="3213" y="591"/>
                      </a:lnTo>
                      <a:lnTo>
                        <a:pt x="3213" y="593"/>
                      </a:lnTo>
                      <a:lnTo>
                        <a:pt x="3216" y="593"/>
                      </a:lnTo>
                      <a:lnTo>
                        <a:pt x="3213" y="596"/>
                      </a:lnTo>
                      <a:lnTo>
                        <a:pt x="3219" y="602"/>
                      </a:lnTo>
                      <a:lnTo>
                        <a:pt x="3213" y="608"/>
                      </a:lnTo>
                      <a:lnTo>
                        <a:pt x="3210" y="613"/>
                      </a:lnTo>
                      <a:lnTo>
                        <a:pt x="3213" y="613"/>
                      </a:lnTo>
                      <a:lnTo>
                        <a:pt x="3219" y="616"/>
                      </a:lnTo>
                      <a:lnTo>
                        <a:pt x="3222" y="624"/>
                      </a:lnTo>
                      <a:lnTo>
                        <a:pt x="3224" y="626"/>
                      </a:lnTo>
                      <a:lnTo>
                        <a:pt x="3227" y="624"/>
                      </a:lnTo>
                      <a:lnTo>
                        <a:pt x="3227" y="626"/>
                      </a:lnTo>
                      <a:lnTo>
                        <a:pt x="3227" y="629"/>
                      </a:lnTo>
                      <a:lnTo>
                        <a:pt x="3227" y="632"/>
                      </a:lnTo>
                      <a:lnTo>
                        <a:pt x="3227" y="638"/>
                      </a:lnTo>
                      <a:lnTo>
                        <a:pt x="3232" y="638"/>
                      </a:lnTo>
                      <a:lnTo>
                        <a:pt x="3235" y="643"/>
                      </a:lnTo>
                      <a:lnTo>
                        <a:pt x="3232" y="646"/>
                      </a:lnTo>
                      <a:lnTo>
                        <a:pt x="3230" y="649"/>
                      </a:lnTo>
                      <a:lnTo>
                        <a:pt x="3227" y="649"/>
                      </a:lnTo>
                      <a:lnTo>
                        <a:pt x="3227" y="646"/>
                      </a:lnTo>
                      <a:lnTo>
                        <a:pt x="3224" y="646"/>
                      </a:lnTo>
                      <a:lnTo>
                        <a:pt x="3219" y="646"/>
                      </a:lnTo>
                      <a:lnTo>
                        <a:pt x="3207" y="649"/>
                      </a:lnTo>
                      <a:lnTo>
                        <a:pt x="3207" y="643"/>
                      </a:lnTo>
                      <a:lnTo>
                        <a:pt x="3202" y="649"/>
                      </a:lnTo>
                      <a:lnTo>
                        <a:pt x="3199" y="649"/>
                      </a:lnTo>
                      <a:lnTo>
                        <a:pt x="3197" y="646"/>
                      </a:lnTo>
                      <a:lnTo>
                        <a:pt x="3197" y="641"/>
                      </a:lnTo>
                      <a:lnTo>
                        <a:pt x="3194" y="643"/>
                      </a:lnTo>
                      <a:lnTo>
                        <a:pt x="3191" y="643"/>
                      </a:lnTo>
                      <a:lnTo>
                        <a:pt x="3188" y="649"/>
                      </a:lnTo>
                      <a:lnTo>
                        <a:pt x="3186" y="652"/>
                      </a:lnTo>
                      <a:lnTo>
                        <a:pt x="3183" y="654"/>
                      </a:lnTo>
                      <a:lnTo>
                        <a:pt x="3186" y="657"/>
                      </a:lnTo>
                      <a:lnTo>
                        <a:pt x="3183" y="660"/>
                      </a:lnTo>
                      <a:lnTo>
                        <a:pt x="3186" y="660"/>
                      </a:lnTo>
                      <a:lnTo>
                        <a:pt x="3179" y="662"/>
                      </a:lnTo>
                      <a:lnTo>
                        <a:pt x="3177" y="665"/>
                      </a:lnTo>
                      <a:lnTo>
                        <a:pt x="3174" y="665"/>
                      </a:lnTo>
                      <a:lnTo>
                        <a:pt x="3174" y="669"/>
                      </a:lnTo>
                      <a:lnTo>
                        <a:pt x="3177" y="669"/>
                      </a:lnTo>
                      <a:lnTo>
                        <a:pt x="3177" y="674"/>
                      </a:lnTo>
                      <a:lnTo>
                        <a:pt x="3179" y="674"/>
                      </a:lnTo>
                      <a:lnTo>
                        <a:pt x="3183" y="677"/>
                      </a:lnTo>
                      <a:lnTo>
                        <a:pt x="3177" y="677"/>
                      </a:lnTo>
                      <a:lnTo>
                        <a:pt x="3174" y="679"/>
                      </a:lnTo>
                      <a:lnTo>
                        <a:pt x="3174" y="682"/>
                      </a:lnTo>
                      <a:lnTo>
                        <a:pt x="3174" y="685"/>
                      </a:lnTo>
                      <a:lnTo>
                        <a:pt x="3171" y="685"/>
                      </a:lnTo>
                      <a:lnTo>
                        <a:pt x="3171" y="679"/>
                      </a:lnTo>
                      <a:lnTo>
                        <a:pt x="3163" y="679"/>
                      </a:lnTo>
                      <a:lnTo>
                        <a:pt x="3166" y="679"/>
                      </a:lnTo>
                      <a:lnTo>
                        <a:pt x="3161" y="679"/>
                      </a:lnTo>
                      <a:lnTo>
                        <a:pt x="3161" y="682"/>
                      </a:lnTo>
                      <a:lnTo>
                        <a:pt x="3161" y="687"/>
                      </a:lnTo>
                      <a:lnTo>
                        <a:pt x="3158" y="693"/>
                      </a:lnTo>
                      <a:lnTo>
                        <a:pt x="3161" y="695"/>
                      </a:lnTo>
                      <a:lnTo>
                        <a:pt x="3155" y="698"/>
                      </a:lnTo>
                      <a:lnTo>
                        <a:pt x="3155" y="695"/>
                      </a:lnTo>
                      <a:lnTo>
                        <a:pt x="3153" y="695"/>
                      </a:lnTo>
                      <a:lnTo>
                        <a:pt x="3158" y="687"/>
                      </a:lnTo>
                      <a:lnTo>
                        <a:pt x="3155" y="685"/>
                      </a:lnTo>
                      <a:lnTo>
                        <a:pt x="3153" y="687"/>
                      </a:lnTo>
                      <a:lnTo>
                        <a:pt x="3150" y="687"/>
                      </a:lnTo>
                      <a:lnTo>
                        <a:pt x="3147" y="685"/>
                      </a:lnTo>
                      <a:lnTo>
                        <a:pt x="3147" y="682"/>
                      </a:lnTo>
                      <a:lnTo>
                        <a:pt x="3144" y="685"/>
                      </a:lnTo>
                      <a:lnTo>
                        <a:pt x="3138" y="685"/>
                      </a:lnTo>
                      <a:lnTo>
                        <a:pt x="3136" y="690"/>
                      </a:lnTo>
                      <a:lnTo>
                        <a:pt x="3136" y="695"/>
                      </a:lnTo>
                      <a:lnTo>
                        <a:pt x="3141" y="698"/>
                      </a:lnTo>
                      <a:lnTo>
                        <a:pt x="3138" y="698"/>
                      </a:lnTo>
                      <a:lnTo>
                        <a:pt x="3138" y="701"/>
                      </a:lnTo>
                      <a:lnTo>
                        <a:pt x="3136" y="705"/>
                      </a:lnTo>
                      <a:lnTo>
                        <a:pt x="3130" y="701"/>
                      </a:lnTo>
                      <a:lnTo>
                        <a:pt x="3130" y="705"/>
                      </a:lnTo>
                      <a:lnTo>
                        <a:pt x="3130" y="701"/>
                      </a:lnTo>
                      <a:lnTo>
                        <a:pt x="3128" y="705"/>
                      </a:lnTo>
                      <a:lnTo>
                        <a:pt x="3128" y="707"/>
                      </a:lnTo>
                      <a:lnTo>
                        <a:pt x="3128" y="710"/>
                      </a:lnTo>
                      <a:lnTo>
                        <a:pt x="3125" y="712"/>
                      </a:lnTo>
                      <a:lnTo>
                        <a:pt x="3128" y="712"/>
                      </a:lnTo>
                      <a:lnTo>
                        <a:pt x="3128" y="715"/>
                      </a:lnTo>
                      <a:lnTo>
                        <a:pt x="3128" y="718"/>
                      </a:lnTo>
                      <a:lnTo>
                        <a:pt x="3130" y="718"/>
                      </a:lnTo>
                      <a:lnTo>
                        <a:pt x="3130" y="723"/>
                      </a:lnTo>
                      <a:lnTo>
                        <a:pt x="3125" y="721"/>
                      </a:lnTo>
                      <a:lnTo>
                        <a:pt x="3125" y="729"/>
                      </a:lnTo>
                      <a:lnTo>
                        <a:pt x="3125" y="731"/>
                      </a:lnTo>
                      <a:lnTo>
                        <a:pt x="3128" y="731"/>
                      </a:lnTo>
                      <a:lnTo>
                        <a:pt x="3125" y="743"/>
                      </a:lnTo>
                      <a:lnTo>
                        <a:pt x="3130" y="740"/>
                      </a:lnTo>
                      <a:lnTo>
                        <a:pt x="3130" y="743"/>
                      </a:lnTo>
                      <a:lnTo>
                        <a:pt x="3128" y="743"/>
                      </a:lnTo>
                      <a:lnTo>
                        <a:pt x="3128" y="746"/>
                      </a:lnTo>
                      <a:lnTo>
                        <a:pt x="3125" y="748"/>
                      </a:lnTo>
                      <a:lnTo>
                        <a:pt x="3122" y="751"/>
                      </a:lnTo>
                      <a:lnTo>
                        <a:pt x="3130" y="748"/>
                      </a:lnTo>
                      <a:lnTo>
                        <a:pt x="3130" y="754"/>
                      </a:lnTo>
                      <a:lnTo>
                        <a:pt x="3133" y="751"/>
                      </a:lnTo>
                      <a:lnTo>
                        <a:pt x="3138" y="751"/>
                      </a:lnTo>
                      <a:lnTo>
                        <a:pt x="3136" y="751"/>
                      </a:lnTo>
                      <a:lnTo>
                        <a:pt x="3136" y="754"/>
                      </a:lnTo>
                      <a:lnTo>
                        <a:pt x="3133" y="754"/>
                      </a:lnTo>
                      <a:lnTo>
                        <a:pt x="3133" y="756"/>
                      </a:lnTo>
                      <a:lnTo>
                        <a:pt x="3130" y="756"/>
                      </a:lnTo>
                      <a:lnTo>
                        <a:pt x="3130" y="759"/>
                      </a:lnTo>
                      <a:lnTo>
                        <a:pt x="3130" y="762"/>
                      </a:lnTo>
                      <a:lnTo>
                        <a:pt x="3125" y="764"/>
                      </a:lnTo>
                      <a:lnTo>
                        <a:pt x="3128" y="767"/>
                      </a:lnTo>
                      <a:lnTo>
                        <a:pt x="3122" y="770"/>
                      </a:lnTo>
                      <a:lnTo>
                        <a:pt x="3125" y="773"/>
                      </a:lnTo>
                      <a:lnTo>
                        <a:pt x="3133" y="773"/>
                      </a:lnTo>
                      <a:lnTo>
                        <a:pt x="3130" y="773"/>
                      </a:lnTo>
                      <a:lnTo>
                        <a:pt x="3130" y="779"/>
                      </a:lnTo>
                      <a:lnTo>
                        <a:pt x="3128" y="779"/>
                      </a:lnTo>
                      <a:lnTo>
                        <a:pt x="3128" y="787"/>
                      </a:lnTo>
                      <a:lnTo>
                        <a:pt x="3133" y="790"/>
                      </a:lnTo>
                      <a:lnTo>
                        <a:pt x="3136" y="792"/>
                      </a:lnTo>
                      <a:lnTo>
                        <a:pt x="3141" y="795"/>
                      </a:lnTo>
                      <a:lnTo>
                        <a:pt x="3136" y="798"/>
                      </a:lnTo>
                      <a:lnTo>
                        <a:pt x="3133" y="795"/>
                      </a:lnTo>
                      <a:lnTo>
                        <a:pt x="3133" y="798"/>
                      </a:lnTo>
                      <a:lnTo>
                        <a:pt x="3133" y="803"/>
                      </a:lnTo>
                      <a:lnTo>
                        <a:pt x="3130" y="800"/>
                      </a:lnTo>
                      <a:lnTo>
                        <a:pt x="3128" y="803"/>
                      </a:lnTo>
                      <a:lnTo>
                        <a:pt x="3128" y="809"/>
                      </a:lnTo>
                      <a:lnTo>
                        <a:pt x="3122" y="815"/>
                      </a:lnTo>
                      <a:lnTo>
                        <a:pt x="3130" y="812"/>
                      </a:lnTo>
                      <a:lnTo>
                        <a:pt x="3133" y="812"/>
                      </a:lnTo>
                      <a:lnTo>
                        <a:pt x="3133" y="815"/>
                      </a:lnTo>
                      <a:lnTo>
                        <a:pt x="3130" y="815"/>
                      </a:lnTo>
                      <a:lnTo>
                        <a:pt x="3130" y="817"/>
                      </a:lnTo>
                      <a:lnTo>
                        <a:pt x="3128" y="817"/>
                      </a:lnTo>
                      <a:lnTo>
                        <a:pt x="3128" y="820"/>
                      </a:lnTo>
                      <a:lnTo>
                        <a:pt x="3125" y="823"/>
                      </a:lnTo>
                      <a:lnTo>
                        <a:pt x="3125" y="825"/>
                      </a:lnTo>
                      <a:lnTo>
                        <a:pt x="3105" y="833"/>
                      </a:lnTo>
                      <a:lnTo>
                        <a:pt x="3114" y="833"/>
                      </a:lnTo>
                      <a:lnTo>
                        <a:pt x="3114" y="836"/>
                      </a:lnTo>
                      <a:lnTo>
                        <a:pt x="3114" y="833"/>
                      </a:lnTo>
                      <a:lnTo>
                        <a:pt x="3122" y="831"/>
                      </a:lnTo>
                      <a:lnTo>
                        <a:pt x="3125" y="831"/>
                      </a:lnTo>
                      <a:lnTo>
                        <a:pt x="3128" y="831"/>
                      </a:lnTo>
                      <a:lnTo>
                        <a:pt x="3130" y="828"/>
                      </a:lnTo>
                      <a:lnTo>
                        <a:pt x="3133" y="828"/>
                      </a:lnTo>
                      <a:lnTo>
                        <a:pt x="3133" y="831"/>
                      </a:lnTo>
                      <a:lnTo>
                        <a:pt x="3128" y="831"/>
                      </a:lnTo>
                      <a:lnTo>
                        <a:pt x="3130" y="833"/>
                      </a:lnTo>
                      <a:lnTo>
                        <a:pt x="3128" y="833"/>
                      </a:lnTo>
                      <a:lnTo>
                        <a:pt x="3125" y="833"/>
                      </a:lnTo>
                      <a:lnTo>
                        <a:pt x="3128" y="836"/>
                      </a:lnTo>
                      <a:lnTo>
                        <a:pt x="3128" y="839"/>
                      </a:lnTo>
                      <a:lnTo>
                        <a:pt x="3122" y="839"/>
                      </a:lnTo>
                      <a:lnTo>
                        <a:pt x="3122" y="845"/>
                      </a:lnTo>
                      <a:lnTo>
                        <a:pt x="3125" y="845"/>
                      </a:lnTo>
                      <a:lnTo>
                        <a:pt x="3122" y="848"/>
                      </a:lnTo>
                      <a:lnTo>
                        <a:pt x="3122" y="853"/>
                      </a:lnTo>
                      <a:lnTo>
                        <a:pt x="3125" y="853"/>
                      </a:lnTo>
                      <a:lnTo>
                        <a:pt x="3122" y="853"/>
                      </a:lnTo>
                      <a:lnTo>
                        <a:pt x="3117" y="853"/>
                      </a:lnTo>
                      <a:lnTo>
                        <a:pt x="3114" y="853"/>
                      </a:lnTo>
                      <a:lnTo>
                        <a:pt x="3117" y="859"/>
                      </a:lnTo>
                      <a:lnTo>
                        <a:pt x="3114" y="861"/>
                      </a:lnTo>
                      <a:lnTo>
                        <a:pt x="3114" y="859"/>
                      </a:lnTo>
                      <a:lnTo>
                        <a:pt x="3110" y="859"/>
                      </a:lnTo>
                      <a:lnTo>
                        <a:pt x="3102" y="859"/>
                      </a:lnTo>
                      <a:lnTo>
                        <a:pt x="3105" y="861"/>
                      </a:lnTo>
                      <a:lnTo>
                        <a:pt x="3105" y="867"/>
                      </a:lnTo>
                      <a:lnTo>
                        <a:pt x="3105" y="869"/>
                      </a:lnTo>
                      <a:lnTo>
                        <a:pt x="3100" y="869"/>
                      </a:lnTo>
                      <a:lnTo>
                        <a:pt x="3100" y="872"/>
                      </a:lnTo>
                      <a:lnTo>
                        <a:pt x="3097" y="875"/>
                      </a:lnTo>
                      <a:lnTo>
                        <a:pt x="3100" y="878"/>
                      </a:lnTo>
                      <a:lnTo>
                        <a:pt x="3102" y="881"/>
                      </a:lnTo>
                      <a:lnTo>
                        <a:pt x="3097" y="881"/>
                      </a:lnTo>
                      <a:lnTo>
                        <a:pt x="3094" y="878"/>
                      </a:lnTo>
                      <a:lnTo>
                        <a:pt x="3092" y="881"/>
                      </a:lnTo>
                      <a:lnTo>
                        <a:pt x="3089" y="881"/>
                      </a:lnTo>
                      <a:lnTo>
                        <a:pt x="3086" y="881"/>
                      </a:lnTo>
                      <a:lnTo>
                        <a:pt x="3084" y="884"/>
                      </a:lnTo>
                      <a:lnTo>
                        <a:pt x="3084" y="878"/>
                      </a:lnTo>
                      <a:lnTo>
                        <a:pt x="3078" y="884"/>
                      </a:lnTo>
                      <a:lnTo>
                        <a:pt x="3078" y="881"/>
                      </a:lnTo>
                      <a:lnTo>
                        <a:pt x="3075" y="878"/>
                      </a:lnTo>
                      <a:lnTo>
                        <a:pt x="3078" y="878"/>
                      </a:lnTo>
                      <a:lnTo>
                        <a:pt x="3072" y="878"/>
                      </a:lnTo>
                      <a:lnTo>
                        <a:pt x="3072" y="875"/>
                      </a:lnTo>
                      <a:lnTo>
                        <a:pt x="3078" y="872"/>
                      </a:lnTo>
                      <a:lnTo>
                        <a:pt x="3078" y="869"/>
                      </a:lnTo>
                      <a:lnTo>
                        <a:pt x="3081" y="869"/>
                      </a:lnTo>
                      <a:lnTo>
                        <a:pt x="3075" y="869"/>
                      </a:lnTo>
                      <a:lnTo>
                        <a:pt x="3069" y="872"/>
                      </a:lnTo>
                      <a:lnTo>
                        <a:pt x="3069" y="875"/>
                      </a:lnTo>
                      <a:lnTo>
                        <a:pt x="3069" y="878"/>
                      </a:lnTo>
                      <a:lnTo>
                        <a:pt x="3069" y="881"/>
                      </a:lnTo>
                      <a:lnTo>
                        <a:pt x="3072" y="881"/>
                      </a:lnTo>
                      <a:lnTo>
                        <a:pt x="3072" y="886"/>
                      </a:lnTo>
                      <a:lnTo>
                        <a:pt x="3075" y="886"/>
                      </a:lnTo>
                      <a:lnTo>
                        <a:pt x="3072" y="886"/>
                      </a:lnTo>
                      <a:lnTo>
                        <a:pt x="3072" y="889"/>
                      </a:lnTo>
                      <a:lnTo>
                        <a:pt x="3072" y="897"/>
                      </a:lnTo>
                      <a:lnTo>
                        <a:pt x="3075" y="894"/>
                      </a:lnTo>
                      <a:lnTo>
                        <a:pt x="3072" y="897"/>
                      </a:lnTo>
                      <a:lnTo>
                        <a:pt x="3075" y="900"/>
                      </a:lnTo>
                      <a:lnTo>
                        <a:pt x="3069" y="902"/>
                      </a:lnTo>
                      <a:lnTo>
                        <a:pt x="3072" y="897"/>
                      </a:lnTo>
                      <a:lnTo>
                        <a:pt x="3064" y="902"/>
                      </a:lnTo>
                      <a:lnTo>
                        <a:pt x="3064" y="900"/>
                      </a:lnTo>
                      <a:lnTo>
                        <a:pt x="3064" y="897"/>
                      </a:lnTo>
                      <a:lnTo>
                        <a:pt x="3067" y="897"/>
                      </a:lnTo>
                      <a:lnTo>
                        <a:pt x="3069" y="892"/>
                      </a:lnTo>
                      <a:lnTo>
                        <a:pt x="3061" y="892"/>
                      </a:lnTo>
                      <a:lnTo>
                        <a:pt x="3061" y="889"/>
                      </a:lnTo>
                      <a:lnTo>
                        <a:pt x="3056" y="889"/>
                      </a:lnTo>
                      <a:lnTo>
                        <a:pt x="3059" y="886"/>
                      </a:lnTo>
                      <a:lnTo>
                        <a:pt x="3053" y="886"/>
                      </a:lnTo>
                      <a:lnTo>
                        <a:pt x="3053" y="884"/>
                      </a:lnTo>
                      <a:lnTo>
                        <a:pt x="3048" y="889"/>
                      </a:lnTo>
                      <a:lnTo>
                        <a:pt x="3053" y="889"/>
                      </a:lnTo>
                      <a:lnTo>
                        <a:pt x="3056" y="892"/>
                      </a:lnTo>
                      <a:lnTo>
                        <a:pt x="3056" y="894"/>
                      </a:lnTo>
                      <a:lnTo>
                        <a:pt x="3048" y="897"/>
                      </a:lnTo>
                      <a:lnTo>
                        <a:pt x="3050" y="897"/>
                      </a:lnTo>
                      <a:lnTo>
                        <a:pt x="3048" y="900"/>
                      </a:lnTo>
                      <a:lnTo>
                        <a:pt x="3050" y="900"/>
                      </a:lnTo>
                      <a:lnTo>
                        <a:pt x="3053" y="902"/>
                      </a:lnTo>
                      <a:lnTo>
                        <a:pt x="3050" y="902"/>
                      </a:lnTo>
                      <a:lnTo>
                        <a:pt x="3041" y="908"/>
                      </a:lnTo>
                      <a:lnTo>
                        <a:pt x="3045" y="908"/>
                      </a:lnTo>
                      <a:lnTo>
                        <a:pt x="3048" y="908"/>
                      </a:lnTo>
                      <a:lnTo>
                        <a:pt x="3048" y="910"/>
                      </a:lnTo>
                      <a:lnTo>
                        <a:pt x="3053" y="910"/>
                      </a:lnTo>
                      <a:lnTo>
                        <a:pt x="3050" y="910"/>
                      </a:lnTo>
                      <a:lnTo>
                        <a:pt x="3050" y="920"/>
                      </a:lnTo>
                      <a:lnTo>
                        <a:pt x="3048" y="922"/>
                      </a:lnTo>
                      <a:lnTo>
                        <a:pt x="3050" y="922"/>
                      </a:lnTo>
                      <a:lnTo>
                        <a:pt x="3050" y="925"/>
                      </a:lnTo>
                      <a:lnTo>
                        <a:pt x="3053" y="928"/>
                      </a:lnTo>
                      <a:lnTo>
                        <a:pt x="3053" y="930"/>
                      </a:lnTo>
                      <a:lnTo>
                        <a:pt x="3056" y="930"/>
                      </a:lnTo>
                      <a:lnTo>
                        <a:pt x="3056" y="925"/>
                      </a:lnTo>
                      <a:lnTo>
                        <a:pt x="3059" y="922"/>
                      </a:lnTo>
                      <a:lnTo>
                        <a:pt x="3059" y="925"/>
                      </a:lnTo>
                      <a:lnTo>
                        <a:pt x="3061" y="925"/>
                      </a:lnTo>
                      <a:lnTo>
                        <a:pt x="3061" y="928"/>
                      </a:lnTo>
                      <a:lnTo>
                        <a:pt x="3067" y="930"/>
                      </a:lnTo>
                      <a:lnTo>
                        <a:pt x="3064" y="930"/>
                      </a:lnTo>
                      <a:lnTo>
                        <a:pt x="3067" y="933"/>
                      </a:lnTo>
                      <a:lnTo>
                        <a:pt x="3072" y="933"/>
                      </a:lnTo>
                      <a:lnTo>
                        <a:pt x="3075" y="936"/>
                      </a:lnTo>
                      <a:lnTo>
                        <a:pt x="3075" y="938"/>
                      </a:lnTo>
                      <a:lnTo>
                        <a:pt x="3078" y="938"/>
                      </a:lnTo>
                      <a:lnTo>
                        <a:pt x="3081" y="938"/>
                      </a:lnTo>
                      <a:lnTo>
                        <a:pt x="3078" y="941"/>
                      </a:lnTo>
                      <a:lnTo>
                        <a:pt x="3086" y="941"/>
                      </a:lnTo>
                      <a:lnTo>
                        <a:pt x="3086" y="944"/>
                      </a:lnTo>
                      <a:lnTo>
                        <a:pt x="3084" y="946"/>
                      </a:lnTo>
                      <a:lnTo>
                        <a:pt x="3089" y="946"/>
                      </a:lnTo>
                      <a:lnTo>
                        <a:pt x="3094" y="950"/>
                      </a:lnTo>
                      <a:lnTo>
                        <a:pt x="3084" y="933"/>
                      </a:lnTo>
                      <a:lnTo>
                        <a:pt x="3078" y="933"/>
                      </a:lnTo>
                      <a:lnTo>
                        <a:pt x="3072" y="928"/>
                      </a:lnTo>
                      <a:lnTo>
                        <a:pt x="3067" y="922"/>
                      </a:lnTo>
                      <a:lnTo>
                        <a:pt x="3064" y="922"/>
                      </a:lnTo>
                      <a:lnTo>
                        <a:pt x="3061" y="910"/>
                      </a:lnTo>
                      <a:lnTo>
                        <a:pt x="3064" y="910"/>
                      </a:lnTo>
                      <a:lnTo>
                        <a:pt x="3067" y="910"/>
                      </a:lnTo>
                      <a:lnTo>
                        <a:pt x="3072" y="910"/>
                      </a:lnTo>
                      <a:lnTo>
                        <a:pt x="3081" y="908"/>
                      </a:lnTo>
                      <a:lnTo>
                        <a:pt x="3084" y="908"/>
                      </a:lnTo>
                      <a:lnTo>
                        <a:pt x="3084" y="905"/>
                      </a:lnTo>
                      <a:lnTo>
                        <a:pt x="3092" y="905"/>
                      </a:lnTo>
                      <a:lnTo>
                        <a:pt x="3094" y="902"/>
                      </a:lnTo>
                      <a:lnTo>
                        <a:pt x="3105" y="897"/>
                      </a:lnTo>
                      <a:lnTo>
                        <a:pt x="3108" y="900"/>
                      </a:lnTo>
                      <a:lnTo>
                        <a:pt x="3114" y="897"/>
                      </a:lnTo>
                      <a:lnTo>
                        <a:pt x="3119" y="894"/>
                      </a:lnTo>
                      <a:lnTo>
                        <a:pt x="3122" y="889"/>
                      </a:lnTo>
                      <a:lnTo>
                        <a:pt x="3125" y="886"/>
                      </a:lnTo>
                      <a:lnTo>
                        <a:pt x="3130" y="886"/>
                      </a:lnTo>
                      <a:lnTo>
                        <a:pt x="3130" y="889"/>
                      </a:lnTo>
                      <a:lnTo>
                        <a:pt x="3133" y="889"/>
                      </a:lnTo>
                      <a:lnTo>
                        <a:pt x="3136" y="889"/>
                      </a:lnTo>
                      <a:lnTo>
                        <a:pt x="3138" y="892"/>
                      </a:lnTo>
                      <a:lnTo>
                        <a:pt x="3144" y="892"/>
                      </a:lnTo>
                      <a:lnTo>
                        <a:pt x="3150" y="894"/>
                      </a:lnTo>
                      <a:lnTo>
                        <a:pt x="3158" y="897"/>
                      </a:lnTo>
                      <a:lnTo>
                        <a:pt x="3163" y="897"/>
                      </a:lnTo>
                      <a:lnTo>
                        <a:pt x="3166" y="902"/>
                      </a:lnTo>
                      <a:lnTo>
                        <a:pt x="3166" y="905"/>
                      </a:lnTo>
                      <a:lnTo>
                        <a:pt x="3169" y="905"/>
                      </a:lnTo>
                      <a:lnTo>
                        <a:pt x="3171" y="908"/>
                      </a:lnTo>
                      <a:lnTo>
                        <a:pt x="3169" y="908"/>
                      </a:lnTo>
                      <a:lnTo>
                        <a:pt x="3169" y="910"/>
                      </a:lnTo>
                      <a:lnTo>
                        <a:pt x="3174" y="914"/>
                      </a:lnTo>
                      <a:lnTo>
                        <a:pt x="3171" y="917"/>
                      </a:lnTo>
                      <a:lnTo>
                        <a:pt x="3171" y="920"/>
                      </a:lnTo>
                      <a:lnTo>
                        <a:pt x="3174" y="920"/>
                      </a:lnTo>
                      <a:lnTo>
                        <a:pt x="3177" y="920"/>
                      </a:lnTo>
                      <a:lnTo>
                        <a:pt x="3179" y="920"/>
                      </a:lnTo>
                      <a:lnTo>
                        <a:pt x="3183" y="922"/>
                      </a:lnTo>
                      <a:lnTo>
                        <a:pt x="3183" y="925"/>
                      </a:lnTo>
                      <a:lnTo>
                        <a:pt x="3186" y="922"/>
                      </a:lnTo>
                      <a:lnTo>
                        <a:pt x="3186" y="925"/>
                      </a:lnTo>
                      <a:lnTo>
                        <a:pt x="3191" y="925"/>
                      </a:lnTo>
                      <a:lnTo>
                        <a:pt x="3194" y="925"/>
                      </a:lnTo>
                      <a:lnTo>
                        <a:pt x="3202" y="930"/>
                      </a:lnTo>
                      <a:lnTo>
                        <a:pt x="3205" y="930"/>
                      </a:lnTo>
                      <a:lnTo>
                        <a:pt x="3210" y="928"/>
                      </a:lnTo>
                      <a:lnTo>
                        <a:pt x="3213" y="930"/>
                      </a:lnTo>
                      <a:lnTo>
                        <a:pt x="3213" y="933"/>
                      </a:lnTo>
                      <a:lnTo>
                        <a:pt x="3216" y="936"/>
                      </a:lnTo>
                      <a:lnTo>
                        <a:pt x="3216" y="933"/>
                      </a:lnTo>
                      <a:lnTo>
                        <a:pt x="3216" y="936"/>
                      </a:lnTo>
                      <a:lnTo>
                        <a:pt x="3219" y="936"/>
                      </a:lnTo>
                      <a:lnTo>
                        <a:pt x="3213" y="938"/>
                      </a:lnTo>
                      <a:lnTo>
                        <a:pt x="3213" y="941"/>
                      </a:lnTo>
                      <a:lnTo>
                        <a:pt x="3216" y="941"/>
                      </a:lnTo>
                      <a:lnTo>
                        <a:pt x="3219" y="941"/>
                      </a:lnTo>
                      <a:lnTo>
                        <a:pt x="3227" y="941"/>
                      </a:lnTo>
                      <a:lnTo>
                        <a:pt x="3219" y="950"/>
                      </a:lnTo>
                      <a:lnTo>
                        <a:pt x="3219" y="955"/>
                      </a:lnTo>
                      <a:lnTo>
                        <a:pt x="3210" y="963"/>
                      </a:lnTo>
                      <a:lnTo>
                        <a:pt x="3188" y="988"/>
                      </a:lnTo>
                      <a:lnTo>
                        <a:pt x="3141" y="1057"/>
                      </a:lnTo>
                      <a:lnTo>
                        <a:pt x="3136" y="1066"/>
                      </a:lnTo>
                      <a:lnTo>
                        <a:pt x="3133" y="1071"/>
                      </a:lnTo>
                      <a:lnTo>
                        <a:pt x="3128" y="1076"/>
                      </a:lnTo>
                      <a:lnTo>
                        <a:pt x="3125" y="1082"/>
                      </a:lnTo>
                      <a:lnTo>
                        <a:pt x="3114" y="1104"/>
                      </a:lnTo>
                      <a:lnTo>
                        <a:pt x="3102" y="1126"/>
                      </a:lnTo>
                      <a:lnTo>
                        <a:pt x="3092" y="1145"/>
                      </a:lnTo>
                      <a:lnTo>
                        <a:pt x="3084" y="1165"/>
                      </a:lnTo>
                      <a:lnTo>
                        <a:pt x="3078" y="1173"/>
                      </a:lnTo>
                      <a:lnTo>
                        <a:pt x="3061" y="1212"/>
                      </a:lnTo>
                      <a:lnTo>
                        <a:pt x="3050" y="1237"/>
                      </a:lnTo>
                      <a:lnTo>
                        <a:pt x="3045" y="1250"/>
                      </a:lnTo>
                      <a:lnTo>
                        <a:pt x="3039" y="1265"/>
                      </a:lnTo>
                      <a:lnTo>
                        <a:pt x="3023" y="1308"/>
                      </a:lnTo>
                      <a:lnTo>
                        <a:pt x="3017" y="1322"/>
                      </a:lnTo>
                      <a:lnTo>
                        <a:pt x="3012" y="1336"/>
                      </a:lnTo>
                      <a:lnTo>
                        <a:pt x="3012" y="1342"/>
                      </a:lnTo>
                      <a:lnTo>
                        <a:pt x="3006" y="1350"/>
                      </a:lnTo>
                      <a:lnTo>
                        <a:pt x="3003" y="1360"/>
                      </a:lnTo>
                      <a:lnTo>
                        <a:pt x="2992" y="1393"/>
                      </a:lnTo>
                      <a:lnTo>
                        <a:pt x="2984" y="1413"/>
                      </a:lnTo>
                      <a:lnTo>
                        <a:pt x="2972" y="1432"/>
                      </a:lnTo>
                      <a:lnTo>
                        <a:pt x="2959" y="1457"/>
                      </a:lnTo>
                      <a:lnTo>
                        <a:pt x="2929" y="1496"/>
                      </a:lnTo>
                      <a:lnTo>
                        <a:pt x="2915" y="1515"/>
                      </a:lnTo>
                      <a:lnTo>
                        <a:pt x="2879" y="1567"/>
                      </a:lnTo>
                      <a:lnTo>
                        <a:pt x="2834" y="1628"/>
                      </a:lnTo>
                      <a:lnTo>
                        <a:pt x="2832" y="1634"/>
                      </a:lnTo>
                      <a:lnTo>
                        <a:pt x="2808" y="1672"/>
                      </a:lnTo>
                      <a:lnTo>
                        <a:pt x="2796" y="1689"/>
                      </a:lnTo>
                      <a:lnTo>
                        <a:pt x="2783" y="1703"/>
                      </a:lnTo>
                      <a:lnTo>
                        <a:pt x="2763" y="1725"/>
                      </a:lnTo>
                      <a:lnTo>
                        <a:pt x="2749" y="1741"/>
                      </a:lnTo>
                      <a:lnTo>
                        <a:pt x="2730" y="1758"/>
                      </a:lnTo>
                      <a:lnTo>
                        <a:pt x="2722" y="1764"/>
                      </a:lnTo>
                      <a:lnTo>
                        <a:pt x="2686" y="1794"/>
                      </a:lnTo>
                      <a:lnTo>
                        <a:pt x="2653" y="1825"/>
                      </a:lnTo>
                      <a:lnTo>
                        <a:pt x="2631" y="1841"/>
                      </a:lnTo>
                      <a:lnTo>
                        <a:pt x="2625" y="1849"/>
                      </a:lnTo>
                      <a:lnTo>
                        <a:pt x="2611" y="1866"/>
                      </a:lnTo>
                      <a:lnTo>
                        <a:pt x="2601" y="1879"/>
                      </a:lnTo>
                      <a:lnTo>
                        <a:pt x="2570" y="1902"/>
                      </a:lnTo>
                      <a:lnTo>
                        <a:pt x="2540" y="1927"/>
                      </a:lnTo>
                      <a:lnTo>
                        <a:pt x="2512" y="1945"/>
                      </a:lnTo>
                      <a:lnTo>
                        <a:pt x="2487" y="1960"/>
                      </a:lnTo>
                      <a:lnTo>
                        <a:pt x="2448" y="1981"/>
                      </a:lnTo>
                      <a:lnTo>
                        <a:pt x="2410" y="2001"/>
                      </a:lnTo>
                      <a:lnTo>
                        <a:pt x="2371" y="2022"/>
                      </a:lnTo>
                      <a:lnTo>
                        <a:pt x="2343" y="2042"/>
                      </a:lnTo>
                      <a:lnTo>
                        <a:pt x="2327" y="2056"/>
                      </a:lnTo>
                      <a:lnTo>
                        <a:pt x="2305" y="2078"/>
                      </a:lnTo>
                      <a:lnTo>
                        <a:pt x="2266" y="2119"/>
                      </a:lnTo>
                      <a:lnTo>
                        <a:pt x="2264" y="2127"/>
                      </a:lnTo>
                      <a:lnTo>
                        <a:pt x="2264" y="2139"/>
                      </a:lnTo>
                      <a:lnTo>
                        <a:pt x="2256" y="2127"/>
                      </a:lnTo>
                      <a:lnTo>
                        <a:pt x="2247" y="2130"/>
                      </a:lnTo>
                      <a:lnTo>
                        <a:pt x="2233" y="2142"/>
                      </a:lnTo>
                      <a:lnTo>
                        <a:pt x="2220" y="2150"/>
                      </a:lnTo>
                      <a:lnTo>
                        <a:pt x="2203" y="2170"/>
                      </a:lnTo>
                      <a:lnTo>
                        <a:pt x="2189" y="2186"/>
                      </a:lnTo>
                      <a:lnTo>
                        <a:pt x="2170" y="2213"/>
                      </a:lnTo>
                      <a:lnTo>
                        <a:pt x="2156" y="2239"/>
                      </a:lnTo>
                      <a:lnTo>
                        <a:pt x="2144" y="2265"/>
                      </a:lnTo>
                      <a:lnTo>
                        <a:pt x="2126" y="2316"/>
                      </a:lnTo>
                      <a:lnTo>
                        <a:pt x="2123" y="2329"/>
                      </a:lnTo>
                      <a:lnTo>
                        <a:pt x="2114" y="2367"/>
                      </a:lnTo>
                      <a:lnTo>
                        <a:pt x="2106" y="2395"/>
                      </a:lnTo>
                      <a:lnTo>
                        <a:pt x="2087" y="2439"/>
                      </a:lnTo>
                      <a:lnTo>
                        <a:pt x="2070" y="2467"/>
                      </a:lnTo>
                      <a:lnTo>
                        <a:pt x="2051" y="2508"/>
                      </a:lnTo>
                      <a:lnTo>
                        <a:pt x="2040" y="2528"/>
                      </a:lnTo>
                      <a:lnTo>
                        <a:pt x="2026" y="2547"/>
                      </a:lnTo>
                      <a:lnTo>
                        <a:pt x="1996" y="2585"/>
                      </a:lnTo>
                      <a:lnTo>
                        <a:pt x="1971" y="2608"/>
                      </a:lnTo>
                      <a:lnTo>
                        <a:pt x="1871" y="2687"/>
                      </a:lnTo>
                      <a:lnTo>
                        <a:pt x="1827" y="2726"/>
                      </a:lnTo>
                      <a:lnTo>
                        <a:pt x="1789" y="2756"/>
                      </a:lnTo>
                      <a:lnTo>
                        <a:pt x="1778" y="2765"/>
                      </a:lnTo>
                      <a:lnTo>
                        <a:pt x="1736" y="2792"/>
                      </a:lnTo>
                      <a:lnTo>
                        <a:pt x="1733" y="2792"/>
                      </a:lnTo>
                      <a:lnTo>
                        <a:pt x="1728" y="2795"/>
                      </a:lnTo>
                      <a:lnTo>
                        <a:pt x="1725" y="2792"/>
                      </a:lnTo>
                      <a:lnTo>
                        <a:pt x="1720" y="2792"/>
                      </a:lnTo>
                      <a:lnTo>
                        <a:pt x="1717" y="2792"/>
                      </a:lnTo>
                      <a:lnTo>
                        <a:pt x="1714" y="2790"/>
                      </a:lnTo>
                      <a:lnTo>
                        <a:pt x="1714" y="2787"/>
                      </a:lnTo>
                      <a:lnTo>
                        <a:pt x="1712" y="2779"/>
                      </a:lnTo>
                      <a:lnTo>
                        <a:pt x="1712" y="2773"/>
                      </a:lnTo>
                      <a:lnTo>
                        <a:pt x="1709" y="2771"/>
                      </a:lnTo>
                      <a:lnTo>
                        <a:pt x="1676" y="2768"/>
                      </a:lnTo>
                      <a:lnTo>
                        <a:pt x="1673" y="2768"/>
                      </a:lnTo>
                      <a:lnTo>
                        <a:pt x="1673" y="2765"/>
                      </a:lnTo>
                      <a:lnTo>
                        <a:pt x="1676" y="2763"/>
                      </a:lnTo>
                      <a:lnTo>
                        <a:pt x="1673" y="2759"/>
                      </a:lnTo>
                      <a:lnTo>
                        <a:pt x="1673" y="2756"/>
                      </a:lnTo>
                      <a:lnTo>
                        <a:pt x="1671" y="2751"/>
                      </a:lnTo>
                      <a:lnTo>
                        <a:pt x="1673" y="2748"/>
                      </a:lnTo>
                      <a:lnTo>
                        <a:pt x="1676" y="2743"/>
                      </a:lnTo>
                      <a:lnTo>
                        <a:pt x="1671" y="2738"/>
                      </a:lnTo>
                      <a:lnTo>
                        <a:pt x="1673" y="2732"/>
                      </a:lnTo>
                      <a:lnTo>
                        <a:pt x="1676" y="2730"/>
                      </a:lnTo>
                      <a:lnTo>
                        <a:pt x="1676" y="2702"/>
                      </a:lnTo>
                      <a:lnTo>
                        <a:pt x="1681" y="2671"/>
                      </a:lnTo>
                      <a:lnTo>
                        <a:pt x="1684" y="2627"/>
                      </a:lnTo>
                      <a:lnTo>
                        <a:pt x="1676" y="2585"/>
                      </a:lnTo>
                      <a:lnTo>
                        <a:pt x="1679" y="2544"/>
                      </a:lnTo>
                      <a:lnTo>
                        <a:pt x="1706" y="2503"/>
                      </a:lnTo>
                      <a:lnTo>
                        <a:pt x="1745" y="2480"/>
                      </a:lnTo>
                      <a:lnTo>
                        <a:pt x="1764" y="2484"/>
                      </a:lnTo>
                      <a:lnTo>
                        <a:pt x="1789" y="2454"/>
                      </a:lnTo>
                      <a:lnTo>
                        <a:pt x="1764" y="2444"/>
                      </a:lnTo>
                      <a:lnTo>
                        <a:pt x="1773" y="2436"/>
                      </a:lnTo>
                      <a:lnTo>
                        <a:pt x="1775" y="2442"/>
                      </a:lnTo>
                      <a:lnTo>
                        <a:pt x="1773" y="2442"/>
                      </a:lnTo>
                      <a:lnTo>
                        <a:pt x="1775" y="2444"/>
                      </a:lnTo>
                      <a:lnTo>
                        <a:pt x="1778" y="2444"/>
                      </a:lnTo>
                      <a:lnTo>
                        <a:pt x="1773" y="2436"/>
                      </a:lnTo>
                      <a:lnTo>
                        <a:pt x="1814" y="2418"/>
                      </a:lnTo>
                      <a:lnTo>
                        <a:pt x="1825" y="2401"/>
                      </a:lnTo>
                      <a:lnTo>
                        <a:pt x="1822" y="2398"/>
                      </a:lnTo>
                      <a:lnTo>
                        <a:pt x="1830" y="2390"/>
                      </a:lnTo>
                      <a:lnTo>
                        <a:pt x="1855" y="2385"/>
                      </a:lnTo>
                      <a:lnTo>
                        <a:pt x="1860" y="2370"/>
                      </a:lnTo>
                      <a:lnTo>
                        <a:pt x="1819" y="2334"/>
                      </a:lnTo>
                      <a:lnTo>
                        <a:pt x="1819" y="2337"/>
                      </a:lnTo>
                      <a:lnTo>
                        <a:pt x="1817" y="2334"/>
                      </a:lnTo>
                      <a:lnTo>
                        <a:pt x="1814" y="2332"/>
                      </a:lnTo>
                      <a:lnTo>
                        <a:pt x="1799" y="2329"/>
                      </a:lnTo>
                      <a:lnTo>
                        <a:pt x="1791" y="2324"/>
                      </a:lnTo>
                      <a:lnTo>
                        <a:pt x="1789" y="2313"/>
                      </a:lnTo>
                      <a:lnTo>
                        <a:pt x="1778" y="2316"/>
                      </a:lnTo>
                      <a:lnTo>
                        <a:pt x="1775" y="2321"/>
                      </a:lnTo>
                      <a:lnTo>
                        <a:pt x="1773" y="2321"/>
                      </a:lnTo>
                      <a:lnTo>
                        <a:pt x="1769" y="2318"/>
                      </a:lnTo>
                      <a:lnTo>
                        <a:pt x="1766" y="2316"/>
                      </a:lnTo>
                      <a:lnTo>
                        <a:pt x="1758" y="2310"/>
                      </a:lnTo>
                      <a:lnTo>
                        <a:pt x="1753" y="2307"/>
                      </a:lnTo>
                      <a:lnTo>
                        <a:pt x="1748" y="2310"/>
                      </a:lnTo>
                      <a:lnTo>
                        <a:pt x="1745" y="2310"/>
                      </a:lnTo>
                      <a:lnTo>
                        <a:pt x="1740" y="2301"/>
                      </a:lnTo>
                      <a:lnTo>
                        <a:pt x="1736" y="2301"/>
                      </a:lnTo>
                      <a:lnTo>
                        <a:pt x="1730" y="2307"/>
                      </a:lnTo>
                      <a:lnTo>
                        <a:pt x="1722" y="2301"/>
                      </a:lnTo>
                      <a:lnTo>
                        <a:pt x="1720" y="2298"/>
                      </a:lnTo>
                      <a:lnTo>
                        <a:pt x="1720" y="2296"/>
                      </a:lnTo>
                      <a:lnTo>
                        <a:pt x="1717" y="2296"/>
                      </a:lnTo>
                      <a:lnTo>
                        <a:pt x="1714" y="2298"/>
                      </a:lnTo>
                      <a:lnTo>
                        <a:pt x="1709" y="2288"/>
                      </a:lnTo>
                      <a:lnTo>
                        <a:pt x="1704" y="2280"/>
                      </a:lnTo>
                      <a:lnTo>
                        <a:pt x="1704" y="2277"/>
                      </a:lnTo>
                      <a:lnTo>
                        <a:pt x="1700" y="2271"/>
                      </a:lnTo>
                      <a:lnTo>
                        <a:pt x="1700" y="2268"/>
                      </a:lnTo>
                      <a:lnTo>
                        <a:pt x="1700" y="2263"/>
                      </a:lnTo>
                      <a:lnTo>
                        <a:pt x="1697" y="2263"/>
                      </a:lnTo>
                      <a:lnTo>
                        <a:pt x="1695" y="2263"/>
                      </a:lnTo>
                      <a:lnTo>
                        <a:pt x="1684" y="2263"/>
                      </a:lnTo>
                      <a:lnTo>
                        <a:pt x="1679" y="2265"/>
                      </a:lnTo>
                      <a:lnTo>
                        <a:pt x="1679" y="2263"/>
                      </a:lnTo>
                      <a:lnTo>
                        <a:pt x="1676" y="2265"/>
                      </a:lnTo>
                      <a:lnTo>
                        <a:pt x="1667" y="2260"/>
                      </a:lnTo>
                      <a:lnTo>
                        <a:pt x="1667" y="2257"/>
                      </a:lnTo>
                      <a:lnTo>
                        <a:pt x="1661" y="2257"/>
                      </a:lnTo>
                      <a:lnTo>
                        <a:pt x="1659" y="2252"/>
                      </a:lnTo>
                      <a:lnTo>
                        <a:pt x="1651" y="2249"/>
                      </a:lnTo>
                      <a:lnTo>
                        <a:pt x="1651" y="2244"/>
                      </a:lnTo>
                      <a:lnTo>
                        <a:pt x="1645" y="2241"/>
                      </a:lnTo>
                      <a:lnTo>
                        <a:pt x="1640" y="2235"/>
                      </a:lnTo>
                      <a:lnTo>
                        <a:pt x="1640" y="2229"/>
                      </a:lnTo>
                      <a:lnTo>
                        <a:pt x="1640" y="2227"/>
                      </a:lnTo>
                      <a:lnTo>
                        <a:pt x="1626" y="2221"/>
                      </a:lnTo>
                      <a:lnTo>
                        <a:pt x="1628" y="2219"/>
                      </a:lnTo>
                      <a:lnTo>
                        <a:pt x="1631" y="2208"/>
                      </a:lnTo>
                      <a:lnTo>
                        <a:pt x="1628" y="2202"/>
                      </a:lnTo>
                      <a:lnTo>
                        <a:pt x="1628" y="2196"/>
                      </a:lnTo>
                      <a:lnTo>
                        <a:pt x="1623" y="2194"/>
                      </a:lnTo>
                      <a:lnTo>
                        <a:pt x="1623" y="2191"/>
                      </a:lnTo>
                      <a:lnTo>
                        <a:pt x="1626" y="2191"/>
                      </a:lnTo>
                      <a:lnTo>
                        <a:pt x="1628" y="2186"/>
                      </a:lnTo>
                      <a:lnTo>
                        <a:pt x="1623" y="2183"/>
                      </a:lnTo>
                      <a:lnTo>
                        <a:pt x="1623" y="2178"/>
                      </a:lnTo>
                      <a:lnTo>
                        <a:pt x="1618" y="2175"/>
                      </a:lnTo>
                      <a:lnTo>
                        <a:pt x="1615" y="2170"/>
                      </a:lnTo>
                      <a:lnTo>
                        <a:pt x="1615" y="2161"/>
                      </a:lnTo>
                      <a:lnTo>
                        <a:pt x="1610" y="2152"/>
                      </a:lnTo>
                      <a:lnTo>
                        <a:pt x="1607" y="2150"/>
                      </a:lnTo>
                      <a:lnTo>
                        <a:pt x="1607" y="2147"/>
                      </a:lnTo>
                      <a:lnTo>
                        <a:pt x="1604" y="2147"/>
                      </a:lnTo>
                      <a:lnTo>
                        <a:pt x="1602" y="2144"/>
                      </a:lnTo>
                      <a:lnTo>
                        <a:pt x="1604" y="2142"/>
                      </a:lnTo>
                      <a:lnTo>
                        <a:pt x="1598" y="2139"/>
                      </a:lnTo>
                      <a:lnTo>
                        <a:pt x="1598" y="2136"/>
                      </a:lnTo>
                      <a:lnTo>
                        <a:pt x="1595" y="2134"/>
                      </a:lnTo>
                      <a:lnTo>
                        <a:pt x="1598" y="2125"/>
                      </a:lnTo>
                      <a:lnTo>
                        <a:pt x="1590" y="2125"/>
                      </a:lnTo>
                      <a:lnTo>
                        <a:pt x="1593" y="2122"/>
                      </a:lnTo>
                      <a:lnTo>
                        <a:pt x="1593" y="2119"/>
                      </a:lnTo>
                      <a:lnTo>
                        <a:pt x="1587" y="2109"/>
                      </a:lnTo>
                      <a:lnTo>
                        <a:pt x="1590" y="2106"/>
                      </a:lnTo>
                      <a:lnTo>
                        <a:pt x="1587" y="2103"/>
                      </a:lnTo>
                      <a:lnTo>
                        <a:pt x="1593" y="2106"/>
                      </a:lnTo>
                      <a:lnTo>
                        <a:pt x="1595" y="2103"/>
                      </a:lnTo>
                      <a:lnTo>
                        <a:pt x="1587" y="2100"/>
                      </a:lnTo>
                      <a:lnTo>
                        <a:pt x="1587" y="2094"/>
                      </a:lnTo>
                      <a:lnTo>
                        <a:pt x="1582" y="2094"/>
                      </a:lnTo>
                      <a:lnTo>
                        <a:pt x="1582" y="2091"/>
                      </a:lnTo>
                      <a:lnTo>
                        <a:pt x="1579" y="2094"/>
                      </a:lnTo>
                      <a:lnTo>
                        <a:pt x="1576" y="2091"/>
                      </a:lnTo>
                      <a:lnTo>
                        <a:pt x="1571" y="2089"/>
                      </a:lnTo>
                      <a:lnTo>
                        <a:pt x="1568" y="2091"/>
                      </a:lnTo>
                      <a:lnTo>
                        <a:pt x="1568" y="2089"/>
                      </a:lnTo>
                      <a:lnTo>
                        <a:pt x="1562" y="2089"/>
                      </a:lnTo>
                      <a:lnTo>
                        <a:pt x="1557" y="2086"/>
                      </a:lnTo>
                      <a:lnTo>
                        <a:pt x="1554" y="2086"/>
                      </a:lnTo>
                      <a:lnTo>
                        <a:pt x="1551" y="2083"/>
                      </a:lnTo>
                      <a:lnTo>
                        <a:pt x="1549" y="2078"/>
                      </a:lnTo>
                      <a:lnTo>
                        <a:pt x="1546" y="2078"/>
                      </a:lnTo>
                      <a:lnTo>
                        <a:pt x="1549" y="2075"/>
                      </a:lnTo>
                      <a:lnTo>
                        <a:pt x="1546" y="2073"/>
                      </a:lnTo>
                      <a:lnTo>
                        <a:pt x="1543" y="2073"/>
                      </a:lnTo>
                      <a:lnTo>
                        <a:pt x="1543" y="2067"/>
                      </a:lnTo>
                      <a:lnTo>
                        <a:pt x="1543" y="2065"/>
                      </a:lnTo>
                      <a:lnTo>
                        <a:pt x="1543" y="2061"/>
                      </a:lnTo>
                      <a:lnTo>
                        <a:pt x="1538" y="2058"/>
                      </a:lnTo>
                      <a:lnTo>
                        <a:pt x="1535" y="2061"/>
                      </a:lnTo>
                      <a:lnTo>
                        <a:pt x="1526" y="2058"/>
                      </a:lnTo>
                      <a:lnTo>
                        <a:pt x="1523" y="2053"/>
                      </a:lnTo>
                      <a:lnTo>
                        <a:pt x="1518" y="2050"/>
                      </a:lnTo>
                      <a:lnTo>
                        <a:pt x="1518" y="2048"/>
                      </a:lnTo>
                      <a:lnTo>
                        <a:pt x="1510" y="2045"/>
                      </a:lnTo>
                      <a:lnTo>
                        <a:pt x="1505" y="2042"/>
                      </a:lnTo>
                      <a:lnTo>
                        <a:pt x="1502" y="2042"/>
                      </a:lnTo>
                      <a:lnTo>
                        <a:pt x="1499" y="2042"/>
                      </a:lnTo>
                      <a:lnTo>
                        <a:pt x="1493" y="2037"/>
                      </a:lnTo>
                      <a:lnTo>
                        <a:pt x="1493" y="2034"/>
                      </a:lnTo>
                      <a:lnTo>
                        <a:pt x="1497" y="2034"/>
                      </a:lnTo>
                      <a:lnTo>
                        <a:pt x="1497" y="2031"/>
                      </a:lnTo>
                      <a:lnTo>
                        <a:pt x="1499" y="2031"/>
                      </a:lnTo>
                      <a:lnTo>
                        <a:pt x="1499" y="2028"/>
                      </a:lnTo>
                      <a:lnTo>
                        <a:pt x="1497" y="2028"/>
                      </a:lnTo>
                      <a:lnTo>
                        <a:pt x="1493" y="2025"/>
                      </a:lnTo>
                      <a:lnTo>
                        <a:pt x="1482" y="2025"/>
                      </a:lnTo>
                      <a:lnTo>
                        <a:pt x="1480" y="2022"/>
                      </a:lnTo>
                      <a:lnTo>
                        <a:pt x="1477" y="2022"/>
                      </a:lnTo>
                      <a:lnTo>
                        <a:pt x="1477" y="2020"/>
                      </a:lnTo>
                      <a:lnTo>
                        <a:pt x="1474" y="2020"/>
                      </a:lnTo>
                      <a:lnTo>
                        <a:pt x="1472" y="2017"/>
                      </a:lnTo>
                      <a:lnTo>
                        <a:pt x="1469" y="2017"/>
                      </a:lnTo>
                      <a:lnTo>
                        <a:pt x="1472" y="2017"/>
                      </a:lnTo>
                      <a:lnTo>
                        <a:pt x="1469" y="2017"/>
                      </a:lnTo>
                      <a:lnTo>
                        <a:pt x="1466" y="2017"/>
                      </a:lnTo>
                      <a:lnTo>
                        <a:pt x="1463" y="2020"/>
                      </a:lnTo>
                      <a:lnTo>
                        <a:pt x="1460" y="2020"/>
                      </a:lnTo>
                      <a:lnTo>
                        <a:pt x="1460" y="2022"/>
                      </a:lnTo>
                      <a:lnTo>
                        <a:pt x="1454" y="2028"/>
                      </a:lnTo>
                      <a:lnTo>
                        <a:pt x="1452" y="2025"/>
                      </a:lnTo>
                      <a:lnTo>
                        <a:pt x="1446" y="2034"/>
                      </a:lnTo>
                      <a:lnTo>
                        <a:pt x="1446" y="2031"/>
                      </a:lnTo>
                      <a:lnTo>
                        <a:pt x="1441" y="2031"/>
                      </a:lnTo>
                      <a:lnTo>
                        <a:pt x="1441" y="2028"/>
                      </a:lnTo>
                      <a:lnTo>
                        <a:pt x="1438" y="2025"/>
                      </a:lnTo>
                      <a:lnTo>
                        <a:pt x="1441" y="2025"/>
                      </a:lnTo>
                      <a:lnTo>
                        <a:pt x="1438" y="2022"/>
                      </a:lnTo>
                      <a:lnTo>
                        <a:pt x="1424" y="2017"/>
                      </a:lnTo>
                      <a:lnTo>
                        <a:pt x="1424" y="2012"/>
                      </a:lnTo>
                      <a:lnTo>
                        <a:pt x="1419" y="2006"/>
                      </a:lnTo>
                      <a:lnTo>
                        <a:pt x="1298" y="1915"/>
                      </a:lnTo>
                      <a:lnTo>
                        <a:pt x="1300" y="1910"/>
                      </a:lnTo>
                      <a:lnTo>
                        <a:pt x="1298" y="1907"/>
                      </a:lnTo>
                      <a:lnTo>
                        <a:pt x="1295" y="1904"/>
                      </a:lnTo>
                      <a:lnTo>
                        <a:pt x="1292" y="1899"/>
                      </a:lnTo>
                      <a:lnTo>
                        <a:pt x="1298" y="1896"/>
                      </a:lnTo>
                      <a:lnTo>
                        <a:pt x="1298" y="1894"/>
                      </a:lnTo>
                      <a:lnTo>
                        <a:pt x="1298" y="1896"/>
                      </a:lnTo>
                      <a:lnTo>
                        <a:pt x="1298" y="1894"/>
                      </a:lnTo>
                      <a:lnTo>
                        <a:pt x="1295" y="1887"/>
                      </a:lnTo>
                      <a:lnTo>
                        <a:pt x="1292" y="1891"/>
                      </a:lnTo>
                      <a:lnTo>
                        <a:pt x="1289" y="1882"/>
                      </a:lnTo>
                      <a:lnTo>
                        <a:pt x="1286" y="1879"/>
                      </a:lnTo>
                      <a:lnTo>
                        <a:pt x="1281" y="1876"/>
                      </a:lnTo>
                      <a:lnTo>
                        <a:pt x="1283" y="1874"/>
                      </a:lnTo>
                      <a:lnTo>
                        <a:pt x="1273" y="1858"/>
                      </a:lnTo>
                      <a:lnTo>
                        <a:pt x="1270" y="1855"/>
                      </a:lnTo>
                      <a:lnTo>
                        <a:pt x="1267" y="1851"/>
                      </a:lnTo>
                      <a:lnTo>
                        <a:pt x="1259" y="1851"/>
                      </a:lnTo>
                      <a:lnTo>
                        <a:pt x="1259" y="1849"/>
                      </a:lnTo>
                      <a:lnTo>
                        <a:pt x="1257" y="1849"/>
                      </a:lnTo>
                      <a:lnTo>
                        <a:pt x="1257" y="1846"/>
                      </a:lnTo>
                      <a:lnTo>
                        <a:pt x="1247" y="1843"/>
                      </a:lnTo>
                      <a:lnTo>
                        <a:pt x="1247" y="1838"/>
                      </a:lnTo>
                      <a:lnTo>
                        <a:pt x="1245" y="1835"/>
                      </a:lnTo>
                      <a:lnTo>
                        <a:pt x="1245" y="1833"/>
                      </a:lnTo>
                      <a:lnTo>
                        <a:pt x="1209" y="1833"/>
                      </a:lnTo>
                      <a:lnTo>
                        <a:pt x="1204" y="1827"/>
                      </a:lnTo>
                      <a:lnTo>
                        <a:pt x="1201" y="1827"/>
                      </a:lnTo>
                      <a:lnTo>
                        <a:pt x="1198" y="1825"/>
                      </a:lnTo>
                      <a:lnTo>
                        <a:pt x="1196" y="1827"/>
                      </a:lnTo>
                      <a:lnTo>
                        <a:pt x="1190" y="1827"/>
                      </a:lnTo>
                      <a:lnTo>
                        <a:pt x="1188" y="1822"/>
                      </a:lnTo>
                      <a:lnTo>
                        <a:pt x="1173" y="1818"/>
                      </a:lnTo>
                      <a:lnTo>
                        <a:pt x="1162" y="1825"/>
                      </a:lnTo>
                      <a:lnTo>
                        <a:pt x="1157" y="1822"/>
                      </a:lnTo>
                      <a:lnTo>
                        <a:pt x="1154" y="1825"/>
                      </a:lnTo>
                      <a:lnTo>
                        <a:pt x="1145" y="1825"/>
                      </a:lnTo>
                      <a:lnTo>
                        <a:pt x="1143" y="1827"/>
                      </a:lnTo>
                      <a:lnTo>
                        <a:pt x="1135" y="1816"/>
                      </a:lnTo>
                      <a:lnTo>
                        <a:pt x="1132" y="1816"/>
                      </a:lnTo>
                      <a:lnTo>
                        <a:pt x="1135" y="1813"/>
                      </a:lnTo>
                      <a:lnTo>
                        <a:pt x="1127" y="1807"/>
                      </a:lnTo>
                      <a:lnTo>
                        <a:pt x="1121" y="1802"/>
                      </a:lnTo>
                      <a:lnTo>
                        <a:pt x="1124" y="1802"/>
                      </a:lnTo>
                      <a:lnTo>
                        <a:pt x="1121" y="1799"/>
                      </a:lnTo>
                      <a:lnTo>
                        <a:pt x="1119" y="1799"/>
                      </a:lnTo>
                      <a:lnTo>
                        <a:pt x="1119" y="1802"/>
                      </a:lnTo>
                      <a:lnTo>
                        <a:pt x="1115" y="1802"/>
                      </a:lnTo>
                      <a:lnTo>
                        <a:pt x="1107" y="1799"/>
                      </a:lnTo>
                      <a:lnTo>
                        <a:pt x="1104" y="1802"/>
                      </a:lnTo>
                      <a:lnTo>
                        <a:pt x="1101" y="1802"/>
                      </a:lnTo>
                      <a:lnTo>
                        <a:pt x="1101" y="1797"/>
                      </a:lnTo>
                      <a:lnTo>
                        <a:pt x="1104" y="1797"/>
                      </a:lnTo>
                      <a:lnTo>
                        <a:pt x="1101" y="1794"/>
                      </a:lnTo>
                      <a:lnTo>
                        <a:pt x="1101" y="1791"/>
                      </a:lnTo>
                      <a:lnTo>
                        <a:pt x="1093" y="1789"/>
                      </a:lnTo>
                      <a:lnTo>
                        <a:pt x="1093" y="1786"/>
                      </a:lnTo>
                      <a:lnTo>
                        <a:pt x="1096" y="1782"/>
                      </a:lnTo>
                      <a:lnTo>
                        <a:pt x="1096" y="1780"/>
                      </a:lnTo>
                      <a:lnTo>
                        <a:pt x="1093" y="1777"/>
                      </a:lnTo>
                      <a:lnTo>
                        <a:pt x="1085" y="1774"/>
                      </a:lnTo>
                      <a:lnTo>
                        <a:pt x="1082" y="1772"/>
                      </a:lnTo>
                      <a:lnTo>
                        <a:pt x="1085" y="1769"/>
                      </a:lnTo>
                      <a:lnTo>
                        <a:pt x="1082" y="1766"/>
                      </a:lnTo>
                      <a:lnTo>
                        <a:pt x="1076" y="1764"/>
                      </a:lnTo>
                      <a:lnTo>
                        <a:pt x="1079" y="1761"/>
                      </a:lnTo>
                      <a:lnTo>
                        <a:pt x="1076" y="1761"/>
                      </a:lnTo>
                      <a:lnTo>
                        <a:pt x="1076" y="1758"/>
                      </a:lnTo>
                      <a:lnTo>
                        <a:pt x="1074" y="1756"/>
                      </a:lnTo>
                      <a:lnTo>
                        <a:pt x="1074" y="1753"/>
                      </a:lnTo>
                      <a:lnTo>
                        <a:pt x="1074" y="1756"/>
                      </a:lnTo>
                      <a:lnTo>
                        <a:pt x="1068" y="1753"/>
                      </a:lnTo>
                      <a:lnTo>
                        <a:pt x="1063" y="1756"/>
                      </a:lnTo>
                      <a:lnTo>
                        <a:pt x="1060" y="1758"/>
                      </a:lnTo>
                      <a:lnTo>
                        <a:pt x="1063" y="1758"/>
                      </a:lnTo>
                      <a:lnTo>
                        <a:pt x="1063" y="1761"/>
                      </a:lnTo>
                      <a:lnTo>
                        <a:pt x="1063" y="1764"/>
                      </a:lnTo>
                      <a:lnTo>
                        <a:pt x="1058" y="1772"/>
                      </a:lnTo>
                      <a:lnTo>
                        <a:pt x="1055" y="1774"/>
                      </a:lnTo>
                      <a:lnTo>
                        <a:pt x="1052" y="1774"/>
                      </a:lnTo>
                      <a:lnTo>
                        <a:pt x="1052" y="1777"/>
                      </a:lnTo>
                      <a:lnTo>
                        <a:pt x="1052" y="1780"/>
                      </a:lnTo>
                      <a:lnTo>
                        <a:pt x="1046" y="1780"/>
                      </a:lnTo>
                      <a:lnTo>
                        <a:pt x="1043" y="1777"/>
                      </a:lnTo>
                      <a:lnTo>
                        <a:pt x="1035" y="1774"/>
                      </a:lnTo>
                      <a:lnTo>
                        <a:pt x="1032" y="1772"/>
                      </a:lnTo>
                      <a:lnTo>
                        <a:pt x="1027" y="1772"/>
                      </a:lnTo>
                      <a:lnTo>
                        <a:pt x="1027" y="1769"/>
                      </a:lnTo>
                      <a:lnTo>
                        <a:pt x="1024" y="1769"/>
                      </a:lnTo>
                      <a:lnTo>
                        <a:pt x="1022" y="1769"/>
                      </a:lnTo>
                      <a:lnTo>
                        <a:pt x="1013" y="1764"/>
                      </a:lnTo>
                      <a:lnTo>
                        <a:pt x="1013" y="1761"/>
                      </a:lnTo>
                      <a:lnTo>
                        <a:pt x="1010" y="1761"/>
                      </a:lnTo>
                      <a:lnTo>
                        <a:pt x="1007" y="1761"/>
                      </a:lnTo>
                      <a:lnTo>
                        <a:pt x="1010" y="1758"/>
                      </a:lnTo>
                      <a:lnTo>
                        <a:pt x="1007" y="1756"/>
                      </a:lnTo>
                      <a:lnTo>
                        <a:pt x="1002" y="1756"/>
                      </a:lnTo>
                      <a:lnTo>
                        <a:pt x="1002" y="1753"/>
                      </a:lnTo>
                      <a:lnTo>
                        <a:pt x="979" y="1749"/>
                      </a:lnTo>
                      <a:lnTo>
                        <a:pt x="977" y="1749"/>
                      </a:lnTo>
                      <a:lnTo>
                        <a:pt x="977" y="1747"/>
                      </a:lnTo>
                      <a:lnTo>
                        <a:pt x="974" y="1747"/>
                      </a:lnTo>
                      <a:lnTo>
                        <a:pt x="974" y="1733"/>
                      </a:lnTo>
                      <a:lnTo>
                        <a:pt x="971" y="1730"/>
                      </a:lnTo>
                      <a:lnTo>
                        <a:pt x="974" y="1728"/>
                      </a:lnTo>
                      <a:lnTo>
                        <a:pt x="969" y="1722"/>
                      </a:lnTo>
                      <a:lnTo>
                        <a:pt x="961" y="1722"/>
                      </a:lnTo>
                      <a:lnTo>
                        <a:pt x="961" y="1720"/>
                      </a:lnTo>
                      <a:lnTo>
                        <a:pt x="966" y="1717"/>
                      </a:lnTo>
                      <a:lnTo>
                        <a:pt x="963" y="1713"/>
                      </a:lnTo>
                      <a:lnTo>
                        <a:pt x="958" y="1711"/>
                      </a:lnTo>
                      <a:lnTo>
                        <a:pt x="958" y="1708"/>
                      </a:lnTo>
                      <a:lnTo>
                        <a:pt x="961" y="1708"/>
                      </a:lnTo>
                      <a:lnTo>
                        <a:pt x="958" y="1705"/>
                      </a:lnTo>
                      <a:lnTo>
                        <a:pt x="958" y="1703"/>
                      </a:lnTo>
                      <a:lnTo>
                        <a:pt x="953" y="1700"/>
                      </a:lnTo>
                      <a:lnTo>
                        <a:pt x="950" y="1703"/>
                      </a:lnTo>
                      <a:lnTo>
                        <a:pt x="946" y="1703"/>
                      </a:lnTo>
                      <a:lnTo>
                        <a:pt x="946" y="1700"/>
                      </a:lnTo>
                      <a:lnTo>
                        <a:pt x="944" y="1700"/>
                      </a:lnTo>
                      <a:lnTo>
                        <a:pt x="941" y="1697"/>
                      </a:lnTo>
                      <a:lnTo>
                        <a:pt x="938" y="1697"/>
                      </a:lnTo>
                      <a:lnTo>
                        <a:pt x="938" y="1692"/>
                      </a:lnTo>
                      <a:lnTo>
                        <a:pt x="941" y="1692"/>
                      </a:lnTo>
                      <a:lnTo>
                        <a:pt x="941" y="1689"/>
                      </a:lnTo>
                      <a:lnTo>
                        <a:pt x="941" y="1687"/>
                      </a:lnTo>
                      <a:lnTo>
                        <a:pt x="941" y="1684"/>
                      </a:lnTo>
                      <a:lnTo>
                        <a:pt x="944" y="1678"/>
                      </a:lnTo>
                      <a:lnTo>
                        <a:pt x="938" y="1678"/>
                      </a:lnTo>
                      <a:lnTo>
                        <a:pt x="933" y="1669"/>
                      </a:lnTo>
                      <a:lnTo>
                        <a:pt x="933" y="1672"/>
                      </a:lnTo>
                      <a:lnTo>
                        <a:pt x="930" y="1669"/>
                      </a:lnTo>
                      <a:lnTo>
                        <a:pt x="933" y="1667"/>
                      </a:lnTo>
                      <a:lnTo>
                        <a:pt x="933" y="1659"/>
                      </a:lnTo>
                      <a:lnTo>
                        <a:pt x="930" y="1659"/>
                      </a:lnTo>
                      <a:lnTo>
                        <a:pt x="925" y="1656"/>
                      </a:lnTo>
                      <a:lnTo>
                        <a:pt x="925" y="1651"/>
                      </a:lnTo>
                      <a:lnTo>
                        <a:pt x="922" y="1651"/>
                      </a:lnTo>
                      <a:lnTo>
                        <a:pt x="920" y="1651"/>
                      </a:lnTo>
                      <a:lnTo>
                        <a:pt x="914" y="1653"/>
                      </a:lnTo>
                      <a:lnTo>
                        <a:pt x="911" y="1653"/>
                      </a:lnTo>
                      <a:lnTo>
                        <a:pt x="911" y="1651"/>
                      </a:lnTo>
                      <a:lnTo>
                        <a:pt x="908" y="1648"/>
                      </a:lnTo>
                      <a:lnTo>
                        <a:pt x="902" y="1648"/>
                      </a:lnTo>
                      <a:lnTo>
                        <a:pt x="897" y="1644"/>
                      </a:lnTo>
                      <a:lnTo>
                        <a:pt x="900" y="1639"/>
                      </a:lnTo>
                      <a:lnTo>
                        <a:pt x="902" y="1636"/>
                      </a:lnTo>
                      <a:lnTo>
                        <a:pt x="902" y="1634"/>
                      </a:lnTo>
                      <a:lnTo>
                        <a:pt x="900" y="1631"/>
                      </a:lnTo>
                      <a:lnTo>
                        <a:pt x="897" y="1631"/>
                      </a:lnTo>
                      <a:lnTo>
                        <a:pt x="897" y="1626"/>
                      </a:lnTo>
                      <a:lnTo>
                        <a:pt x="892" y="1626"/>
                      </a:lnTo>
                      <a:lnTo>
                        <a:pt x="889" y="1620"/>
                      </a:lnTo>
                      <a:lnTo>
                        <a:pt x="881" y="1623"/>
                      </a:lnTo>
                      <a:lnTo>
                        <a:pt x="877" y="1620"/>
                      </a:lnTo>
                      <a:lnTo>
                        <a:pt x="877" y="1618"/>
                      </a:lnTo>
                      <a:lnTo>
                        <a:pt x="877" y="1612"/>
                      </a:lnTo>
                      <a:lnTo>
                        <a:pt x="872" y="1608"/>
                      </a:lnTo>
                      <a:lnTo>
                        <a:pt x="869" y="1606"/>
                      </a:lnTo>
                      <a:lnTo>
                        <a:pt x="869" y="1600"/>
                      </a:lnTo>
                      <a:lnTo>
                        <a:pt x="861" y="1598"/>
                      </a:lnTo>
                      <a:lnTo>
                        <a:pt x="859" y="1600"/>
                      </a:lnTo>
                      <a:lnTo>
                        <a:pt x="859" y="1598"/>
                      </a:lnTo>
                      <a:lnTo>
                        <a:pt x="853" y="1595"/>
                      </a:lnTo>
                      <a:lnTo>
                        <a:pt x="851" y="1590"/>
                      </a:lnTo>
                      <a:lnTo>
                        <a:pt x="848" y="1587"/>
                      </a:lnTo>
                      <a:lnTo>
                        <a:pt x="848" y="1582"/>
                      </a:lnTo>
                      <a:lnTo>
                        <a:pt x="845" y="1576"/>
                      </a:lnTo>
                      <a:lnTo>
                        <a:pt x="842" y="1576"/>
                      </a:lnTo>
                      <a:lnTo>
                        <a:pt x="842" y="1573"/>
                      </a:lnTo>
                      <a:lnTo>
                        <a:pt x="839" y="1573"/>
                      </a:lnTo>
                      <a:lnTo>
                        <a:pt x="836" y="1576"/>
                      </a:lnTo>
                      <a:lnTo>
                        <a:pt x="831" y="1579"/>
                      </a:lnTo>
                      <a:lnTo>
                        <a:pt x="828" y="1579"/>
                      </a:lnTo>
                      <a:lnTo>
                        <a:pt x="828" y="1576"/>
                      </a:lnTo>
                      <a:lnTo>
                        <a:pt x="823" y="1576"/>
                      </a:lnTo>
                      <a:lnTo>
                        <a:pt x="820" y="1579"/>
                      </a:lnTo>
                      <a:lnTo>
                        <a:pt x="817" y="1579"/>
                      </a:lnTo>
                      <a:lnTo>
                        <a:pt x="815" y="1582"/>
                      </a:lnTo>
                      <a:lnTo>
                        <a:pt x="812" y="1587"/>
                      </a:lnTo>
                      <a:lnTo>
                        <a:pt x="808" y="1584"/>
                      </a:lnTo>
                      <a:lnTo>
                        <a:pt x="806" y="1590"/>
                      </a:lnTo>
                      <a:lnTo>
                        <a:pt x="812" y="1592"/>
                      </a:lnTo>
                      <a:lnTo>
                        <a:pt x="808" y="1592"/>
                      </a:lnTo>
                      <a:lnTo>
                        <a:pt x="808" y="1598"/>
                      </a:lnTo>
                      <a:lnTo>
                        <a:pt x="815" y="1603"/>
                      </a:lnTo>
                      <a:lnTo>
                        <a:pt x="812" y="1608"/>
                      </a:lnTo>
                      <a:lnTo>
                        <a:pt x="808" y="1608"/>
                      </a:lnTo>
                      <a:lnTo>
                        <a:pt x="806" y="1615"/>
                      </a:lnTo>
                      <a:lnTo>
                        <a:pt x="808" y="1618"/>
                      </a:lnTo>
                      <a:lnTo>
                        <a:pt x="806" y="1620"/>
                      </a:lnTo>
                      <a:lnTo>
                        <a:pt x="806" y="1623"/>
                      </a:lnTo>
                      <a:lnTo>
                        <a:pt x="800" y="1623"/>
                      </a:lnTo>
                      <a:lnTo>
                        <a:pt x="795" y="1623"/>
                      </a:lnTo>
                      <a:lnTo>
                        <a:pt x="795" y="1620"/>
                      </a:lnTo>
                      <a:lnTo>
                        <a:pt x="792" y="1618"/>
                      </a:lnTo>
                      <a:lnTo>
                        <a:pt x="790" y="1623"/>
                      </a:lnTo>
                      <a:lnTo>
                        <a:pt x="787" y="1623"/>
                      </a:lnTo>
                      <a:lnTo>
                        <a:pt x="784" y="1618"/>
                      </a:lnTo>
                      <a:lnTo>
                        <a:pt x="782" y="1618"/>
                      </a:lnTo>
                      <a:lnTo>
                        <a:pt x="784" y="1620"/>
                      </a:lnTo>
                      <a:lnTo>
                        <a:pt x="782" y="1620"/>
                      </a:lnTo>
                      <a:lnTo>
                        <a:pt x="782" y="1628"/>
                      </a:lnTo>
                      <a:lnTo>
                        <a:pt x="779" y="1631"/>
                      </a:lnTo>
                      <a:lnTo>
                        <a:pt x="782" y="1634"/>
                      </a:lnTo>
                      <a:lnTo>
                        <a:pt x="773" y="1634"/>
                      </a:lnTo>
                      <a:lnTo>
                        <a:pt x="773" y="1636"/>
                      </a:lnTo>
                      <a:lnTo>
                        <a:pt x="770" y="1642"/>
                      </a:lnTo>
                      <a:lnTo>
                        <a:pt x="762" y="1639"/>
                      </a:lnTo>
                      <a:lnTo>
                        <a:pt x="764" y="1644"/>
                      </a:lnTo>
                      <a:lnTo>
                        <a:pt x="759" y="1648"/>
                      </a:lnTo>
                      <a:lnTo>
                        <a:pt x="748" y="1648"/>
                      </a:lnTo>
                      <a:lnTo>
                        <a:pt x="746" y="1648"/>
                      </a:lnTo>
                      <a:lnTo>
                        <a:pt x="746" y="1651"/>
                      </a:lnTo>
                      <a:lnTo>
                        <a:pt x="739" y="1659"/>
                      </a:lnTo>
                      <a:lnTo>
                        <a:pt x="739" y="1661"/>
                      </a:lnTo>
                      <a:lnTo>
                        <a:pt x="731" y="1659"/>
                      </a:lnTo>
                      <a:lnTo>
                        <a:pt x="729" y="1661"/>
                      </a:lnTo>
                      <a:lnTo>
                        <a:pt x="723" y="1672"/>
                      </a:lnTo>
                      <a:lnTo>
                        <a:pt x="718" y="1672"/>
                      </a:lnTo>
                      <a:lnTo>
                        <a:pt x="718" y="1675"/>
                      </a:lnTo>
                      <a:lnTo>
                        <a:pt x="715" y="1675"/>
                      </a:lnTo>
                      <a:lnTo>
                        <a:pt x="710" y="1669"/>
                      </a:lnTo>
                      <a:lnTo>
                        <a:pt x="707" y="1672"/>
                      </a:lnTo>
                      <a:lnTo>
                        <a:pt x="701" y="1672"/>
                      </a:lnTo>
                      <a:lnTo>
                        <a:pt x="698" y="1675"/>
                      </a:lnTo>
                      <a:lnTo>
                        <a:pt x="696" y="1678"/>
                      </a:lnTo>
                      <a:lnTo>
                        <a:pt x="687" y="1675"/>
                      </a:lnTo>
                      <a:lnTo>
                        <a:pt x="679" y="1672"/>
                      </a:lnTo>
                      <a:lnTo>
                        <a:pt x="674" y="1675"/>
                      </a:lnTo>
                      <a:lnTo>
                        <a:pt x="674" y="1678"/>
                      </a:lnTo>
                      <a:lnTo>
                        <a:pt x="665" y="1675"/>
                      </a:lnTo>
                      <a:lnTo>
                        <a:pt x="665" y="1672"/>
                      </a:lnTo>
                      <a:lnTo>
                        <a:pt x="662" y="1661"/>
                      </a:lnTo>
                      <a:lnTo>
                        <a:pt x="662" y="1642"/>
                      </a:lnTo>
                      <a:lnTo>
                        <a:pt x="665" y="1634"/>
                      </a:lnTo>
                      <a:lnTo>
                        <a:pt x="668" y="1631"/>
                      </a:lnTo>
                      <a:lnTo>
                        <a:pt x="665" y="1628"/>
                      </a:lnTo>
                      <a:lnTo>
                        <a:pt x="665" y="1623"/>
                      </a:lnTo>
                      <a:lnTo>
                        <a:pt x="665" y="1620"/>
                      </a:lnTo>
                      <a:lnTo>
                        <a:pt x="662" y="1620"/>
                      </a:lnTo>
                      <a:lnTo>
                        <a:pt x="668" y="1608"/>
                      </a:lnTo>
                      <a:lnTo>
                        <a:pt x="665" y="1606"/>
                      </a:lnTo>
                      <a:lnTo>
                        <a:pt x="665" y="1598"/>
                      </a:lnTo>
                      <a:lnTo>
                        <a:pt x="674" y="1587"/>
                      </a:lnTo>
                      <a:lnTo>
                        <a:pt x="674" y="1582"/>
                      </a:lnTo>
                      <a:lnTo>
                        <a:pt x="670" y="1579"/>
                      </a:lnTo>
                      <a:lnTo>
                        <a:pt x="668" y="1576"/>
                      </a:lnTo>
                      <a:lnTo>
                        <a:pt x="665" y="1567"/>
                      </a:lnTo>
                      <a:lnTo>
                        <a:pt x="662" y="1565"/>
                      </a:lnTo>
                      <a:lnTo>
                        <a:pt x="662" y="1562"/>
                      </a:lnTo>
                      <a:lnTo>
                        <a:pt x="665" y="1562"/>
                      </a:lnTo>
                      <a:lnTo>
                        <a:pt x="660" y="1559"/>
                      </a:lnTo>
                      <a:lnTo>
                        <a:pt x="660" y="1554"/>
                      </a:lnTo>
                      <a:lnTo>
                        <a:pt x="660" y="1551"/>
                      </a:lnTo>
                      <a:lnTo>
                        <a:pt x="654" y="1551"/>
                      </a:lnTo>
                      <a:lnTo>
                        <a:pt x="654" y="1549"/>
                      </a:lnTo>
                      <a:lnTo>
                        <a:pt x="652" y="1549"/>
                      </a:lnTo>
                      <a:lnTo>
                        <a:pt x="649" y="1549"/>
                      </a:lnTo>
                      <a:lnTo>
                        <a:pt x="644" y="1546"/>
                      </a:lnTo>
                      <a:lnTo>
                        <a:pt x="644" y="1543"/>
                      </a:lnTo>
                      <a:lnTo>
                        <a:pt x="644" y="1537"/>
                      </a:lnTo>
                      <a:lnTo>
                        <a:pt x="641" y="1534"/>
                      </a:lnTo>
                      <a:lnTo>
                        <a:pt x="638" y="1534"/>
                      </a:lnTo>
                      <a:lnTo>
                        <a:pt x="632" y="1539"/>
                      </a:lnTo>
                      <a:lnTo>
                        <a:pt x="629" y="1539"/>
                      </a:lnTo>
                      <a:lnTo>
                        <a:pt x="627" y="1529"/>
                      </a:lnTo>
                      <a:lnTo>
                        <a:pt x="624" y="1529"/>
                      </a:lnTo>
                      <a:lnTo>
                        <a:pt x="618" y="1531"/>
                      </a:lnTo>
                      <a:lnTo>
                        <a:pt x="616" y="1531"/>
                      </a:lnTo>
                      <a:lnTo>
                        <a:pt x="616" y="1529"/>
                      </a:lnTo>
                      <a:lnTo>
                        <a:pt x="618" y="1523"/>
                      </a:lnTo>
                      <a:lnTo>
                        <a:pt x="616" y="1523"/>
                      </a:lnTo>
                      <a:lnTo>
                        <a:pt x="613" y="1521"/>
                      </a:lnTo>
                      <a:lnTo>
                        <a:pt x="608" y="1518"/>
                      </a:lnTo>
                      <a:lnTo>
                        <a:pt x="608" y="1513"/>
                      </a:lnTo>
                      <a:lnTo>
                        <a:pt x="613" y="1510"/>
                      </a:lnTo>
                      <a:lnTo>
                        <a:pt x="613" y="1507"/>
                      </a:lnTo>
                      <a:lnTo>
                        <a:pt x="608" y="1507"/>
                      </a:lnTo>
                      <a:lnTo>
                        <a:pt x="601" y="1501"/>
                      </a:lnTo>
                      <a:lnTo>
                        <a:pt x="599" y="1496"/>
                      </a:lnTo>
                      <a:lnTo>
                        <a:pt x="601" y="1490"/>
                      </a:lnTo>
                      <a:lnTo>
                        <a:pt x="596" y="1488"/>
                      </a:lnTo>
                      <a:lnTo>
                        <a:pt x="593" y="1485"/>
                      </a:lnTo>
                      <a:lnTo>
                        <a:pt x="599" y="1480"/>
                      </a:lnTo>
                      <a:lnTo>
                        <a:pt x="591" y="1477"/>
                      </a:lnTo>
                      <a:lnTo>
                        <a:pt x="580" y="1477"/>
                      </a:lnTo>
                      <a:lnTo>
                        <a:pt x="577" y="1474"/>
                      </a:lnTo>
                      <a:lnTo>
                        <a:pt x="575" y="1471"/>
                      </a:lnTo>
                      <a:lnTo>
                        <a:pt x="575" y="1468"/>
                      </a:lnTo>
                      <a:lnTo>
                        <a:pt x="577" y="1468"/>
                      </a:lnTo>
                      <a:lnTo>
                        <a:pt x="577" y="1465"/>
                      </a:lnTo>
                      <a:lnTo>
                        <a:pt x="572" y="1462"/>
                      </a:lnTo>
                      <a:lnTo>
                        <a:pt x="568" y="1462"/>
                      </a:lnTo>
                      <a:lnTo>
                        <a:pt x="566" y="1468"/>
                      </a:lnTo>
                      <a:lnTo>
                        <a:pt x="563" y="1468"/>
                      </a:lnTo>
                      <a:lnTo>
                        <a:pt x="563" y="1462"/>
                      </a:lnTo>
                      <a:lnTo>
                        <a:pt x="566" y="1460"/>
                      </a:lnTo>
                      <a:lnTo>
                        <a:pt x="563" y="1457"/>
                      </a:lnTo>
                      <a:lnTo>
                        <a:pt x="560" y="1454"/>
                      </a:lnTo>
                      <a:lnTo>
                        <a:pt x="558" y="1457"/>
                      </a:lnTo>
                      <a:lnTo>
                        <a:pt x="555" y="1457"/>
                      </a:lnTo>
                      <a:lnTo>
                        <a:pt x="555" y="1454"/>
                      </a:lnTo>
                      <a:lnTo>
                        <a:pt x="552" y="1449"/>
                      </a:lnTo>
                      <a:lnTo>
                        <a:pt x="552" y="1446"/>
                      </a:lnTo>
                      <a:lnTo>
                        <a:pt x="552" y="1444"/>
                      </a:lnTo>
                      <a:lnTo>
                        <a:pt x="550" y="1441"/>
                      </a:lnTo>
                      <a:lnTo>
                        <a:pt x="550" y="1444"/>
                      </a:lnTo>
                      <a:lnTo>
                        <a:pt x="544" y="1446"/>
                      </a:lnTo>
                      <a:lnTo>
                        <a:pt x="536" y="1444"/>
                      </a:lnTo>
                      <a:lnTo>
                        <a:pt x="532" y="1444"/>
                      </a:lnTo>
                      <a:lnTo>
                        <a:pt x="532" y="1438"/>
                      </a:lnTo>
                      <a:lnTo>
                        <a:pt x="527" y="1435"/>
                      </a:lnTo>
                      <a:lnTo>
                        <a:pt x="527" y="1432"/>
                      </a:lnTo>
                      <a:lnTo>
                        <a:pt x="524" y="1429"/>
                      </a:lnTo>
                      <a:lnTo>
                        <a:pt x="522" y="1429"/>
                      </a:lnTo>
                      <a:lnTo>
                        <a:pt x="522" y="1432"/>
                      </a:lnTo>
                      <a:lnTo>
                        <a:pt x="514" y="1432"/>
                      </a:lnTo>
                      <a:lnTo>
                        <a:pt x="511" y="1429"/>
                      </a:lnTo>
                      <a:lnTo>
                        <a:pt x="514" y="1429"/>
                      </a:lnTo>
                      <a:lnTo>
                        <a:pt x="514" y="1427"/>
                      </a:lnTo>
                      <a:lnTo>
                        <a:pt x="508" y="1427"/>
                      </a:lnTo>
                      <a:lnTo>
                        <a:pt x="508" y="1421"/>
                      </a:lnTo>
                      <a:lnTo>
                        <a:pt x="506" y="1419"/>
                      </a:lnTo>
                      <a:lnTo>
                        <a:pt x="506" y="1416"/>
                      </a:lnTo>
                      <a:lnTo>
                        <a:pt x="508" y="1416"/>
                      </a:lnTo>
                      <a:lnTo>
                        <a:pt x="508" y="1411"/>
                      </a:lnTo>
                      <a:lnTo>
                        <a:pt x="503" y="1411"/>
                      </a:lnTo>
                      <a:lnTo>
                        <a:pt x="499" y="1402"/>
                      </a:lnTo>
                      <a:lnTo>
                        <a:pt x="497" y="1405"/>
                      </a:lnTo>
                      <a:lnTo>
                        <a:pt x="491" y="1405"/>
                      </a:lnTo>
                      <a:lnTo>
                        <a:pt x="486" y="1399"/>
                      </a:lnTo>
                      <a:lnTo>
                        <a:pt x="488" y="1396"/>
                      </a:lnTo>
                      <a:lnTo>
                        <a:pt x="486" y="1393"/>
                      </a:lnTo>
                      <a:lnTo>
                        <a:pt x="480" y="1383"/>
                      </a:lnTo>
                      <a:lnTo>
                        <a:pt x="475" y="1385"/>
                      </a:lnTo>
                      <a:lnTo>
                        <a:pt x="472" y="1391"/>
                      </a:lnTo>
                      <a:lnTo>
                        <a:pt x="470" y="1391"/>
                      </a:lnTo>
                      <a:lnTo>
                        <a:pt x="467" y="1385"/>
                      </a:lnTo>
                      <a:lnTo>
                        <a:pt x="463" y="1383"/>
                      </a:lnTo>
                      <a:lnTo>
                        <a:pt x="463" y="1377"/>
                      </a:lnTo>
                      <a:lnTo>
                        <a:pt x="458" y="1375"/>
                      </a:lnTo>
                      <a:lnTo>
                        <a:pt x="447" y="1375"/>
                      </a:lnTo>
                      <a:lnTo>
                        <a:pt x="447" y="1372"/>
                      </a:lnTo>
                      <a:lnTo>
                        <a:pt x="445" y="1367"/>
                      </a:lnTo>
                      <a:lnTo>
                        <a:pt x="450" y="1363"/>
                      </a:lnTo>
                      <a:lnTo>
                        <a:pt x="450" y="1355"/>
                      </a:lnTo>
                      <a:lnTo>
                        <a:pt x="447" y="1352"/>
                      </a:lnTo>
                      <a:lnTo>
                        <a:pt x="445" y="1358"/>
                      </a:lnTo>
                      <a:lnTo>
                        <a:pt x="437" y="1350"/>
                      </a:lnTo>
                      <a:lnTo>
                        <a:pt x="437" y="1344"/>
                      </a:lnTo>
                      <a:lnTo>
                        <a:pt x="428" y="1347"/>
                      </a:lnTo>
                      <a:lnTo>
                        <a:pt x="425" y="1347"/>
                      </a:lnTo>
                      <a:lnTo>
                        <a:pt x="419" y="1350"/>
                      </a:lnTo>
                      <a:lnTo>
                        <a:pt x="417" y="1347"/>
                      </a:lnTo>
                      <a:lnTo>
                        <a:pt x="422" y="1342"/>
                      </a:lnTo>
                      <a:lnTo>
                        <a:pt x="419" y="1334"/>
                      </a:lnTo>
                      <a:lnTo>
                        <a:pt x="414" y="1336"/>
                      </a:lnTo>
                      <a:lnTo>
                        <a:pt x="409" y="1330"/>
                      </a:lnTo>
                      <a:lnTo>
                        <a:pt x="411" y="1330"/>
                      </a:lnTo>
                      <a:lnTo>
                        <a:pt x="414" y="1330"/>
                      </a:lnTo>
                      <a:lnTo>
                        <a:pt x="414" y="1327"/>
                      </a:lnTo>
                      <a:lnTo>
                        <a:pt x="409" y="1322"/>
                      </a:lnTo>
                      <a:lnTo>
                        <a:pt x="406" y="1316"/>
                      </a:lnTo>
                      <a:lnTo>
                        <a:pt x="398" y="1316"/>
                      </a:lnTo>
                      <a:lnTo>
                        <a:pt x="398" y="1314"/>
                      </a:lnTo>
                      <a:lnTo>
                        <a:pt x="406" y="1311"/>
                      </a:lnTo>
                      <a:lnTo>
                        <a:pt x="406" y="1308"/>
                      </a:lnTo>
                      <a:lnTo>
                        <a:pt x="403" y="1311"/>
                      </a:lnTo>
                      <a:lnTo>
                        <a:pt x="401" y="1308"/>
                      </a:lnTo>
                      <a:lnTo>
                        <a:pt x="401" y="1306"/>
                      </a:lnTo>
                      <a:lnTo>
                        <a:pt x="394" y="1308"/>
                      </a:lnTo>
                      <a:lnTo>
                        <a:pt x="392" y="1306"/>
                      </a:lnTo>
                      <a:lnTo>
                        <a:pt x="386" y="1308"/>
                      </a:lnTo>
                      <a:lnTo>
                        <a:pt x="381" y="1303"/>
                      </a:lnTo>
                      <a:lnTo>
                        <a:pt x="381" y="1298"/>
                      </a:lnTo>
                      <a:lnTo>
                        <a:pt x="378" y="1298"/>
                      </a:lnTo>
                      <a:lnTo>
                        <a:pt x="373" y="1294"/>
                      </a:lnTo>
                      <a:lnTo>
                        <a:pt x="361" y="1291"/>
                      </a:lnTo>
                      <a:lnTo>
                        <a:pt x="353" y="1291"/>
                      </a:lnTo>
                      <a:lnTo>
                        <a:pt x="351" y="1286"/>
                      </a:lnTo>
                      <a:lnTo>
                        <a:pt x="353" y="1278"/>
                      </a:lnTo>
                      <a:lnTo>
                        <a:pt x="353" y="1275"/>
                      </a:lnTo>
                      <a:lnTo>
                        <a:pt x="345" y="1273"/>
                      </a:lnTo>
                      <a:lnTo>
                        <a:pt x="342" y="1267"/>
                      </a:lnTo>
                      <a:lnTo>
                        <a:pt x="337" y="1267"/>
                      </a:lnTo>
                      <a:lnTo>
                        <a:pt x="334" y="1265"/>
                      </a:lnTo>
                      <a:lnTo>
                        <a:pt x="329" y="1262"/>
                      </a:lnTo>
                      <a:lnTo>
                        <a:pt x="323" y="1262"/>
                      </a:lnTo>
                      <a:lnTo>
                        <a:pt x="315" y="1262"/>
                      </a:lnTo>
                      <a:lnTo>
                        <a:pt x="315" y="1258"/>
                      </a:lnTo>
                      <a:lnTo>
                        <a:pt x="309" y="1258"/>
                      </a:lnTo>
                      <a:lnTo>
                        <a:pt x="301" y="1270"/>
                      </a:lnTo>
                      <a:lnTo>
                        <a:pt x="301" y="1267"/>
                      </a:lnTo>
                      <a:lnTo>
                        <a:pt x="299" y="1270"/>
                      </a:lnTo>
                      <a:lnTo>
                        <a:pt x="299" y="1267"/>
                      </a:lnTo>
                      <a:lnTo>
                        <a:pt x="296" y="1265"/>
                      </a:lnTo>
                      <a:lnTo>
                        <a:pt x="290" y="1262"/>
                      </a:lnTo>
                      <a:lnTo>
                        <a:pt x="282" y="1265"/>
                      </a:lnTo>
                      <a:lnTo>
                        <a:pt x="273" y="1265"/>
                      </a:lnTo>
                      <a:lnTo>
                        <a:pt x="271" y="1258"/>
                      </a:lnTo>
                      <a:lnTo>
                        <a:pt x="265" y="1258"/>
                      </a:lnTo>
                      <a:lnTo>
                        <a:pt x="254" y="1258"/>
                      </a:lnTo>
                      <a:lnTo>
                        <a:pt x="251" y="1262"/>
                      </a:lnTo>
                      <a:lnTo>
                        <a:pt x="251" y="1267"/>
                      </a:lnTo>
                      <a:lnTo>
                        <a:pt x="246" y="1267"/>
                      </a:lnTo>
                      <a:lnTo>
                        <a:pt x="240" y="1265"/>
                      </a:lnTo>
                      <a:lnTo>
                        <a:pt x="235" y="1265"/>
                      </a:lnTo>
                      <a:lnTo>
                        <a:pt x="235" y="1262"/>
                      </a:lnTo>
                      <a:lnTo>
                        <a:pt x="238" y="1262"/>
                      </a:lnTo>
                      <a:lnTo>
                        <a:pt x="238" y="1258"/>
                      </a:lnTo>
                      <a:lnTo>
                        <a:pt x="235" y="1258"/>
                      </a:lnTo>
                      <a:lnTo>
                        <a:pt x="230" y="1265"/>
                      </a:lnTo>
                      <a:lnTo>
                        <a:pt x="227" y="1270"/>
                      </a:lnTo>
                      <a:lnTo>
                        <a:pt x="230" y="1270"/>
                      </a:lnTo>
                      <a:lnTo>
                        <a:pt x="227" y="1273"/>
                      </a:lnTo>
                      <a:lnTo>
                        <a:pt x="223" y="1273"/>
                      </a:lnTo>
                      <a:lnTo>
                        <a:pt x="215" y="1270"/>
                      </a:lnTo>
                      <a:lnTo>
                        <a:pt x="215" y="1275"/>
                      </a:lnTo>
                      <a:lnTo>
                        <a:pt x="221" y="1275"/>
                      </a:lnTo>
                      <a:lnTo>
                        <a:pt x="221" y="1281"/>
                      </a:lnTo>
                      <a:lnTo>
                        <a:pt x="215" y="1283"/>
                      </a:lnTo>
                      <a:lnTo>
                        <a:pt x="210" y="1283"/>
                      </a:lnTo>
                      <a:lnTo>
                        <a:pt x="204" y="1294"/>
                      </a:lnTo>
                      <a:lnTo>
                        <a:pt x="199" y="1300"/>
                      </a:lnTo>
                      <a:lnTo>
                        <a:pt x="199" y="1306"/>
                      </a:lnTo>
                      <a:lnTo>
                        <a:pt x="194" y="1306"/>
                      </a:lnTo>
                      <a:lnTo>
                        <a:pt x="194" y="1311"/>
                      </a:lnTo>
                      <a:lnTo>
                        <a:pt x="196" y="1314"/>
                      </a:lnTo>
                      <a:lnTo>
                        <a:pt x="194" y="1314"/>
                      </a:lnTo>
                      <a:lnTo>
                        <a:pt x="196" y="1314"/>
                      </a:lnTo>
                      <a:lnTo>
                        <a:pt x="196" y="1316"/>
                      </a:lnTo>
                      <a:lnTo>
                        <a:pt x="199" y="1322"/>
                      </a:lnTo>
                      <a:lnTo>
                        <a:pt x="196" y="1324"/>
                      </a:lnTo>
                      <a:lnTo>
                        <a:pt x="194" y="1327"/>
                      </a:lnTo>
                      <a:lnTo>
                        <a:pt x="190" y="1327"/>
                      </a:lnTo>
                      <a:lnTo>
                        <a:pt x="182" y="1334"/>
                      </a:lnTo>
                      <a:lnTo>
                        <a:pt x="179" y="1342"/>
                      </a:lnTo>
                      <a:lnTo>
                        <a:pt x="174" y="1344"/>
                      </a:lnTo>
                      <a:lnTo>
                        <a:pt x="163" y="1344"/>
                      </a:lnTo>
                      <a:lnTo>
                        <a:pt x="161" y="1342"/>
                      </a:lnTo>
                      <a:lnTo>
                        <a:pt x="161" y="1339"/>
                      </a:lnTo>
                      <a:lnTo>
                        <a:pt x="158" y="1336"/>
                      </a:lnTo>
                      <a:lnTo>
                        <a:pt x="154" y="1339"/>
                      </a:lnTo>
                      <a:lnTo>
                        <a:pt x="154" y="1342"/>
                      </a:lnTo>
                      <a:lnTo>
                        <a:pt x="149" y="1347"/>
                      </a:lnTo>
                      <a:lnTo>
                        <a:pt x="146" y="1347"/>
                      </a:lnTo>
                      <a:lnTo>
                        <a:pt x="144" y="1342"/>
                      </a:lnTo>
                      <a:lnTo>
                        <a:pt x="138" y="1334"/>
                      </a:lnTo>
                      <a:lnTo>
                        <a:pt x="136" y="1330"/>
                      </a:lnTo>
                      <a:lnTo>
                        <a:pt x="133" y="1336"/>
                      </a:lnTo>
                      <a:lnTo>
                        <a:pt x="118" y="1342"/>
                      </a:lnTo>
                      <a:lnTo>
                        <a:pt x="116" y="1336"/>
                      </a:lnTo>
                      <a:lnTo>
                        <a:pt x="113" y="1339"/>
                      </a:lnTo>
                      <a:lnTo>
                        <a:pt x="105" y="1344"/>
                      </a:lnTo>
                      <a:lnTo>
                        <a:pt x="105" y="1350"/>
                      </a:lnTo>
                      <a:lnTo>
                        <a:pt x="102" y="1350"/>
                      </a:lnTo>
                      <a:lnTo>
                        <a:pt x="97" y="1350"/>
                      </a:lnTo>
                      <a:lnTo>
                        <a:pt x="92" y="1350"/>
                      </a:lnTo>
                      <a:lnTo>
                        <a:pt x="92" y="1344"/>
                      </a:lnTo>
                      <a:lnTo>
                        <a:pt x="94" y="1342"/>
                      </a:lnTo>
                      <a:lnTo>
                        <a:pt x="89" y="1339"/>
                      </a:lnTo>
                      <a:lnTo>
                        <a:pt x="80" y="1339"/>
                      </a:lnTo>
                      <a:lnTo>
                        <a:pt x="75" y="1336"/>
                      </a:lnTo>
                      <a:lnTo>
                        <a:pt x="67" y="1336"/>
                      </a:lnTo>
                      <a:lnTo>
                        <a:pt x="64" y="1336"/>
                      </a:lnTo>
                      <a:lnTo>
                        <a:pt x="61" y="1344"/>
                      </a:lnTo>
                      <a:lnTo>
                        <a:pt x="49" y="1342"/>
                      </a:lnTo>
                      <a:lnTo>
                        <a:pt x="39" y="1339"/>
                      </a:lnTo>
                      <a:lnTo>
                        <a:pt x="36" y="1334"/>
                      </a:lnTo>
                      <a:lnTo>
                        <a:pt x="33" y="1330"/>
                      </a:lnTo>
                      <a:lnTo>
                        <a:pt x="36" y="1314"/>
                      </a:lnTo>
                      <a:lnTo>
                        <a:pt x="33" y="1311"/>
                      </a:lnTo>
                      <a:lnTo>
                        <a:pt x="14" y="1303"/>
                      </a:lnTo>
                      <a:lnTo>
                        <a:pt x="5" y="1300"/>
                      </a:lnTo>
                      <a:lnTo>
                        <a:pt x="0" y="1303"/>
                      </a:lnTo>
                      <a:lnTo>
                        <a:pt x="5" y="1298"/>
                      </a:lnTo>
                      <a:lnTo>
                        <a:pt x="25" y="1298"/>
                      </a:lnTo>
                      <a:lnTo>
                        <a:pt x="39" y="1291"/>
                      </a:lnTo>
                      <a:lnTo>
                        <a:pt x="67" y="1275"/>
                      </a:lnTo>
                      <a:lnTo>
                        <a:pt x="75" y="1267"/>
                      </a:lnTo>
                      <a:lnTo>
                        <a:pt x="80" y="1253"/>
                      </a:lnTo>
                      <a:lnTo>
                        <a:pt x="89" y="1245"/>
                      </a:lnTo>
                      <a:lnTo>
                        <a:pt x="97" y="1237"/>
                      </a:lnTo>
                      <a:lnTo>
                        <a:pt x="121" y="1222"/>
                      </a:lnTo>
                      <a:lnTo>
                        <a:pt x="130" y="1212"/>
                      </a:lnTo>
                      <a:lnTo>
                        <a:pt x="130" y="1212"/>
                      </a:lnTo>
                      <a:close/>
                    </a:path>
                  </a:pathLst>
                </a:custGeom>
                <a:grpFill/>
                <a:ln w="12700" cap="flat" cmpd="sng" algn="ctr">
                  <a:solidFill>
                    <a:schemeClr val="bg1">
                      <a:lumMod val="85000"/>
                    </a:schemeClr>
                  </a:solidFill>
                  <a:prstDash val="solid"/>
                  <a:round/>
                  <a:headEnd type="none" w="med" len="med"/>
                  <a:tailEnd type="none" w="med" len="med"/>
                </a:ln>
              </p:spPr>
            </p:sp>
            <p:sp>
              <p:nvSpPr>
                <p:cNvPr id="58" name="ee4p_BR_19"/>
                <p:cNvSpPr>
                  <a:spLocks/>
                </p:cNvSpPr>
                <p:nvPr>
                  <p:custDataLst>
                    <p:tags r:id="rId20"/>
                  </p:custDataLst>
                </p:nvPr>
              </p:nvSpPr>
              <p:spPr bwMode="auto">
                <a:xfrm>
                  <a:off x="3264383" y="3100429"/>
                  <a:ext cx="741857" cy="673791"/>
                </a:xfrm>
                <a:custGeom>
                  <a:avLst/>
                  <a:gdLst/>
                  <a:ahLst/>
                  <a:cxnLst>
                    <a:cxn ang="0">
                      <a:pos x="174" y="609"/>
                    </a:cxn>
                    <a:cxn ang="0">
                      <a:pos x="339" y="609"/>
                    </a:cxn>
                    <a:cxn ang="0">
                      <a:pos x="469" y="621"/>
                    </a:cxn>
                    <a:cxn ang="0">
                      <a:pos x="576" y="573"/>
                    </a:cxn>
                    <a:cxn ang="0">
                      <a:pos x="712" y="601"/>
                    </a:cxn>
                    <a:cxn ang="0">
                      <a:pos x="767" y="452"/>
                    </a:cxn>
                    <a:cxn ang="0">
                      <a:pos x="949" y="422"/>
                    </a:cxn>
                    <a:cxn ang="0">
                      <a:pos x="1095" y="317"/>
                    </a:cxn>
                    <a:cxn ang="0">
                      <a:pos x="1148" y="184"/>
                    </a:cxn>
                    <a:cxn ang="0">
                      <a:pos x="1294" y="25"/>
                    </a:cxn>
                    <a:cxn ang="0">
                      <a:pos x="1689" y="113"/>
                    </a:cxn>
                    <a:cxn ang="0">
                      <a:pos x="1805" y="176"/>
                    </a:cxn>
                    <a:cxn ang="0">
                      <a:pos x="1882" y="281"/>
                    </a:cxn>
                    <a:cxn ang="0">
                      <a:pos x="2009" y="350"/>
                    </a:cxn>
                    <a:cxn ang="0">
                      <a:pos x="2128" y="350"/>
                    </a:cxn>
                    <a:cxn ang="0">
                      <a:pos x="2144" y="537"/>
                    </a:cxn>
                    <a:cxn ang="0">
                      <a:pos x="2125" y="629"/>
                    </a:cxn>
                    <a:cxn ang="0">
                      <a:pos x="2128" y="736"/>
                    </a:cxn>
                    <a:cxn ang="0">
                      <a:pos x="2122" y="890"/>
                    </a:cxn>
                    <a:cxn ang="0">
                      <a:pos x="2167" y="1023"/>
                    </a:cxn>
                    <a:cxn ang="0">
                      <a:pos x="2167" y="1172"/>
                    </a:cxn>
                    <a:cxn ang="0">
                      <a:pos x="2584" y="1274"/>
                    </a:cxn>
                    <a:cxn ang="0">
                      <a:pos x="2653" y="1304"/>
                    </a:cxn>
                    <a:cxn ang="0">
                      <a:pos x="2765" y="1321"/>
                    </a:cxn>
                    <a:cxn ang="0">
                      <a:pos x="2799" y="1429"/>
                    </a:cxn>
                    <a:cxn ang="0">
                      <a:pos x="2727" y="1514"/>
                    </a:cxn>
                    <a:cxn ang="0">
                      <a:pos x="2721" y="1603"/>
                    </a:cxn>
                    <a:cxn ang="0">
                      <a:pos x="2773" y="1655"/>
                    </a:cxn>
                    <a:cxn ang="0">
                      <a:pos x="2804" y="1771"/>
                    </a:cxn>
                    <a:cxn ang="0">
                      <a:pos x="2793" y="1897"/>
                    </a:cxn>
                    <a:cxn ang="0">
                      <a:pos x="2699" y="2096"/>
                    </a:cxn>
                    <a:cxn ang="0">
                      <a:pos x="2633" y="2204"/>
                    </a:cxn>
                    <a:cxn ang="0">
                      <a:pos x="2592" y="2311"/>
                    </a:cxn>
                    <a:cxn ang="0">
                      <a:pos x="2487" y="2375"/>
                    </a:cxn>
                    <a:cxn ang="0">
                      <a:pos x="2390" y="2334"/>
                    </a:cxn>
                    <a:cxn ang="0">
                      <a:pos x="2324" y="2314"/>
                    </a:cxn>
                    <a:cxn ang="0">
                      <a:pos x="2244" y="2311"/>
                    </a:cxn>
                    <a:cxn ang="0">
                      <a:pos x="2109" y="2317"/>
                    </a:cxn>
                    <a:cxn ang="0">
                      <a:pos x="2020" y="2334"/>
                    </a:cxn>
                    <a:cxn ang="0">
                      <a:pos x="1948" y="2257"/>
                    </a:cxn>
                    <a:cxn ang="0">
                      <a:pos x="1879" y="2165"/>
                    </a:cxn>
                    <a:cxn ang="0">
                      <a:pos x="1791" y="2163"/>
                    </a:cxn>
                    <a:cxn ang="0">
                      <a:pos x="1695" y="2112"/>
                    </a:cxn>
                    <a:cxn ang="0">
                      <a:pos x="1612" y="2086"/>
                    </a:cxn>
                    <a:cxn ang="0">
                      <a:pos x="1515" y="1984"/>
                    </a:cxn>
                    <a:cxn ang="0">
                      <a:pos x="1446" y="1969"/>
                    </a:cxn>
                    <a:cxn ang="0">
                      <a:pos x="1273" y="1884"/>
                    </a:cxn>
                    <a:cxn ang="0">
                      <a:pos x="1115" y="1895"/>
                    </a:cxn>
                    <a:cxn ang="0">
                      <a:pos x="1023" y="1900"/>
                    </a:cxn>
                    <a:cxn ang="0">
                      <a:pos x="847" y="1749"/>
                    </a:cxn>
                    <a:cxn ang="0">
                      <a:pos x="781" y="1693"/>
                    </a:cxn>
                    <a:cxn ang="0">
                      <a:pos x="681" y="1572"/>
                    </a:cxn>
                    <a:cxn ang="0">
                      <a:pos x="612" y="1409"/>
                    </a:cxn>
                    <a:cxn ang="0">
                      <a:pos x="621" y="1216"/>
                    </a:cxn>
                    <a:cxn ang="0">
                      <a:pos x="573" y="1040"/>
                    </a:cxn>
                    <a:cxn ang="0">
                      <a:pos x="599" y="759"/>
                    </a:cxn>
                    <a:cxn ang="0">
                      <a:pos x="488" y="777"/>
                    </a:cxn>
                    <a:cxn ang="0">
                      <a:pos x="430" y="759"/>
                    </a:cxn>
                    <a:cxn ang="0">
                      <a:pos x="378" y="747"/>
                    </a:cxn>
                    <a:cxn ang="0">
                      <a:pos x="287" y="769"/>
                    </a:cxn>
                    <a:cxn ang="0">
                      <a:pos x="212" y="780"/>
                    </a:cxn>
                    <a:cxn ang="0">
                      <a:pos x="126" y="802"/>
                    </a:cxn>
                  </a:cxnLst>
                  <a:rect l="0" t="0" r="r" b="b"/>
                  <a:pathLst>
                    <a:path w="2859" h="2400">
                      <a:moveTo>
                        <a:pt x="0" y="772"/>
                      </a:moveTo>
                      <a:lnTo>
                        <a:pt x="11" y="764"/>
                      </a:lnTo>
                      <a:lnTo>
                        <a:pt x="11" y="752"/>
                      </a:lnTo>
                      <a:lnTo>
                        <a:pt x="8" y="750"/>
                      </a:lnTo>
                      <a:lnTo>
                        <a:pt x="11" y="747"/>
                      </a:lnTo>
                      <a:lnTo>
                        <a:pt x="16" y="750"/>
                      </a:lnTo>
                      <a:lnTo>
                        <a:pt x="22" y="750"/>
                      </a:lnTo>
                      <a:lnTo>
                        <a:pt x="33" y="750"/>
                      </a:lnTo>
                      <a:lnTo>
                        <a:pt x="41" y="744"/>
                      </a:lnTo>
                      <a:lnTo>
                        <a:pt x="47" y="739"/>
                      </a:lnTo>
                      <a:lnTo>
                        <a:pt x="49" y="731"/>
                      </a:lnTo>
                      <a:lnTo>
                        <a:pt x="74" y="716"/>
                      </a:lnTo>
                      <a:lnTo>
                        <a:pt x="80" y="711"/>
                      </a:lnTo>
                      <a:lnTo>
                        <a:pt x="88" y="714"/>
                      </a:lnTo>
                      <a:lnTo>
                        <a:pt x="91" y="711"/>
                      </a:lnTo>
                      <a:lnTo>
                        <a:pt x="102" y="708"/>
                      </a:lnTo>
                      <a:lnTo>
                        <a:pt x="108" y="700"/>
                      </a:lnTo>
                      <a:lnTo>
                        <a:pt x="124" y="698"/>
                      </a:lnTo>
                      <a:lnTo>
                        <a:pt x="124" y="695"/>
                      </a:lnTo>
                      <a:lnTo>
                        <a:pt x="124" y="690"/>
                      </a:lnTo>
                      <a:lnTo>
                        <a:pt x="126" y="683"/>
                      </a:lnTo>
                      <a:lnTo>
                        <a:pt x="138" y="675"/>
                      </a:lnTo>
                      <a:lnTo>
                        <a:pt x="149" y="665"/>
                      </a:lnTo>
                      <a:lnTo>
                        <a:pt x="154" y="654"/>
                      </a:lnTo>
                      <a:lnTo>
                        <a:pt x="169" y="642"/>
                      </a:lnTo>
                      <a:lnTo>
                        <a:pt x="169" y="623"/>
                      </a:lnTo>
                      <a:lnTo>
                        <a:pt x="165" y="615"/>
                      </a:lnTo>
                      <a:lnTo>
                        <a:pt x="157" y="609"/>
                      </a:lnTo>
                      <a:lnTo>
                        <a:pt x="157" y="606"/>
                      </a:lnTo>
                      <a:lnTo>
                        <a:pt x="160" y="604"/>
                      </a:lnTo>
                      <a:lnTo>
                        <a:pt x="174" y="609"/>
                      </a:lnTo>
                      <a:lnTo>
                        <a:pt x="177" y="609"/>
                      </a:lnTo>
                      <a:lnTo>
                        <a:pt x="182" y="606"/>
                      </a:lnTo>
                      <a:lnTo>
                        <a:pt x="190" y="612"/>
                      </a:lnTo>
                      <a:lnTo>
                        <a:pt x="195" y="606"/>
                      </a:lnTo>
                      <a:lnTo>
                        <a:pt x="198" y="609"/>
                      </a:lnTo>
                      <a:lnTo>
                        <a:pt x="198" y="615"/>
                      </a:lnTo>
                      <a:lnTo>
                        <a:pt x="201" y="615"/>
                      </a:lnTo>
                      <a:lnTo>
                        <a:pt x="210" y="615"/>
                      </a:lnTo>
                      <a:lnTo>
                        <a:pt x="212" y="612"/>
                      </a:lnTo>
                      <a:lnTo>
                        <a:pt x="210" y="604"/>
                      </a:lnTo>
                      <a:lnTo>
                        <a:pt x="218" y="604"/>
                      </a:lnTo>
                      <a:lnTo>
                        <a:pt x="220" y="604"/>
                      </a:lnTo>
                      <a:lnTo>
                        <a:pt x="229" y="612"/>
                      </a:lnTo>
                      <a:lnTo>
                        <a:pt x="231" y="612"/>
                      </a:lnTo>
                      <a:lnTo>
                        <a:pt x="238" y="609"/>
                      </a:lnTo>
                      <a:lnTo>
                        <a:pt x="243" y="609"/>
                      </a:lnTo>
                      <a:lnTo>
                        <a:pt x="256" y="615"/>
                      </a:lnTo>
                      <a:lnTo>
                        <a:pt x="262" y="609"/>
                      </a:lnTo>
                      <a:lnTo>
                        <a:pt x="264" y="609"/>
                      </a:lnTo>
                      <a:lnTo>
                        <a:pt x="273" y="604"/>
                      </a:lnTo>
                      <a:lnTo>
                        <a:pt x="276" y="604"/>
                      </a:lnTo>
                      <a:lnTo>
                        <a:pt x="279" y="604"/>
                      </a:lnTo>
                      <a:lnTo>
                        <a:pt x="287" y="606"/>
                      </a:lnTo>
                      <a:lnTo>
                        <a:pt x="303" y="606"/>
                      </a:lnTo>
                      <a:lnTo>
                        <a:pt x="309" y="604"/>
                      </a:lnTo>
                      <a:lnTo>
                        <a:pt x="309" y="601"/>
                      </a:lnTo>
                      <a:lnTo>
                        <a:pt x="312" y="601"/>
                      </a:lnTo>
                      <a:lnTo>
                        <a:pt x="325" y="601"/>
                      </a:lnTo>
                      <a:lnTo>
                        <a:pt x="331" y="604"/>
                      </a:lnTo>
                      <a:lnTo>
                        <a:pt x="339" y="604"/>
                      </a:lnTo>
                      <a:lnTo>
                        <a:pt x="339" y="609"/>
                      </a:lnTo>
                      <a:lnTo>
                        <a:pt x="345" y="612"/>
                      </a:lnTo>
                      <a:lnTo>
                        <a:pt x="348" y="615"/>
                      </a:lnTo>
                      <a:lnTo>
                        <a:pt x="356" y="621"/>
                      </a:lnTo>
                      <a:lnTo>
                        <a:pt x="358" y="629"/>
                      </a:lnTo>
                      <a:lnTo>
                        <a:pt x="361" y="634"/>
                      </a:lnTo>
                      <a:lnTo>
                        <a:pt x="369" y="637"/>
                      </a:lnTo>
                      <a:lnTo>
                        <a:pt x="376" y="637"/>
                      </a:lnTo>
                      <a:lnTo>
                        <a:pt x="384" y="645"/>
                      </a:lnTo>
                      <a:lnTo>
                        <a:pt x="386" y="645"/>
                      </a:lnTo>
                      <a:lnTo>
                        <a:pt x="389" y="647"/>
                      </a:lnTo>
                      <a:lnTo>
                        <a:pt x="389" y="656"/>
                      </a:lnTo>
                      <a:lnTo>
                        <a:pt x="392" y="656"/>
                      </a:lnTo>
                      <a:lnTo>
                        <a:pt x="397" y="654"/>
                      </a:lnTo>
                      <a:lnTo>
                        <a:pt x="400" y="667"/>
                      </a:lnTo>
                      <a:lnTo>
                        <a:pt x="402" y="667"/>
                      </a:lnTo>
                      <a:lnTo>
                        <a:pt x="405" y="670"/>
                      </a:lnTo>
                      <a:lnTo>
                        <a:pt x="409" y="678"/>
                      </a:lnTo>
                      <a:lnTo>
                        <a:pt x="411" y="678"/>
                      </a:lnTo>
                      <a:lnTo>
                        <a:pt x="417" y="673"/>
                      </a:lnTo>
                      <a:lnTo>
                        <a:pt x="419" y="670"/>
                      </a:lnTo>
                      <a:lnTo>
                        <a:pt x="425" y="670"/>
                      </a:lnTo>
                      <a:lnTo>
                        <a:pt x="427" y="665"/>
                      </a:lnTo>
                      <a:lnTo>
                        <a:pt x="430" y="665"/>
                      </a:lnTo>
                      <a:lnTo>
                        <a:pt x="435" y="667"/>
                      </a:lnTo>
                      <a:lnTo>
                        <a:pt x="438" y="667"/>
                      </a:lnTo>
                      <a:lnTo>
                        <a:pt x="450" y="645"/>
                      </a:lnTo>
                      <a:lnTo>
                        <a:pt x="455" y="642"/>
                      </a:lnTo>
                      <a:lnTo>
                        <a:pt x="458" y="621"/>
                      </a:lnTo>
                      <a:lnTo>
                        <a:pt x="461" y="621"/>
                      </a:lnTo>
                      <a:lnTo>
                        <a:pt x="466" y="621"/>
                      </a:lnTo>
                      <a:lnTo>
                        <a:pt x="469" y="621"/>
                      </a:lnTo>
                      <a:lnTo>
                        <a:pt x="471" y="615"/>
                      </a:lnTo>
                      <a:lnTo>
                        <a:pt x="474" y="612"/>
                      </a:lnTo>
                      <a:lnTo>
                        <a:pt x="483" y="609"/>
                      </a:lnTo>
                      <a:lnTo>
                        <a:pt x="491" y="606"/>
                      </a:lnTo>
                      <a:lnTo>
                        <a:pt x="494" y="606"/>
                      </a:lnTo>
                      <a:lnTo>
                        <a:pt x="502" y="606"/>
                      </a:lnTo>
                      <a:lnTo>
                        <a:pt x="507" y="609"/>
                      </a:lnTo>
                      <a:lnTo>
                        <a:pt x="522" y="621"/>
                      </a:lnTo>
                      <a:lnTo>
                        <a:pt x="524" y="621"/>
                      </a:lnTo>
                      <a:lnTo>
                        <a:pt x="527" y="621"/>
                      </a:lnTo>
                      <a:lnTo>
                        <a:pt x="530" y="623"/>
                      </a:lnTo>
                      <a:lnTo>
                        <a:pt x="530" y="629"/>
                      </a:lnTo>
                      <a:lnTo>
                        <a:pt x="532" y="631"/>
                      </a:lnTo>
                      <a:lnTo>
                        <a:pt x="540" y="629"/>
                      </a:lnTo>
                      <a:lnTo>
                        <a:pt x="543" y="623"/>
                      </a:lnTo>
                      <a:lnTo>
                        <a:pt x="549" y="629"/>
                      </a:lnTo>
                      <a:lnTo>
                        <a:pt x="555" y="626"/>
                      </a:lnTo>
                      <a:lnTo>
                        <a:pt x="557" y="629"/>
                      </a:lnTo>
                      <a:lnTo>
                        <a:pt x="557" y="623"/>
                      </a:lnTo>
                      <a:lnTo>
                        <a:pt x="552" y="609"/>
                      </a:lnTo>
                      <a:lnTo>
                        <a:pt x="549" y="604"/>
                      </a:lnTo>
                      <a:lnTo>
                        <a:pt x="549" y="601"/>
                      </a:lnTo>
                      <a:lnTo>
                        <a:pt x="552" y="587"/>
                      </a:lnTo>
                      <a:lnTo>
                        <a:pt x="552" y="576"/>
                      </a:lnTo>
                      <a:lnTo>
                        <a:pt x="552" y="570"/>
                      </a:lnTo>
                      <a:lnTo>
                        <a:pt x="552" y="568"/>
                      </a:lnTo>
                      <a:lnTo>
                        <a:pt x="552" y="565"/>
                      </a:lnTo>
                      <a:lnTo>
                        <a:pt x="555" y="562"/>
                      </a:lnTo>
                      <a:lnTo>
                        <a:pt x="566" y="568"/>
                      </a:lnTo>
                      <a:lnTo>
                        <a:pt x="574" y="573"/>
                      </a:lnTo>
                      <a:lnTo>
                        <a:pt x="576" y="573"/>
                      </a:lnTo>
                      <a:lnTo>
                        <a:pt x="579" y="570"/>
                      </a:lnTo>
                      <a:lnTo>
                        <a:pt x="579" y="568"/>
                      </a:lnTo>
                      <a:lnTo>
                        <a:pt x="591" y="568"/>
                      </a:lnTo>
                      <a:lnTo>
                        <a:pt x="593" y="562"/>
                      </a:lnTo>
                      <a:lnTo>
                        <a:pt x="612" y="552"/>
                      </a:lnTo>
                      <a:lnTo>
                        <a:pt x="618" y="546"/>
                      </a:lnTo>
                      <a:lnTo>
                        <a:pt x="632" y="540"/>
                      </a:lnTo>
                      <a:lnTo>
                        <a:pt x="635" y="540"/>
                      </a:lnTo>
                      <a:lnTo>
                        <a:pt x="648" y="549"/>
                      </a:lnTo>
                      <a:lnTo>
                        <a:pt x="648" y="552"/>
                      </a:lnTo>
                      <a:lnTo>
                        <a:pt x="648" y="554"/>
                      </a:lnTo>
                      <a:lnTo>
                        <a:pt x="648" y="557"/>
                      </a:lnTo>
                      <a:lnTo>
                        <a:pt x="648" y="562"/>
                      </a:lnTo>
                      <a:lnTo>
                        <a:pt x="657" y="576"/>
                      </a:lnTo>
                      <a:lnTo>
                        <a:pt x="654" y="587"/>
                      </a:lnTo>
                      <a:lnTo>
                        <a:pt x="654" y="590"/>
                      </a:lnTo>
                      <a:lnTo>
                        <a:pt x="662" y="593"/>
                      </a:lnTo>
                      <a:lnTo>
                        <a:pt x="662" y="598"/>
                      </a:lnTo>
                      <a:lnTo>
                        <a:pt x="657" y="606"/>
                      </a:lnTo>
                      <a:lnTo>
                        <a:pt x="657" y="612"/>
                      </a:lnTo>
                      <a:lnTo>
                        <a:pt x="660" y="612"/>
                      </a:lnTo>
                      <a:lnTo>
                        <a:pt x="662" y="612"/>
                      </a:lnTo>
                      <a:lnTo>
                        <a:pt x="670" y="615"/>
                      </a:lnTo>
                      <a:lnTo>
                        <a:pt x="676" y="621"/>
                      </a:lnTo>
                      <a:lnTo>
                        <a:pt x="687" y="612"/>
                      </a:lnTo>
                      <a:lnTo>
                        <a:pt x="693" y="612"/>
                      </a:lnTo>
                      <a:lnTo>
                        <a:pt x="698" y="609"/>
                      </a:lnTo>
                      <a:lnTo>
                        <a:pt x="695" y="604"/>
                      </a:lnTo>
                      <a:lnTo>
                        <a:pt x="698" y="601"/>
                      </a:lnTo>
                      <a:lnTo>
                        <a:pt x="701" y="601"/>
                      </a:lnTo>
                      <a:lnTo>
                        <a:pt x="712" y="601"/>
                      </a:lnTo>
                      <a:lnTo>
                        <a:pt x="714" y="598"/>
                      </a:lnTo>
                      <a:lnTo>
                        <a:pt x="714" y="596"/>
                      </a:lnTo>
                      <a:lnTo>
                        <a:pt x="721" y="590"/>
                      </a:lnTo>
                      <a:lnTo>
                        <a:pt x="717" y="582"/>
                      </a:lnTo>
                      <a:lnTo>
                        <a:pt x="721" y="582"/>
                      </a:lnTo>
                      <a:lnTo>
                        <a:pt x="723" y="578"/>
                      </a:lnTo>
                      <a:lnTo>
                        <a:pt x="726" y="576"/>
                      </a:lnTo>
                      <a:lnTo>
                        <a:pt x="731" y="576"/>
                      </a:lnTo>
                      <a:lnTo>
                        <a:pt x="729" y="570"/>
                      </a:lnTo>
                      <a:lnTo>
                        <a:pt x="734" y="565"/>
                      </a:lnTo>
                      <a:lnTo>
                        <a:pt x="734" y="560"/>
                      </a:lnTo>
                      <a:lnTo>
                        <a:pt x="739" y="554"/>
                      </a:lnTo>
                      <a:lnTo>
                        <a:pt x="747" y="554"/>
                      </a:lnTo>
                      <a:lnTo>
                        <a:pt x="754" y="549"/>
                      </a:lnTo>
                      <a:lnTo>
                        <a:pt x="754" y="546"/>
                      </a:lnTo>
                      <a:lnTo>
                        <a:pt x="759" y="543"/>
                      </a:lnTo>
                      <a:lnTo>
                        <a:pt x="759" y="540"/>
                      </a:lnTo>
                      <a:lnTo>
                        <a:pt x="762" y="532"/>
                      </a:lnTo>
                      <a:lnTo>
                        <a:pt x="764" y="527"/>
                      </a:lnTo>
                      <a:lnTo>
                        <a:pt x="767" y="524"/>
                      </a:lnTo>
                      <a:lnTo>
                        <a:pt x="764" y="518"/>
                      </a:lnTo>
                      <a:lnTo>
                        <a:pt x="764" y="516"/>
                      </a:lnTo>
                      <a:lnTo>
                        <a:pt x="762" y="509"/>
                      </a:lnTo>
                      <a:lnTo>
                        <a:pt x="762" y="507"/>
                      </a:lnTo>
                      <a:lnTo>
                        <a:pt x="762" y="496"/>
                      </a:lnTo>
                      <a:lnTo>
                        <a:pt x="759" y="493"/>
                      </a:lnTo>
                      <a:lnTo>
                        <a:pt x="759" y="488"/>
                      </a:lnTo>
                      <a:lnTo>
                        <a:pt x="759" y="485"/>
                      </a:lnTo>
                      <a:lnTo>
                        <a:pt x="762" y="483"/>
                      </a:lnTo>
                      <a:lnTo>
                        <a:pt x="767" y="463"/>
                      </a:lnTo>
                      <a:lnTo>
                        <a:pt x="767" y="452"/>
                      </a:lnTo>
                      <a:lnTo>
                        <a:pt x="767" y="450"/>
                      </a:lnTo>
                      <a:lnTo>
                        <a:pt x="772" y="452"/>
                      </a:lnTo>
                      <a:lnTo>
                        <a:pt x="775" y="450"/>
                      </a:lnTo>
                      <a:lnTo>
                        <a:pt x="778" y="444"/>
                      </a:lnTo>
                      <a:lnTo>
                        <a:pt x="787" y="438"/>
                      </a:lnTo>
                      <a:lnTo>
                        <a:pt x="798" y="430"/>
                      </a:lnTo>
                      <a:lnTo>
                        <a:pt x="808" y="427"/>
                      </a:lnTo>
                      <a:lnTo>
                        <a:pt x="814" y="427"/>
                      </a:lnTo>
                      <a:lnTo>
                        <a:pt x="819" y="427"/>
                      </a:lnTo>
                      <a:lnTo>
                        <a:pt x="823" y="430"/>
                      </a:lnTo>
                      <a:lnTo>
                        <a:pt x="831" y="441"/>
                      </a:lnTo>
                      <a:lnTo>
                        <a:pt x="833" y="441"/>
                      </a:lnTo>
                      <a:lnTo>
                        <a:pt x="841" y="438"/>
                      </a:lnTo>
                      <a:lnTo>
                        <a:pt x="852" y="430"/>
                      </a:lnTo>
                      <a:lnTo>
                        <a:pt x="852" y="427"/>
                      </a:lnTo>
                      <a:lnTo>
                        <a:pt x="859" y="427"/>
                      </a:lnTo>
                      <a:lnTo>
                        <a:pt x="861" y="430"/>
                      </a:lnTo>
                      <a:lnTo>
                        <a:pt x="867" y="438"/>
                      </a:lnTo>
                      <a:lnTo>
                        <a:pt x="872" y="435"/>
                      </a:lnTo>
                      <a:lnTo>
                        <a:pt x="880" y="435"/>
                      </a:lnTo>
                      <a:lnTo>
                        <a:pt x="892" y="438"/>
                      </a:lnTo>
                      <a:lnTo>
                        <a:pt x="897" y="438"/>
                      </a:lnTo>
                      <a:lnTo>
                        <a:pt x="900" y="435"/>
                      </a:lnTo>
                      <a:lnTo>
                        <a:pt x="905" y="432"/>
                      </a:lnTo>
                      <a:lnTo>
                        <a:pt x="905" y="427"/>
                      </a:lnTo>
                      <a:lnTo>
                        <a:pt x="908" y="427"/>
                      </a:lnTo>
                      <a:lnTo>
                        <a:pt x="913" y="424"/>
                      </a:lnTo>
                      <a:lnTo>
                        <a:pt x="916" y="422"/>
                      </a:lnTo>
                      <a:lnTo>
                        <a:pt x="921" y="422"/>
                      </a:lnTo>
                      <a:lnTo>
                        <a:pt x="938" y="424"/>
                      </a:lnTo>
                      <a:lnTo>
                        <a:pt x="949" y="422"/>
                      </a:lnTo>
                      <a:lnTo>
                        <a:pt x="954" y="422"/>
                      </a:lnTo>
                      <a:lnTo>
                        <a:pt x="957" y="422"/>
                      </a:lnTo>
                      <a:lnTo>
                        <a:pt x="963" y="419"/>
                      </a:lnTo>
                      <a:lnTo>
                        <a:pt x="974" y="416"/>
                      </a:lnTo>
                      <a:lnTo>
                        <a:pt x="985" y="411"/>
                      </a:lnTo>
                      <a:lnTo>
                        <a:pt x="1007" y="402"/>
                      </a:lnTo>
                      <a:lnTo>
                        <a:pt x="1013" y="402"/>
                      </a:lnTo>
                      <a:lnTo>
                        <a:pt x="1013" y="406"/>
                      </a:lnTo>
                      <a:lnTo>
                        <a:pt x="1013" y="411"/>
                      </a:lnTo>
                      <a:lnTo>
                        <a:pt x="1007" y="424"/>
                      </a:lnTo>
                      <a:lnTo>
                        <a:pt x="1007" y="427"/>
                      </a:lnTo>
                      <a:lnTo>
                        <a:pt x="1013" y="430"/>
                      </a:lnTo>
                      <a:lnTo>
                        <a:pt x="1018" y="430"/>
                      </a:lnTo>
                      <a:lnTo>
                        <a:pt x="1032" y="427"/>
                      </a:lnTo>
                      <a:lnTo>
                        <a:pt x="1046" y="430"/>
                      </a:lnTo>
                      <a:lnTo>
                        <a:pt x="1068" y="416"/>
                      </a:lnTo>
                      <a:lnTo>
                        <a:pt x="1079" y="416"/>
                      </a:lnTo>
                      <a:lnTo>
                        <a:pt x="1082" y="414"/>
                      </a:lnTo>
                      <a:lnTo>
                        <a:pt x="1082" y="408"/>
                      </a:lnTo>
                      <a:lnTo>
                        <a:pt x="1079" y="388"/>
                      </a:lnTo>
                      <a:lnTo>
                        <a:pt x="1079" y="378"/>
                      </a:lnTo>
                      <a:lnTo>
                        <a:pt x="1076" y="369"/>
                      </a:lnTo>
                      <a:lnTo>
                        <a:pt x="1076" y="366"/>
                      </a:lnTo>
                      <a:lnTo>
                        <a:pt x="1076" y="363"/>
                      </a:lnTo>
                      <a:lnTo>
                        <a:pt x="1084" y="355"/>
                      </a:lnTo>
                      <a:lnTo>
                        <a:pt x="1087" y="350"/>
                      </a:lnTo>
                      <a:lnTo>
                        <a:pt x="1082" y="339"/>
                      </a:lnTo>
                      <a:lnTo>
                        <a:pt x="1082" y="325"/>
                      </a:lnTo>
                      <a:lnTo>
                        <a:pt x="1087" y="317"/>
                      </a:lnTo>
                      <a:lnTo>
                        <a:pt x="1090" y="314"/>
                      </a:lnTo>
                      <a:lnTo>
                        <a:pt x="1095" y="317"/>
                      </a:lnTo>
                      <a:lnTo>
                        <a:pt x="1101" y="317"/>
                      </a:lnTo>
                      <a:lnTo>
                        <a:pt x="1109" y="311"/>
                      </a:lnTo>
                      <a:lnTo>
                        <a:pt x="1112" y="311"/>
                      </a:lnTo>
                      <a:lnTo>
                        <a:pt x="1128" y="314"/>
                      </a:lnTo>
                      <a:lnTo>
                        <a:pt x="1126" y="303"/>
                      </a:lnTo>
                      <a:lnTo>
                        <a:pt x="1135" y="292"/>
                      </a:lnTo>
                      <a:lnTo>
                        <a:pt x="1132" y="289"/>
                      </a:lnTo>
                      <a:lnTo>
                        <a:pt x="1135" y="286"/>
                      </a:lnTo>
                      <a:lnTo>
                        <a:pt x="1137" y="281"/>
                      </a:lnTo>
                      <a:lnTo>
                        <a:pt x="1137" y="276"/>
                      </a:lnTo>
                      <a:lnTo>
                        <a:pt x="1143" y="273"/>
                      </a:lnTo>
                      <a:lnTo>
                        <a:pt x="1145" y="259"/>
                      </a:lnTo>
                      <a:lnTo>
                        <a:pt x="1148" y="256"/>
                      </a:lnTo>
                      <a:lnTo>
                        <a:pt x="1151" y="256"/>
                      </a:lnTo>
                      <a:lnTo>
                        <a:pt x="1153" y="259"/>
                      </a:lnTo>
                      <a:lnTo>
                        <a:pt x="1153" y="261"/>
                      </a:lnTo>
                      <a:lnTo>
                        <a:pt x="1159" y="268"/>
                      </a:lnTo>
                      <a:lnTo>
                        <a:pt x="1161" y="268"/>
                      </a:lnTo>
                      <a:lnTo>
                        <a:pt x="1170" y="253"/>
                      </a:lnTo>
                      <a:lnTo>
                        <a:pt x="1170" y="248"/>
                      </a:lnTo>
                      <a:lnTo>
                        <a:pt x="1168" y="248"/>
                      </a:lnTo>
                      <a:lnTo>
                        <a:pt x="1161" y="242"/>
                      </a:lnTo>
                      <a:lnTo>
                        <a:pt x="1161" y="234"/>
                      </a:lnTo>
                      <a:lnTo>
                        <a:pt x="1153" y="225"/>
                      </a:lnTo>
                      <a:lnTo>
                        <a:pt x="1151" y="217"/>
                      </a:lnTo>
                      <a:lnTo>
                        <a:pt x="1151" y="215"/>
                      </a:lnTo>
                      <a:lnTo>
                        <a:pt x="1165" y="204"/>
                      </a:lnTo>
                      <a:lnTo>
                        <a:pt x="1165" y="199"/>
                      </a:lnTo>
                      <a:lnTo>
                        <a:pt x="1159" y="192"/>
                      </a:lnTo>
                      <a:lnTo>
                        <a:pt x="1148" y="190"/>
                      </a:lnTo>
                      <a:lnTo>
                        <a:pt x="1148" y="184"/>
                      </a:lnTo>
                      <a:lnTo>
                        <a:pt x="1161" y="176"/>
                      </a:lnTo>
                      <a:lnTo>
                        <a:pt x="1161" y="151"/>
                      </a:lnTo>
                      <a:lnTo>
                        <a:pt x="1168" y="148"/>
                      </a:lnTo>
                      <a:lnTo>
                        <a:pt x="1176" y="151"/>
                      </a:lnTo>
                      <a:lnTo>
                        <a:pt x="1178" y="148"/>
                      </a:lnTo>
                      <a:lnTo>
                        <a:pt x="1184" y="140"/>
                      </a:lnTo>
                      <a:lnTo>
                        <a:pt x="1186" y="135"/>
                      </a:lnTo>
                      <a:lnTo>
                        <a:pt x="1192" y="135"/>
                      </a:lnTo>
                      <a:lnTo>
                        <a:pt x="1195" y="135"/>
                      </a:lnTo>
                      <a:lnTo>
                        <a:pt x="1204" y="138"/>
                      </a:lnTo>
                      <a:lnTo>
                        <a:pt x="1212" y="140"/>
                      </a:lnTo>
                      <a:lnTo>
                        <a:pt x="1225" y="151"/>
                      </a:lnTo>
                      <a:lnTo>
                        <a:pt x="1228" y="151"/>
                      </a:lnTo>
                      <a:lnTo>
                        <a:pt x="1230" y="148"/>
                      </a:lnTo>
                      <a:lnTo>
                        <a:pt x="1237" y="140"/>
                      </a:lnTo>
                      <a:lnTo>
                        <a:pt x="1237" y="135"/>
                      </a:lnTo>
                      <a:lnTo>
                        <a:pt x="1242" y="127"/>
                      </a:lnTo>
                      <a:lnTo>
                        <a:pt x="1253" y="118"/>
                      </a:lnTo>
                      <a:lnTo>
                        <a:pt x="1242" y="99"/>
                      </a:lnTo>
                      <a:lnTo>
                        <a:pt x="1242" y="96"/>
                      </a:lnTo>
                      <a:lnTo>
                        <a:pt x="1250" y="87"/>
                      </a:lnTo>
                      <a:lnTo>
                        <a:pt x="1264" y="79"/>
                      </a:lnTo>
                      <a:lnTo>
                        <a:pt x="1273" y="66"/>
                      </a:lnTo>
                      <a:lnTo>
                        <a:pt x="1275" y="63"/>
                      </a:lnTo>
                      <a:lnTo>
                        <a:pt x="1278" y="54"/>
                      </a:lnTo>
                      <a:lnTo>
                        <a:pt x="1275" y="52"/>
                      </a:lnTo>
                      <a:lnTo>
                        <a:pt x="1275" y="46"/>
                      </a:lnTo>
                      <a:lnTo>
                        <a:pt x="1283" y="41"/>
                      </a:lnTo>
                      <a:lnTo>
                        <a:pt x="1286" y="33"/>
                      </a:lnTo>
                      <a:lnTo>
                        <a:pt x="1291" y="30"/>
                      </a:lnTo>
                      <a:lnTo>
                        <a:pt x="1294" y="25"/>
                      </a:lnTo>
                      <a:lnTo>
                        <a:pt x="1291" y="18"/>
                      </a:lnTo>
                      <a:lnTo>
                        <a:pt x="1294" y="0"/>
                      </a:lnTo>
                      <a:lnTo>
                        <a:pt x="1330" y="2"/>
                      </a:lnTo>
                      <a:lnTo>
                        <a:pt x="1344" y="2"/>
                      </a:lnTo>
                      <a:lnTo>
                        <a:pt x="1413" y="2"/>
                      </a:lnTo>
                      <a:lnTo>
                        <a:pt x="1600" y="2"/>
                      </a:lnTo>
                      <a:lnTo>
                        <a:pt x="1606" y="8"/>
                      </a:lnTo>
                      <a:lnTo>
                        <a:pt x="1609" y="8"/>
                      </a:lnTo>
                      <a:lnTo>
                        <a:pt x="1612" y="10"/>
                      </a:lnTo>
                      <a:lnTo>
                        <a:pt x="1615" y="10"/>
                      </a:lnTo>
                      <a:lnTo>
                        <a:pt x="1620" y="18"/>
                      </a:lnTo>
                      <a:lnTo>
                        <a:pt x="1623" y="25"/>
                      </a:lnTo>
                      <a:lnTo>
                        <a:pt x="1634" y="25"/>
                      </a:lnTo>
                      <a:lnTo>
                        <a:pt x="1651" y="33"/>
                      </a:lnTo>
                      <a:lnTo>
                        <a:pt x="1659" y="41"/>
                      </a:lnTo>
                      <a:lnTo>
                        <a:pt x="1664" y="46"/>
                      </a:lnTo>
                      <a:lnTo>
                        <a:pt x="1672" y="52"/>
                      </a:lnTo>
                      <a:lnTo>
                        <a:pt x="1672" y="54"/>
                      </a:lnTo>
                      <a:lnTo>
                        <a:pt x="1677" y="61"/>
                      </a:lnTo>
                      <a:lnTo>
                        <a:pt x="1675" y="63"/>
                      </a:lnTo>
                      <a:lnTo>
                        <a:pt x="1677" y="71"/>
                      </a:lnTo>
                      <a:lnTo>
                        <a:pt x="1681" y="74"/>
                      </a:lnTo>
                      <a:lnTo>
                        <a:pt x="1677" y="79"/>
                      </a:lnTo>
                      <a:lnTo>
                        <a:pt x="1675" y="82"/>
                      </a:lnTo>
                      <a:lnTo>
                        <a:pt x="1675" y="85"/>
                      </a:lnTo>
                      <a:lnTo>
                        <a:pt x="1675" y="87"/>
                      </a:lnTo>
                      <a:lnTo>
                        <a:pt x="1677" y="94"/>
                      </a:lnTo>
                      <a:lnTo>
                        <a:pt x="1684" y="96"/>
                      </a:lnTo>
                      <a:lnTo>
                        <a:pt x="1689" y="107"/>
                      </a:lnTo>
                      <a:lnTo>
                        <a:pt x="1687" y="110"/>
                      </a:lnTo>
                      <a:lnTo>
                        <a:pt x="1689" y="113"/>
                      </a:lnTo>
                      <a:lnTo>
                        <a:pt x="1705" y="121"/>
                      </a:lnTo>
                      <a:lnTo>
                        <a:pt x="1708" y="127"/>
                      </a:lnTo>
                      <a:lnTo>
                        <a:pt x="1711" y="130"/>
                      </a:lnTo>
                      <a:lnTo>
                        <a:pt x="1713" y="127"/>
                      </a:lnTo>
                      <a:lnTo>
                        <a:pt x="1717" y="130"/>
                      </a:lnTo>
                      <a:lnTo>
                        <a:pt x="1720" y="130"/>
                      </a:lnTo>
                      <a:lnTo>
                        <a:pt x="1722" y="132"/>
                      </a:lnTo>
                      <a:lnTo>
                        <a:pt x="1725" y="132"/>
                      </a:lnTo>
                      <a:lnTo>
                        <a:pt x="1728" y="140"/>
                      </a:lnTo>
                      <a:lnTo>
                        <a:pt x="1725" y="146"/>
                      </a:lnTo>
                      <a:lnTo>
                        <a:pt x="1728" y="146"/>
                      </a:lnTo>
                      <a:lnTo>
                        <a:pt x="1728" y="151"/>
                      </a:lnTo>
                      <a:lnTo>
                        <a:pt x="1730" y="156"/>
                      </a:lnTo>
                      <a:lnTo>
                        <a:pt x="1728" y="163"/>
                      </a:lnTo>
                      <a:lnTo>
                        <a:pt x="1733" y="163"/>
                      </a:lnTo>
                      <a:lnTo>
                        <a:pt x="1736" y="168"/>
                      </a:lnTo>
                      <a:lnTo>
                        <a:pt x="1738" y="171"/>
                      </a:lnTo>
                      <a:lnTo>
                        <a:pt x="1738" y="173"/>
                      </a:lnTo>
                      <a:lnTo>
                        <a:pt x="1741" y="173"/>
                      </a:lnTo>
                      <a:lnTo>
                        <a:pt x="1750" y="165"/>
                      </a:lnTo>
                      <a:lnTo>
                        <a:pt x="1756" y="163"/>
                      </a:lnTo>
                      <a:lnTo>
                        <a:pt x="1758" y="156"/>
                      </a:lnTo>
                      <a:lnTo>
                        <a:pt x="1761" y="156"/>
                      </a:lnTo>
                      <a:lnTo>
                        <a:pt x="1764" y="154"/>
                      </a:lnTo>
                      <a:lnTo>
                        <a:pt x="1769" y="159"/>
                      </a:lnTo>
                      <a:lnTo>
                        <a:pt x="1772" y="165"/>
                      </a:lnTo>
                      <a:lnTo>
                        <a:pt x="1777" y="168"/>
                      </a:lnTo>
                      <a:lnTo>
                        <a:pt x="1789" y="171"/>
                      </a:lnTo>
                      <a:lnTo>
                        <a:pt x="1794" y="171"/>
                      </a:lnTo>
                      <a:lnTo>
                        <a:pt x="1799" y="173"/>
                      </a:lnTo>
                      <a:lnTo>
                        <a:pt x="1805" y="176"/>
                      </a:lnTo>
                      <a:lnTo>
                        <a:pt x="1807" y="179"/>
                      </a:lnTo>
                      <a:lnTo>
                        <a:pt x="1807" y="184"/>
                      </a:lnTo>
                      <a:lnTo>
                        <a:pt x="1805" y="190"/>
                      </a:lnTo>
                      <a:lnTo>
                        <a:pt x="1802" y="201"/>
                      </a:lnTo>
                      <a:lnTo>
                        <a:pt x="1805" y="212"/>
                      </a:lnTo>
                      <a:lnTo>
                        <a:pt x="1805" y="220"/>
                      </a:lnTo>
                      <a:lnTo>
                        <a:pt x="1807" y="225"/>
                      </a:lnTo>
                      <a:lnTo>
                        <a:pt x="1810" y="228"/>
                      </a:lnTo>
                      <a:lnTo>
                        <a:pt x="1815" y="228"/>
                      </a:lnTo>
                      <a:lnTo>
                        <a:pt x="1819" y="234"/>
                      </a:lnTo>
                      <a:lnTo>
                        <a:pt x="1815" y="242"/>
                      </a:lnTo>
                      <a:lnTo>
                        <a:pt x="1822" y="248"/>
                      </a:lnTo>
                      <a:lnTo>
                        <a:pt x="1819" y="253"/>
                      </a:lnTo>
                      <a:lnTo>
                        <a:pt x="1813" y="261"/>
                      </a:lnTo>
                      <a:lnTo>
                        <a:pt x="1813" y="264"/>
                      </a:lnTo>
                      <a:lnTo>
                        <a:pt x="1815" y="268"/>
                      </a:lnTo>
                      <a:lnTo>
                        <a:pt x="1835" y="281"/>
                      </a:lnTo>
                      <a:lnTo>
                        <a:pt x="1838" y="281"/>
                      </a:lnTo>
                      <a:lnTo>
                        <a:pt x="1841" y="276"/>
                      </a:lnTo>
                      <a:lnTo>
                        <a:pt x="1833" y="268"/>
                      </a:lnTo>
                      <a:lnTo>
                        <a:pt x="1833" y="261"/>
                      </a:lnTo>
                      <a:lnTo>
                        <a:pt x="1835" y="259"/>
                      </a:lnTo>
                      <a:lnTo>
                        <a:pt x="1841" y="256"/>
                      </a:lnTo>
                      <a:lnTo>
                        <a:pt x="1843" y="253"/>
                      </a:lnTo>
                      <a:lnTo>
                        <a:pt x="1855" y="256"/>
                      </a:lnTo>
                      <a:lnTo>
                        <a:pt x="1860" y="261"/>
                      </a:lnTo>
                      <a:lnTo>
                        <a:pt x="1871" y="261"/>
                      </a:lnTo>
                      <a:lnTo>
                        <a:pt x="1876" y="261"/>
                      </a:lnTo>
                      <a:lnTo>
                        <a:pt x="1879" y="270"/>
                      </a:lnTo>
                      <a:lnTo>
                        <a:pt x="1882" y="276"/>
                      </a:lnTo>
                      <a:lnTo>
                        <a:pt x="1882" y="281"/>
                      </a:lnTo>
                      <a:lnTo>
                        <a:pt x="1874" y="281"/>
                      </a:lnTo>
                      <a:lnTo>
                        <a:pt x="1871" y="284"/>
                      </a:lnTo>
                      <a:lnTo>
                        <a:pt x="1879" y="289"/>
                      </a:lnTo>
                      <a:lnTo>
                        <a:pt x="1884" y="297"/>
                      </a:lnTo>
                      <a:lnTo>
                        <a:pt x="1882" y="303"/>
                      </a:lnTo>
                      <a:lnTo>
                        <a:pt x="1884" y="309"/>
                      </a:lnTo>
                      <a:lnTo>
                        <a:pt x="1891" y="311"/>
                      </a:lnTo>
                      <a:lnTo>
                        <a:pt x="1893" y="314"/>
                      </a:lnTo>
                      <a:lnTo>
                        <a:pt x="1891" y="319"/>
                      </a:lnTo>
                      <a:lnTo>
                        <a:pt x="1891" y="322"/>
                      </a:lnTo>
                      <a:lnTo>
                        <a:pt x="1902" y="350"/>
                      </a:lnTo>
                      <a:lnTo>
                        <a:pt x="1912" y="353"/>
                      </a:lnTo>
                      <a:lnTo>
                        <a:pt x="1924" y="347"/>
                      </a:lnTo>
                      <a:lnTo>
                        <a:pt x="1932" y="347"/>
                      </a:lnTo>
                      <a:lnTo>
                        <a:pt x="1940" y="347"/>
                      </a:lnTo>
                      <a:lnTo>
                        <a:pt x="1945" y="358"/>
                      </a:lnTo>
                      <a:lnTo>
                        <a:pt x="1951" y="361"/>
                      </a:lnTo>
                      <a:lnTo>
                        <a:pt x="1957" y="369"/>
                      </a:lnTo>
                      <a:lnTo>
                        <a:pt x="1957" y="378"/>
                      </a:lnTo>
                      <a:lnTo>
                        <a:pt x="1960" y="380"/>
                      </a:lnTo>
                      <a:lnTo>
                        <a:pt x="1963" y="378"/>
                      </a:lnTo>
                      <a:lnTo>
                        <a:pt x="1979" y="383"/>
                      </a:lnTo>
                      <a:lnTo>
                        <a:pt x="1984" y="380"/>
                      </a:lnTo>
                      <a:lnTo>
                        <a:pt x="1993" y="380"/>
                      </a:lnTo>
                      <a:lnTo>
                        <a:pt x="1993" y="375"/>
                      </a:lnTo>
                      <a:lnTo>
                        <a:pt x="2001" y="375"/>
                      </a:lnTo>
                      <a:lnTo>
                        <a:pt x="2009" y="369"/>
                      </a:lnTo>
                      <a:lnTo>
                        <a:pt x="2009" y="361"/>
                      </a:lnTo>
                      <a:lnTo>
                        <a:pt x="2009" y="358"/>
                      </a:lnTo>
                      <a:lnTo>
                        <a:pt x="2012" y="355"/>
                      </a:lnTo>
                      <a:lnTo>
                        <a:pt x="2009" y="350"/>
                      </a:lnTo>
                      <a:lnTo>
                        <a:pt x="2012" y="345"/>
                      </a:lnTo>
                      <a:lnTo>
                        <a:pt x="2017" y="339"/>
                      </a:lnTo>
                      <a:lnTo>
                        <a:pt x="2017" y="325"/>
                      </a:lnTo>
                      <a:lnTo>
                        <a:pt x="2020" y="319"/>
                      </a:lnTo>
                      <a:lnTo>
                        <a:pt x="2023" y="319"/>
                      </a:lnTo>
                      <a:lnTo>
                        <a:pt x="2032" y="325"/>
                      </a:lnTo>
                      <a:lnTo>
                        <a:pt x="2040" y="325"/>
                      </a:lnTo>
                      <a:lnTo>
                        <a:pt x="2045" y="328"/>
                      </a:lnTo>
                      <a:lnTo>
                        <a:pt x="2050" y="322"/>
                      </a:lnTo>
                      <a:lnTo>
                        <a:pt x="2050" y="319"/>
                      </a:lnTo>
                      <a:lnTo>
                        <a:pt x="2056" y="317"/>
                      </a:lnTo>
                      <a:lnTo>
                        <a:pt x="2056" y="314"/>
                      </a:lnTo>
                      <a:lnTo>
                        <a:pt x="2059" y="311"/>
                      </a:lnTo>
                      <a:lnTo>
                        <a:pt x="2056" y="309"/>
                      </a:lnTo>
                      <a:lnTo>
                        <a:pt x="2059" y="303"/>
                      </a:lnTo>
                      <a:lnTo>
                        <a:pt x="2065" y="303"/>
                      </a:lnTo>
                      <a:lnTo>
                        <a:pt x="2070" y="301"/>
                      </a:lnTo>
                      <a:lnTo>
                        <a:pt x="2073" y="309"/>
                      </a:lnTo>
                      <a:lnTo>
                        <a:pt x="2075" y="311"/>
                      </a:lnTo>
                      <a:lnTo>
                        <a:pt x="2086" y="309"/>
                      </a:lnTo>
                      <a:lnTo>
                        <a:pt x="2095" y="311"/>
                      </a:lnTo>
                      <a:lnTo>
                        <a:pt x="2098" y="314"/>
                      </a:lnTo>
                      <a:lnTo>
                        <a:pt x="2103" y="317"/>
                      </a:lnTo>
                      <a:lnTo>
                        <a:pt x="2106" y="319"/>
                      </a:lnTo>
                      <a:lnTo>
                        <a:pt x="2103" y="328"/>
                      </a:lnTo>
                      <a:lnTo>
                        <a:pt x="2106" y="330"/>
                      </a:lnTo>
                      <a:lnTo>
                        <a:pt x="2114" y="347"/>
                      </a:lnTo>
                      <a:lnTo>
                        <a:pt x="2119" y="347"/>
                      </a:lnTo>
                      <a:lnTo>
                        <a:pt x="2122" y="347"/>
                      </a:lnTo>
                      <a:lnTo>
                        <a:pt x="2125" y="350"/>
                      </a:lnTo>
                      <a:lnTo>
                        <a:pt x="2128" y="350"/>
                      </a:lnTo>
                      <a:lnTo>
                        <a:pt x="2139" y="355"/>
                      </a:lnTo>
                      <a:lnTo>
                        <a:pt x="2142" y="355"/>
                      </a:lnTo>
                      <a:lnTo>
                        <a:pt x="2147" y="355"/>
                      </a:lnTo>
                      <a:lnTo>
                        <a:pt x="2147" y="358"/>
                      </a:lnTo>
                      <a:lnTo>
                        <a:pt x="2147" y="361"/>
                      </a:lnTo>
                      <a:lnTo>
                        <a:pt x="2150" y="363"/>
                      </a:lnTo>
                      <a:lnTo>
                        <a:pt x="2152" y="375"/>
                      </a:lnTo>
                      <a:lnTo>
                        <a:pt x="2160" y="383"/>
                      </a:lnTo>
                      <a:lnTo>
                        <a:pt x="2164" y="391"/>
                      </a:lnTo>
                      <a:lnTo>
                        <a:pt x="2170" y="397"/>
                      </a:lnTo>
                      <a:lnTo>
                        <a:pt x="2160" y="408"/>
                      </a:lnTo>
                      <a:lnTo>
                        <a:pt x="2158" y="411"/>
                      </a:lnTo>
                      <a:lnTo>
                        <a:pt x="2147" y="432"/>
                      </a:lnTo>
                      <a:lnTo>
                        <a:pt x="2144" y="441"/>
                      </a:lnTo>
                      <a:lnTo>
                        <a:pt x="2144" y="450"/>
                      </a:lnTo>
                      <a:lnTo>
                        <a:pt x="2139" y="455"/>
                      </a:lnTo>
                      <a:lnTo>
                        <a:pt x="2139" y="460"/>
                      </a:lnTo>
                      <a:lnTo>
                        <a:pt x="2136" y="460"/>
                      </a:lnTo>
                      <a:lnTo>
                        <a:pt x="2134" y="468"/>
                      </a:lnTo>
                      <a:lnTo>
                        <a:pt x="2134" y="474"/>
                      </a:lnTo>
                      <a:lnTo>
                        <a:pt x="2134" y="480"/>
                      </a:lnTo>
                      <a:lnTo>
                        <a:pt x="2134" y="485"/>
                      </a:lnTo>
                      <a:lnTo>
                        <a:pt x="2139" y="493"/>
                      </a:lnTo>
                      <a:lnTo>
                        <a:pt x="2142" y="496"/>
                      </a:lnTo>
                      <a:lnTo>
                        <a:pt x="2144" y="504"/>
                      </a:lnTo>
                      <a:lnTo>
                        <a:pt x="2147" y="507"/>
                      </a:lnTo>
                      <a:lnTo>
                        <a:pt x="2147" y="513"/>
                      </a:lnTo>
                      <a:lnTo>
                        <a:pt x="2147" y="516"/>
                      </a:lnTo>
                      <a:lnTo>
                        <a:pt x="2144" y="529"/>
                      </a:lnTo>
                      <a:lnTo>
                        <a:pt x="2147" y="535"/>
                      </a:lnTo>
                      <a:lnTo>
                        <a:pt x="2144" y="537"/>
                      </a:lnTo>
                      <a:lnTo>
                        <a:pt x="2142" y="535"/>
                      </a:lnTo>
                      <a:lnTo>
                        <a:pt x="2134" y="532"/>
                      </a:lnTo>
                      <a:lnTo>
                        <a:pt x="2125" y="532"/>
                      </a:lnTo>
                      <a:lnTo>
                        <a:pt x="2119" y="535"/>
                      </a:lnTo>
                      <a:lnTo>
                        <a:pt x="2117" y="540"/>
                      </a:lnTo>
                      <a:lnTo>
                        <a:pt x="2103" y="540"/>
                      </a:lnTo>
                      <a:lnTo>
                        <a:pt x="2103" y="543"/>
                      </a:lnTo>
                      <a:lnTo>
                        <a:pt x="2103" y="549"/>
                      </a:lnTo>
                      <a:lnTo>
                        <a:pt x="2106" y="552"/>
                      </a:lnTo>
                      <a:lnTo>
                        <a:pt x="2111" y="549"/>
                      </a:lnTo>
                      <a:lnTo>
                        <a:pt x="2111" y="552"/>
                      </a:lnTo>
                      <a:lnTo>
                        <a:pt x="2109" y="560"/>
                      </a:lnTo>
                      <a:lnTo>
                        <a:pt x="2111" y="565"/>
                      </a:lnTo>
                      <a:lnTo>
                        <a:pt x="2109" y="568"/>
                      </a:lnTo>
                      <a:lnTo>
                        <a:pt x="2106" y="573"/>
                      </a:lnTo>
                      <a:lnTo>
                        <a:pt x="2106" y="576"/>
                      </a:lnTo>
                      <a:lnTo>
                        <a:pt x="2106" y="585"/>
                      </a:lnTo>
                      <a:lnTo>
                        <a:pt x="2111" y="582"/>
                      </a:lnTo>
                      <a:lnTo>
                        <a:pt x="2111" y="585"/>
                      </a:lnTo>
                      <a:lnTo>
                        <a:pt x="2117" y="587"/>
                      </a:lnTo>
                      <a:lnTo>
                        <a:pt x="2125" y="587"/>
                      </a:lnTo>
                      <a:lnTo>
                        <a:pt x="2131" y="593"/>
                      </a:lnTo>
                      <a:lnTo>
                        <a:pt x="2136" y="596"/>
                      </a:lnTo>
                      <a:lnTo>
                        <a:pt x="2131" y="598"/>
                      </a:lnTo>
                      <a:lnTo>
                        <a:pt x="2136" y="606"/>
                      </a:lnTo>
                      <a:lnTo>
                        <a:pt x="2134" y="609"/>
                      </a:lnTo>
                      <a:lnTo>
                        <a:pt x="2134" y="615"/>
                      </a:lnTo>
                      <a:lnTo>
                        <a:pt x="2131" y="615"/>
                      </a:lnTo>
                      <a:lnTo>
                        <a:pt x="2122" y="623"/>
                      </a:lnTo>
                      <a:lnTo>
                        <a:pt x="2125" y="626"/>
                      </a:lnTo>
                      <a:lnTo>
                        <a:pt x="2125" y="629"/>
                      </a:lnTo>
                      <a:lnTo>
                        <a:pt x="2128" y="631"/>
                      </a:lnTo>
                      <a:lnTo>
                        <a:pt x="2131" y="634"/>
                      </a:lnTo>
                      <a:lnTo>
                        <a:pt x="2147" y="642"/>
                      </a:lnTo>
                      <a:lnTo>
                        <a:pt x="2136" y="645"/>
                      </a:lnTo>
                      <a:lnTo>
                        <a:pt x="2136" y="647"/>
                      </a:lnTo>
                      <a:lnTo>
                        <a:pt x="2144" y="656"/>
                      </a:lnTo>
                      <a:lnTo>
                        <a:pt x="2150" y="654"/>
                      </a:lnTo>
                      <a:lnTo>
                        <a:pt x="2150" y="659"/>
                      </a:lnTo>
                      <a:lnTo>
                        <a:pt x="2152" y="659"/>
                      </a:lnTo>
                      <a:lnTo>
                        <a:pt x="2152" y="670"/>
                      </a:lnTo>
                      <a:lnTo>
                        <a:pt x="2155" y="670"/>
                      </a:lnTo>
                      <a:lnTo>
                        <a:pt x="2155" y="673"/>
                      </a:lnTo>
                      <a:lnTo>
                        <a:pt x="2158" y="673"/>
                      </a:lnTo>
                      <a:lnTo>
                        <a:pt x="2158" y="675"/>
                      </a:lnTo>
                      <a:lnTo>
                        <a:pt x="2155" y="690"/>
                      </a:lnTo>
                      <a:lnTo>
                        <a:pt x="2158" y="695"/>
                      </a:lnTo>
                      <a:lnTo>
                        <a:pt x="2160" y="695"/>
                      </a:lnTo>
                      <a:lnTo>
                        <a:pt x="2164" y="692"/>
                      </a:lnTo>
                      <a:lnTo>
                        <a:pt x="2164" y="695"/>
                      </a:lnTo>
                      <a:lnTo>
                        <a:pt x="2167" y="695"/>
                      </a:lnTo>
                      <a:lnTo>
                        <a:pt x="2164" y="698"/>
                      </a:lnTo>
                      <a:lnTo>
                        <a:pt x="2158" y="708"/>
                      </a:lnTo>
                      <a:lnTo>
                        <a:pt x="2152" y="708"/>
                      </a:lnTo>
                      <a:lnTo>
                        <a:pt x="2155" y="716"/>
                      </a:lnTo>
                      <a:lnTo>
                        <a:pt x="2155" y="723"/>
                      </a:lnTo>
                      <a:lnTo>
                        <a:pt x="2147" y="725"/>
                      </a:lnTo>
                      <a:lnTo>
                        <a:pt x="2144" y="731"/>
                      </a:lnTo>
                      <a:lnTo>
                        <a:pt x="2139" y="731"/>
                      </a:lnTo>
                      <a:lnTo>
                        <a:pt x="2136" y="728"/>
                      </a:lnTo>
                      <a:lnTo>
                        <a:pt x="2125" y="733"/>
                      </a:lnTo>
                      <a:lnTo>
                        <a:pt x="2128" y="736"/>
                      </a:lnTo>
                      <a:lnTo>
                        <a:pt x="2134" y="736"/>
                      </a:lnTo>
                      <a:lnTo>
                        <a:pt x="2144" y="742"/>
                      </a:lnTo>
                      <a:lnTo>
                        <a:pt x="2144" y="750"/>
                      </a:lnTo>
                      <a:lnTo>
                        <a:pt x="2136" y="761"/>
                      </a:lnTo>
                      <a:lnTo>
                        <a:pt x="2142" y="764"/>
                      </a:lnTo>
                      <a:lnTo>
                        <a:pt x="2147" y="767"/>
                      </a:lnTo>
                      <a:lnTo>
                        <a:pt x="2147" y="769"/>
                      </a:lnTo>
                      <a:lnTo>
                        <a:pt x="2144" y="775"/>
                      </a:lnTo>
                      <a:lnTo>
                        <a:pt x="2150" y="777"/>
                      </a:lnTo>
                      <a:lnTo>
                        <a:pt x="2150" y="785"/>
                      </a:lnTo>
                      <a:lnTo>
                        <a:pt x="2152" y="794"/>
                      </a:lnTo>
                      <a:lnTo>
                        <a:pt x="2152" y="797"/>
                      </a:lnTo>
                      <a:lnTo>
                        <a:pt x="2152" y="805"/>
                      </a:lnTo>
                      <a:lnTo>
                        <a:pt x="2147" y="811"/>
                      </a:lnTo>
                      <a:lnTo>
                        <a:pt x="2147" y="821"/>
                      </a:lnTo>
                      <a:lnTo>
                        <a:pt x="2144" y="825"/>
                      </a:lnTo>
                      <a:lnTo>
                        <a:pt x="2147" y="828"/>
                      </a:lnTo>
                      <a:lnTo>
                        <a:pt x="2147" y="830"/>
                      </a:lnTo>
                      <a:lnTo>
                        <a:pt x="2144" y="830"/>
                      </a:lnTo>
                      <a:lnTo>
                        <a:pt x="2142" y="836"/>
                      </a:lnTo>
                      <a:lnTo>
                        <a:pt x="2144" y="838"/>
                      </a:lnTo>
                      <a:lnTo>
                        <a:pt x="2144" y="846"/>
                      </a:lnTo>
                      <a:lnTo>
                        <a:pt x="2139" y="849"/>
                      </a:lnTo>
                      <a:lnTo>
                        <a:pt x="2139" y="852"/>
                      </a:lnTo>
                      <a:lnTo>
                        <a:pt x="2134" y="866"/>
                      </a:lnTo>
                      <a:lnTo>
                        <a:pt x="2125" y="872"/>
                      </a:lnTo>
                      <a:lnTo>
                        <a:pt x="2125" y="874"/>
                      </a:lnTo>
                      <a:lnTo>
                        <a:pt x="2122" y="877"/>
                      </a:lnTo>
                      <a:lnTo>
                        <a:pt x="2125" y="885"/>
                      </a:lnTo>
                      <a:lnTo>
                        <a:pt x="2122" y="885"/>
                      </a:lnTo>
                      <a:lnTo>
                        <a:pt x="2122" y="890"/>
                      </a:lnTo>
                      <a:lnTo>
                        <a:pt x="2119" y="897"/>
                      </a:lnTo>
                      <a:lnTo>
                        <a:pt x="2119" y="902"/>
                      </a:lnTo>
                      <a:lnTo>
                        <a:pt x="2117" y="915"/>
                      </a:lnTo>
                      <a:lnTo>
                        <a:pt x="2117" y="918"/>
                      </a:lnTo>
                      <a:lnTo>
                        <a:pt x="2125" y="918"/>
                      </a:lnTo>
                      <a:lnTo>
                        <a:pt x="2125" y="921"/>
                      </a:lnTo>
                      <a:lnTo>
                        <a:pt x="2134" y="923"/>
                      </a:lnTo>
                      <a:lnTo>
                        <a:pt x="2134" y="926"/>
                      </a:lnTo>
                      <a:lnTo>
                        <a:pt x="2134" y="932"/>
                      </a:lnTo>
                      <a:lnTo>
                        <a:pt x="2136" y="935"/>
                      </a:lnTo>
                      <a:lnTo>
                        <a:pt x="2125" y="938"/>
                      </a:lnTo>
                      <a:lnTo>
                        <a:pt x="2125" y="943"/>
                      </a:lnTo>
                      <a:lnTo>
                        <a:pt x="2125" y="946"/>
                      </a:lnTo>
                      <a:lnTo>
                        <a:pt x="2125" y="954"/>
                      </a:lnTo>
                      <a:lnTo>
                        <a:pt x="2128" y="959"/>
                      </a:lnTo>
                      <a:lnTo>
                        <a:pt x="2134" y="968"/>
                      </a:lnTo>
                      <a:lnTo>
                        <a:pt x="2139" y="976"/>
                      </a:lnTo>
                      <a:lnTo>
                        <a:pt x="2134" y="979"/>
                      </a:lnTo>
                      <a:lnTo>
                        <a:pt x="2136" y="984"/>
                      </a:lnTo>
                      <a:lnTo>
                        <a:pt x="2139" y="984"/>
                      </a:lnTo>
                      <a:lnTo>
                        <a:pt x="2142" y="990"/>
                      </a:lnTo>
                      <a:lnTo>
                        <a:pt x="2147" y="990"/>
                      </a:lnTo>
                      <a:lnTo>
                        <a:pt x="2150" y="990"/>
                      </a:lnTo>
                      <a:lnTo>
                        <a:pt x="2152" y="999"/>
                      </a:lnTo>
                      <a:lnTo>
                        <a:pt x="2155" y="999"/>
                      </a:lnTo>
                      <a:lnTo>
                        <a:pt x="2155" y="1010"/>
                      </a:lnTo>
                      <a:lnTo>
                        <a:pt x="2158" y="1015"/>
                      </a:lnTo>
                      <a:lnTo>
                        <a:pt x="2160" y="1015"/>
                      </a:lnTo>
                      <a:lnTo>
                        <a:pt x="2164" y="1018"/>
                      </a:lnTo>
                      <a:lnTo>
                        <a:pt x="2170" y="1020"/>
                      </a:lnTo>
                      <a:lnTo>
                        <a:pt x="2167" y="1023"/>
                      </a:lnTo>
                      <a:lnTo>
                        <a:pt x="2167" y="1026"/>
                      </a:lnTo>
                      <a:lnTo>
                        <a:pt x="2170" y="1026"/>
                      </a:lnTo>
                      <a:lnTo>
                        <a:pt x="2172" y="1026"/>
                      </a:lnTo>
                      <a:lnTo>
                        <a:pt x="2170" y="1040"/>
                      </a:lnTo>
                      <a:lnTo>
                        <a:pt x="2167" y="1043"/>
                      </a:lnTo>
                      <a:lnTo>
                        <a:pt x="2170" y="1045"/>
                      </a:lnTo>
                      <a:lnTo>
                        <a:pt x="2164" y="1056"/>
                      </a:lnTo>
                      <a:lnTo>
                        <a:pt x="2164" y="1073"/>
                      </a:lnTo>
                      <a:lnTo>
                        <a:pt x="2170" y="1078"/>
                      </a:lnTo>
                      <a:lnTo>
                        <a:pt x="2170" y="1084"/>
                      </a:lnTo>
                      <a:lnTo>
                        <a:pt x="2164" y="1089"/>
                      </a:lnTo>
                      <a:lnTo>
                        <a:pt x="2167" y="1097"/>
                      </a:lnTo>
                      <a:lnTo>
                        <a:pt x="2164" y="1100"/>
                      </a:lnTo>
                      <a:lnTo>
                        <a:pt x="2167" y="1106"/>
                      </a:lnTo>
                      <a:lnTo>
                        <a:pt x="2160" y="1114"/>
                      </a:lnTo>
                      <a:lnTo>
                        <a:pt x="2164" y="1117"/>
                      </a:lnTo>
                      <a:lnTo>
                        <a:pt x="2164" y="1120"/>
                      </a:lnTo>
                      <a:lnTo>
                        <a:pt x="2164" y="1125"/>
                      </a:lnTo>
                      <a:lnTo>
                        <a:pt x="2164" y="1130"/>
                      </a:lnTo>
                      <a:lnTo>
                        <a:pt x="2164" y="1133"/>
                      </a:lnTo>
                      <a:lnTo>
                        <a:pt x="2160" y="1133"/>
                      </a:lnTo>
                      <a:lnTo>
                        <a:pt x="2158" y="1136"/>
                      </a:lnTo>
                      <a:lnTo>
                        <a:pt x="2158" y="1145"/>
                      </a:lnTo>
                      <a:lnTo>
                        <a:pt x="2164" y="1150"/>
                      </a:lnTo>
                      <a:lnTo>
                        <a:pt x="2167" y="1150"/>
                      </a:lnTo>
                      <a:lnTo>
                        <a:pt x="2167" y="1153"/>
                      </a:lnTo>
                      <a:lnTo>
                        <a:pt x="2160" y="1156"/>
                      </a:lnTo>
                      <a:lnTo>
                        <a:pt x="2160" y="1158"/>
                      </a:lnTo>
                      <a:lnTo>
                        <a:pt x="2164" y="1164"/>
                      </a:lnTo>
                      <a:lnTo>
                        <a:pt x="2164" y="1169"/>
                      </a:lnTo>
                      <a:lnTo>
                        <a:pt x="2167" y="1172"/>
                      </a:lnTo>
                      <a:lnTo>
                        <a:pt x="2164" y="1181"/>
                      </a:lnTo>
                      <a:lnTo>
                        <a:pt x="2167" y="1186"/>
                      </a:lnTo>
                      <a:lnTo>
                        <a:pt x="2160" y="1186"/>
                      </a:lnTo>
                      <a:lnTo>
                        <a:pt x="2160" y="1183"/>
                      </a:lnTo>
                      <a:lnTo>
                        <a:pt x="2158" y="1181"/>
                      </a:lnTo>
                      <a:lnTo>
                        <a:pt x="2158" y="1178"/>
                      </a:lnTo>
                      <a:lnTo>
                        <a:pt x="2155" y="1181"/>
                      </a:lnTo>
                      <a:lnTo>
                        <a:pt x="2152" y="1183"/>
                      </a:lnTo>
                      <a:lnTo>
                        <a:pt x="2155" y="1189"/>
                      </a:lnTo>
                      <a:lnTo>
                        <a:pt x="2152" y="1194"/>
                      </a:lnTo>
                      <a:lnTo>
                        <a:pt x="2152" y="1202"/>
                      </a:lnTo>
                      <a:lnTo>
                        <a:pt x="2147" y="1205"/>
                      </a:lnTo>
                      <a:lnTo>
                        <a:pt x="2147" y="1211"/>
                      </a:lnTo>
                      <a:lnTo>
                        <a:pt x="2147" y="1222"/>
                      </a:lnTo>
                      <a:lnTo>
                        <a:pt x="2144" y="1222"/>
                      </a:lnTo>
                      <a:lnTo>
                        <a:pt x="2147" y="1225"/>
                      </a:lnTo>
                      <a:lnTo>
                        <a:pt x="2147" y="1230"/>
                      </a:lnTo>
                      <a:lnTo>
                        <a:pt x="2150" y="1230"/>
                      </a:lnTo>
                      <a:lnTo>
                        <a:pt x="2150" y="1235"/>
                      </a:lnTo>
                      <a:lnTo>
                        <a:pt x="2147" y="1244"/>
                      </a:lnTo>
                      <a:lnTo>
                        <a:pt x="2147" y="1250"/>
                      </a:lnTo>
                      <a:lnTo>
                        <a:pt x="2144" y="1252"/>
                      </a:lnTo>
                      <a:lnTo>
                        <a:pt x="2144" y="1260"/>
                      </a:lnTo>
                      <a:lnTo>
                        <a:pt x="2142" y="1260"/>
                      </a:lnTo>
                      <a:lnTo>
                        <a:pt x="2136" y="1260"/>
                      </a:lnTo>
                      <a:lnTo>
                        <a:pt x="2136" y="1263"/>
                      </a:lnTo>
                      <a:lnTo>
                        <a:pt x="2186" y="1266"/>
                      </a:lnTo>
                      <a:lnTo>
                        <a:pt x="2359" y="1266"/>
                      </a:lnTo>
                      <a:lnTo>
                        <a:pt x="2581" y="1266"/>
                      </a:lnTo>
                      <a:lnTo>
                        <a:pt x="2584" y="1266"/>
                      </a:lnTo>
                      <a:lnTo>
                        <a:pt x="2584" y="1274"/>
                      </a:lnTo>
                      <a:lnTo>
                        <a:pt x="2586" y="1276"/>
                      </a:lnTo>
                      <a:lnTo>
                        <a:pt x="2589" y="1276"/>
                      </a:lnTo>
                      <a:lnTo>
                        <a:pt x="2586" y="1288"/>
                      </a:lnTo>
                      <a:lnTo>
                        <a:pt x="2589" y="1288"/>
                      </a:lnTo>
                      <a:lnTo>
                        <a:pt x="2592" y="1285"/>
                      </a:lnTo>
                      <a:lnTo>
                        <a:pt x="2597" y="1288"/>
                      </a:lnTo>
                      <a:lnTo>
                        <a:pt x="2600" y="1291"/>
                      </a:lnTo>
                      <a:lnTo>
                        <a:pt x="2597" y="1299"/>
                      </a:lnTo>
                      <a:lnTo>
                        <a:pt x="2600" y="1299"/>
                      </a:lnTo>
                      <a:lnTo>
                        <a:pt x="2602" y="1299"/>
                      </a:lnTo>
                      <a:lnTo>
                        <a:pt x="2602" y="1302"/>
                      </a:lnTo>
                      <a:lnTo>
                        <a:pt x="2605" y="1304"/>
                      </a:lnTo>
                      <a:lnTo>
                        <a:pt x="2605" y="1307"/>
                      </a:lnTo>
                      <a:lnTo>
                        <a:pt x="2609" y="1310"/>
                      </a:lnTo>
                      <a:lnTo>
                        <a:pt x="2611" y="1310"/>
                      </a:lnTo>
                      <a:lnTo>
                        <a:pt x="2614" y="1310"/>
                      </a:lnTo>
                      <a:lnTo>
                        <a:pt x="2617" y="1310"/>
                      </a:lnTo>
                      <a:lnTo>
                        <a:pt x="2625" y="1316"/>
                      </a:lnTo>
                      <a:lnTo>
                        <a:pt x="2627" y="1313"/>
                      </a:lnTo>
                      <a:lnTo>
                        <a:pt x="2625" y="1313"/>
                      </a:lnTo>
                      <a:lnTo>
                        <a:pt x="2627" y="1304"/>
                      </a:lnTo>
                      <a:lnTo>
                        <a:pt x="2625" y="1302"/>
                      </a:lnTo>
                      <a:lnTo>
                        <a:pt x="2630" y="1304"/>
                      </a:lnTo>
                      <a:lnTo>
                        <a:pt x="2638" y="1296"/>
                      </a:lnTo>
                      <a:lnTo>
                        <a:pt x="2641" y="1296"/>
                      </a:lnTo>
                      <a:lnTo>
                        <a:pt x="2644" y="1293"/>
                      </a:lnTo>
                      <a:lnTo>
                        <a:pt x="2647" y="1296"/>
                      </a:lnTo>
                      <a:lnTo>
                        <a:pt x="2650" y="1296"/>
                      </a:lnTo>
                      <a:lnTo>
                        <a:pt x="2653" y="1296"/>
                      </a:lnTo>
                      <a:lnTo>
                        <a:pt x="2653" y="1299"/>
                      </a:lnTo>
                      <a:lnTo>
                        <a:pt x="2653" y="1304"/>
                      </a:lnTo>
                      <a:lnTo>
                        <a:pt x="2653" y="1307"/>
                      </a:lnTo>
                      <a:lnTo>
                        <a:pt x="2655" y="1310"/>
                      </a:lnTo>
                      <a:lnTo>
                        <a:pt x="2658" y="1310"/>
                      </a:lnTo>
                      <a:lnTo>
                        <a:pt x="2666" y="1310"/>
                      </a:lnTo>
                      <a:lnTo>
                        <a:pt x="2669" y="1310"/>
                      </a:lnTo>
                      <a:lnTo>
                        <a:pt x="2674" y="1313"/>
                      </a:lnTo>
                      <a:lnTo>
                        <a:pt x="2680" y="1316"/>
                      </a:lnTo>
                      <a:lnTo>
                        <a:pt x="2683" y="1316"/>
                      </a:lnTo>
                      <a:lnTo>
                        <a:pt x="2688" y="1319"/>
                      </a:lnTo>
                      <a:lnTo>
                        <a:pt x="2691" y="1313"/>
                      </a:lnTo>
                      <a:lnTo>
                        <a:pt x="2694" y="1313"/>
                      </a:lnTo>
                      <a:lnTo>
                        <a:pt x="2702" y="1310"/>
                      </a:lnTo>
                      <a:lnTo>
                        <a:pt x="2704" y="1313"/>
                      </a:lnTo>
                      <a:lnTo>
                        <a:pt x="2707" y="1316"/>
                      </a:lnTo>
                      <a:lnTo>
                        <a:pt x="2713" y="1313"/>
                      </a:lnTo>
                      <a:lnTo>
                        <a:pt x="2719" y="1316"/>
                      </a:lnTo>
                      <a:lnTo>
                        <a:pt x="2721" y="1313"/>
                      </a:lnTo>
                      <a:lnTo>
                        <a:pt x="2724" y="1316"/>
                      </a:lnTo>
                      <a:lnTo>
                        <a:pt x="2727" y="1316"/>
                      </a:lnTo>
                      <a:lnTo>
                        <a:pt x="2730" y="1316"/>
                      </a:lnTo>
                      <a:lnTo>
                        <a:pt x="2730" y="1313"/>
                      </a:lnTo>
                      <a:lnTo>
                        <a:pt x="2732" y="1310"/>
                      </a:lnTo>
                      <a:lnTo>
                        <a:pt x="2735" y="1313"/>
                      </a:lnTo>
                      <a:lnTo>
                        <a:pt x="2738" y="1324"/>
                      </a:lnTo>
                      <a:lnTo>
                        <a:pt x="2749" y="1321"/>
                      </a:lnTo>
                      <a:lnTo>
                        <a:pt x="2752" y="1319"/>
                      </a:lnTo>
                      <a:lnTo>
                        <a:pt x="2755" y="1324"/>
                      </a:lnTo>
                      <a:lnTo>
                        <a:pt x="2757" y="1324"/>
                      </a:lnTo>
                      <a:lnTo>
                        <a:pt x="2760" y="1319"/>
                      </a:lnTo>
                      <a:lnTo>
                        <a:pt x="2760" y="1321"/>
                      </a:lnTo>
                      <a:lnTo>
                        <a:pt x="2765" y="1321"/>
                      </a:lnTo>
                      <a:lnTo>
                        <a:pt x="2771" y="1321"/>
                      </a:lnTo>
                      <a:lnTo>
                        <a:pt x="2771" y="1319"/>
                      </a:lnTo>
                      <a:lnTo>
                        <a:pt x="2776" y="1321"/>
                      </a:lnTo>
                      <a:lnTo>
                        <a:pt x="2773" y="1329"/>
                      </a:lnTo>
                      <a:lnTo>
                        <a:pt x="2771" y="1327"/>
                      </a:lnTo>
                      <a:lnTo>
                        <a:pt x="2773" y="1332"/>
                      </a:lnTo>
                      <a:lnTo>
                        <a:pt x="2768" y="1332"/>
                      </a:lnTo>
                      <a:lnTo>
                        <a:pt x="2768" y="1335"/>
                      </a:lnTo>
                      <a:lnTo>
                        <a:pt x="2771" y="1337"/>
                      </a:lnTo>
                      <a:lnTo>
                        <a:pt x="2771" y="1340"/>
                      </a:lnTo>
                      <a:lnTo>
                        <a:pt x="2773" y="1345"/>
                      </a:lnTo>
                      <a:lnTo>
                        <a:pt x="2779" y="1345"/>
                      </a:lnTo>
                      <a:lnTo>
                        <a:pt x="2779" y="1349"/>
                      </a:lnTo>
                      <a:lnTo>
                        <a:pt x="2782" y="1349"/>
                      </a:lnTo>
                      <a:lnTo>
                        <a:pt x="2779" y="1352"/>
                      </a:lnTo>
                      <a:lnTo>
                        <a:pt x="2776" y="1355"/>
                      </a:lnTo>
                      <a:lnTo>
                        <a:pt x="2773" y="1355"/>
                      </a:lnTo>
                      <a:lnTo>
                        <a:pt x="2773" y="1360"/>
                      </a:lnTo>
                      <a:lnTo>
                        <a:pt x="2773" y="1368"/>
                      </a:lnTo>
                      <a:lnTo>
                        <a:pt x="2779" y="1376"/>
                      </a:lnTo>
                      <a:lnTo>
                        <a:pt x="2779" y="1381"/>
                      </a:lnTo>
                      <a:lnTo>
                        <a:pt x="2782" y="1388"/>
                      </a:lnTo>
                      <a:lnTo>
                        <a:pt x="2782" y="1393"/>
                      </a:lnTo>
                      <a:lnTo>
                        <a:pt x="2788" y="1398"/>
                      </a:lnTo>
                      <a:lnTo>
                        <a:pt x="2796" y="1401"/>
                      </a:lnTo>
                      <a:lnTo>
                        <a:pt x="2799" y="1409"/>
                      </a:lnTo>
                      <a:lnTo>
                        <a:pt x="2799" y="1414"/>
                      </a:lnTo>
                      <a:lnTo>
                        <a:pt x="2796" y="1418"/>
                      </a:lnTo>
                      <a:lnTo>
                        <a:pt x="2799" y="1418"/>
                      </a:lnTo>
                      <a:lnTo>
                        <a:pt x="2796" y="1421"/>
                      </a:lnTo>
                      <a:lnTo>
                        <a:pt x="2799" y="1429"/>
                      </a:lnTo>
                      <a:lnTo>
                        <a:pt x="2799" y="1434"/>
                      </a:lnTo>
                      <a:lnTo>
                        <a:pt x="2799" y="1437"/>
                      </a:lnTo>
                      <a:lnTo>
                        <a:pt x="2796" y="1442"/>
                      </a:lnTo>
                      <a:lnTo>
                        <a:pt x="2796" y="1445"/>
                      </a:lnTo>
                      <a:lnTo>
                        <a:pt x="2793" y="1448"/>
                      </a:lnTo>
                      <a:lnTo>
                        <a:pt x="2790" y="1448"/>
                      </a:lnTo>
                      <a:lnTo>
                        <a:pt x="2788" y="1450"/>
                      </a:lnTo>
                      <a:lnTo>
                        <a:pt x="2785" y="1454"/>
                      </a:lnTo>
                      <a:lnTo>
                        <a:pt x="2776" y="1454"/>
                      </a:lnTo>
                      <a:lnTo>
                        <a:pt x="2771" y="1467"/>
                      </a:lnTo>
                      <a:lnTo>
                        <a:pt x="2765" y="1470"/>
                      </a:lnTo>
                      <a:lnTo>
                        <a:pt x="2763" y="1473"/>
                      </a:lnTo>
                      <a:lnTo>
                        <a:pt x="2760" y="1475"/>
                      </a:lnTo>
                      <a:lnTo>
                        <a:pt x="2757" y="1478"/>
                      </a:lnTo>
                      <a:lnTo>
                        <a:pt x="2755" y="1475"/>
                      </a:lnTo>
                      <a:lnTo>
                        <a:pt x="2755" y="1478"/>
                      </a:lnTo>
                      <a:lnTo>
                        <a:pt x="2755" y="1481"/>
                      </a:lnTo>
                      <a:lnTo>
                        <a:pt x="2749" y="1486"/>
                      </a:lnTo>
                      <a:lnTo>
                        <a:pt x="2743" y="1495"/>
                      </a:lnTo>
                      <a:lnTo>
                        <a:pt x="2743" y="1498"/>
                      </a:lnTo>
                      <a:lnTo>
                        <a:pt x="2735" y="1501"/>
                      </a:lnTo>
                      <a:lnTo>
                        <a:pt x="2735" y="1503"/>
                      </a:lnTo>
                      <a:lnTo>
                        <a:pt x="2732" y="1503"/>
                      </a:lnTo>
                      <a:lnTo>
                        <a:pt x="2730" y="1506"/>
                      </a:lnTo>
                      <a:lnTo>
                        <a:pt x="2730" y="1503"/>
                      </a:lnTo>
                      <a:lnTo>
                        <a:pt x="2727" y="1506"/>
                      </a:lnTo>
                      <a:lnTo>
                        <a:pt x="2730" y="1509"/>
                      </a:lnTo>
                      <a:lnTo>
                        <a:pt x="2727" y="1509"/>
                      </a:lnTo>
                      <a:lnTo>
                        <a:pt x="2730" y="1511"/>
                      </a:lnTo>
                      <a:lnTo>
                        <a:pt x="2724" y="1511"/>
                      </a:lnTo>
                      <a:lnTo>
                        <a:pt x="2727" y="1514"/>
                      </a:lnTo>
                      <a:lnTo>
                        <a:pt x="2724" y="1514"/>
                      </a:lnTo>
                      <a:lnTo>
                        <a:pt x="2721" y="1514"/>
                      </a:lnTo>
                      <a:lnTo>
                        <a:pt x="2719" y="1517"/>
                      </a:lnTo>
                      <a:lnTo>
                        <a:pt x="2721" y="1519"/>
                      </a:lnTo>
                      <a:lnTo>
                        <a:pt x="2719" y="1523"/>
                      </a:lnTo>
                      <a:lnTo>
                        <a:pt x="2721" y="1528"/>
                      </a:lnTo>
                      <a:lnTo>
                        <a:pt x="2719" y="1531"/>
                      </a:lnTo>
                      <a:lnTo>
                        <a:pt x="2721" y="1531"/>
                      </a:lnTo>
                      <a:lnTo>
                        <a:pt x="2719" y="1536"/>
                      </a:lnTo>
                      <a:lnTo>
                        <a:pt x="2721" y="1539"/>
                      </a:lnTo>
                      <a:lnTo>
                        <a:pt x="2719" y="1539"/>
                      </a:lnTo>
                      <a:lnTo>
                        <a:pt x="2719" y="1544"/>
                      </a:lnTo>
                      <a:lnTo>
                        <a:pt x="2719" y="1547"/>
                      </a:lnTo>
                      <a:lnTo>
                        <a:pt x="2719" y="1555"/>
                      </a:lnTo>
                      <a:lnTo>
                        <a:pt x="2716" y="1555"/>
                      </a:lnTo>
                      <a:lnTo>
                        <a:pt x="2719" y="1559"/>
                      </a:lnTo>
                      <a:lnTo>
                        <a:pt x="2719" y="1564"/>
                      </a:lnTo>
                      <a:lnTo>
                        <a:pt x="2719" y="1567"/>
                      </a:lnTo>
                      <a:lnTo>
                        <a:pt x="2716" y="1570"/>
                      </a:lnTo>
                      <a:lnTo>
                        <a:pt x="2721" y="1572"/>
                      </a:lnTo>
                      <a:lnTo>
                        <a:pt x="2719" y="1575"/>
                      </a:lnTo>
                      <a:lnTo>
                        <a:pt x="2721" y="1583"/>
                      </a:lnTo>
                      <a:lnTo>
                        <a:pt x="2721" y="1588"/>
                      </a:lnTo>
                      <a:lnTo>
                        <a:pt x="2724" y="1588"/>
                      </a:lnTo>
                      <a:lnTo>
                        <a:pt x="2724" y="1592"/>
                      </a:lnTo>
                      <a:lnTo>
                        <a:pt x="2724" y="1595"/>
                      </a:lnTo>
                      <a:lnTo>
                        <a:pt x="2721" y="1595"/>
                      </a:lnTo>
                      <a:lnTo>
                        <a:pt x="2721" y="1597"/>
                      </a:lnTo>
                      <a:lnTo>
                        <a:pt x="2724" y="1597"/>
                      </a:lnTo>
                      <a:lnTo>
                        <a:pt x="2724" y="1600"/>
                      </a:lnTo>
                      <a:lnTo>
                        <a:pt x="2721" y="1603"/>
                      </a:lnTo>
                      <a:lnTo>
                        <a:pt x="2727" y="1603"/>
                      </a:lnTo>
                      <a:lnTo>
                        <a:pt x="2727" y="1605"/>
                      </a:lnTo>
                      <a:lnTo>
                        <a:pt x="2724" y="1605"/>
                      </a:lnTo>
                      <a:lnTo>
                        <a:pt x="2727" y="1608"/>
                      </a:lnTo>
                      <a:lnTo>
                        <a:pt x="2724" y="1611"/>
                      </a:lnTo>
                      <a:lnTo>
                        <a:pt x="2727" y="1613"/>
                      </a:lnTo>
                      <a:lnTo>
                        <a:pt x="2724" y="1613"/>
                      </a:lnTo>
                      <a:lnTo>
                        <a:pt x="2727" y="1619"/>
                      </a:lnTo>
                      <a:lnTo>
                        <a:pt x="2721" y="1621"/>
                      </a:lnTo>
                      <a:lnTo>
                        <a:pt x="2724" y="1619"/>
                      </a:lnTo>
                      <a:lnTo>
                        <a:pt x="2727" y="1621"/>
                      </a:lnTo>
                      <a:lnTo>
                        <a:pt x="2727" y="1624"/>
                      </a:lnTo>
                      <a:lnTo>
                        <a:pt x="2727" y="1630"/>
                      </a:lnTo>
                      <a:lnTo>
                        <a:pt x="2727" y="1628"/>
                      </a:lnTo>
                      <a:lnTo>
                        <a:pt x="2730" y="1628"/>
                      </a:lnTo>
                      <a:lnTo>
                        <a:pt x="2730" y="1630"/>
                      </a:lnTo>
                      <a:lnTo>
                        <a:pt x="2732" y="1630"/>
                      </a:lnTo>
                      <a:lnTo>
                        <a:pt x="2732" y="1633"/>
                      </a:lnTo>
                      <a:lnTo>
                        <a:pt x="2735" y="1636"/>
                      </a:lnTo>
                      <a:lnTo>
                        <a:pt x="2735" y="1639"/>
                      </a:lnTo>
                      <a:lnTo>
                        <a:pt x="2735" y="1641"/>
                      </a:lnTo>
                      <a:lnTo>
                        <a:pt x="2740" y="1644"/>
                      </a:lnTo>
                      <a:lnTo>
                        <a:pt x="2747" y="1647"/>
                      </a:lnTo>
                      <a:lnTo>
                        <a:pt x="2749" y="1644"/>
                      </a:lnTo>
                      <a:lnTo>
                        <a:pt x="2752" y="1647"/>
                      </a:lnTo>
                      <a:lnTo>
                        <a:pt x="2755" y="1644"/>
                      </a:lnTo>
                      <a:lnTo>
                        <a:pt x="2757" y="1647"/>
                      </a:lnTo>
                      <a:lnTo>
                        <a:pt x="2763" y="1644"/>
                      </a:lnTo>
                      <a:lnTo>
                        <a:pt x="2768" y="1652"/>
                      </a:lnTo>
                      <a:lnTo>
                        <a:pt x="2771" y="1652"/>
                      </a:lnTo>
                      <a:lnTo>
                        <a:pt x="2773" y="1655"/>
                      </a:lnTo>
                      <a:lnTo>
                        <a:pt x="2771" y="1660"/>
                      </a:lnTo>
                      <a:lnTo>
                        <a:pt x="2773" y="1666"/>
                      </a:lnTo>
                      <a:lnTo>
                        <a:pt x="2773" y="1669"/>
                      </a:lnTo>
                      <a:lnTo>
                        <a:pt x="2773" y="1672"/>
                      </a:lnTo>
                      <a:lnTo>
                        <a:pt x="2771" y="1672"/>
                      </a:lnTo>
                      <a:lnTo>
                        <a:pt x="2779" y="1677"/>
                      </a:lnTo>
                      <a:lnTo>
                        <a:pt x="2776" y="1680"/>
                      </a:lnTo>
                      <a:lnTo>
                        <a:pt x="2779" y="1682"/>
                      </a:lnTo>
                      <a:lnTo>
                        <a:pt x="2779" y="1685"/>
                      </a:lnTo>
                      <a:lnTo>
                        <a:pt x="2776" y="1685"/>
                      </a:lnTo>
                      <a:lnTo>
                        <a:pt x="2773" y="1685"/>
                      </a:lnTo>
                      <a:lnTo>
                        <a:pt x="2779" y="1688"/>
                      </a:lnTo>
                      <a:lnTo>
                        <a:pt x="2779" y="1690"/>
                      </a:lnTo>
                      <a:lnTo>
                        <a:pt x="2776" y="1697"/>
                      </a:lnTo>
                      <a:lnTo>
                        <a:pt x="2773" y="1702"/>
                      </a:lnTo>
                      <a:lnTo>
                        <a:pt x="2779" y="1702"/>
                      </a:lnTo>
                      <a:lnTo>
                        <a:pt x="2779" y="1707"/>
                      </a:lnTo>
                      <a:lnTo>
                        <a:pt x="2782" y="1710"/>
                      </a:lnTo>
                      <a:lnTo>
                        <a:pt x="2782" y="1713"/>
                      </a:lnTo>
                      <a:lnTo>
                        <a:pt x="2785" y="1713"/>
                      </a:lnTo>
                      <a:lnTo>
                        <a:pt x="2785" y="1716"/>
                      </a:lnTo>
                      <a:lnTo>
                        <a:pt x="2788" y="1716"/>
                      </a:lnTo>
                      <a:lnTo>
                        <a:pt x="2796" y="1721"/>
                      </a:lnTo>
                      <a:lnTo>
                        <a:pt x="2799" y="1729"/>
                      </a:lnTo>
                      <a:lnTo>
                        <a:pt x="2801" y="1729"/>
                      </a:lnTo>
                      <a:lnTo>
                        <a:pt x="2807" y="1738"/>
                      </a:lnTo>
                      <a:lnTo>
                        <a:pt x="2807" y="1754"/>
                      </a:lnTo>
                      <a:lnTo>
                        <a:pt x="2807" y="1759"/>
                      </a:lnTo>
                      <a:lnTo>
                        <a:pt x="2807" y="1762"/>
                      </a:lnTo>
                      <a:lnTo>
                        <a:pt x="2804" y="1765"/>
                      </a:lnTo>
                      <a:lnTo>
                        <a:pt x="2804" y="1771"/>
                      </a:lnTo>
                      <a:lnTo>
                        <a:pt x="2807" y="1779"/>
                      </a:lnTo>
                      <a:lnTo>
                        <a:pt x="2807" y="1782"/>
                      </a:lnTo>
                      <a:lnTo>
                        <a:pt x="2809" y="1787"/>
                      </a:lnTo>
                      <a:lnTo>
                        <a:pt x="2809" y="1790"/>
                      </a:lnTo>
                      <a:lnTo>
                        <a:pt x="2809" y="1793"/>
                      </a:lnTo>
                      <a:lnTo>
                        <a:pt x="2812" y="1793"/>
                      </a:lnTo>
                      <a:lnTo>
                        <a:pt x="2859" y="1831"/>
                      </a:lnTo>
                      <a:lnTo>
                        <a:pt x="2851" y="1834"/>
                      </a:lnTo>
                      <a:lnTo>
                        <a:pt x="2845" y="1840"/>
                      </a:lnTo>
                      <a:lnTo>
                        <a:pt x="2845" y="1843"/>
                      </a:lnTo>
                      <a:lnTo>
                        <a:pt x="2840" y="1848"/>
                      </a:lnTo>
                      <a:lnTo>
                        <a:pt x="2840" y="1854"/>
                      </a:lnTo>
                      <a:lnTo>
                        <a:pt x="2837" y="1854"/>
                      </a:lnTo>
                      <a:lnTo>
                        <a:pt x="2834" y="1856"/>
                      </a:lnTo>
                      <a:lnTo>
                        <a:pt x="2834" y="1862"/>
                      </a:lnTo>
                      <a:lnTo>
                        <a:pt x="2829" y="1867"/>
                      </a:lnTo>
                      <a:lnTo>
                        <a:pt x="2832" y="1881"/>
                      </a:lnTo>
                      <a:lnTo>
                        <a:pt x="2829" y="1887"/>
                      </a:lnTo>
                      <a:lnTo>
                        <a:pt x="2826" y="1889"/>
                      </a:lnTo>
                      <a:lnTo>
                        <a:pt x="2821" y="1892"/>
                      </a:lnTo>
                      <a:lnTo>
                        <a:pt x="2816" y="1889"/>
                      </a:lnTo>
                      <a:lnTo>
                        <a:pt x="2812" y="1887"/>
                      </a:lnTo>
                      <a:lnTo>
                        <a:pt x="2807" y="1889"/>
                      </a:lnTo>
                      <a:lnTo>
                        <a:pt x="2807" y="1887"/>
                      </a:lnTo>
                      <a:lnTo>
                        <a:pt x="2804" y="1889"/>
                      </a:lnTo>
                      <a:lnTo>
                        <a:pt x="2801" y="1889"/>
                      </a:lnTo>
                      <a:lnTo>
                        <a:pt x="2796" y="1889"/>
                      </a:lnTo>
                      <a:lnTo>
                        <a:pt x="2796" y="1892"/>
                      </a:lnTo>
                      <a:lnTo>
                        <a:pt x="2793" y="1892"/>
                      </a:lnTo>
                      <a:lnTo>
                        <a:pt x="2793" y="1895"/>
                      </a:lnTo>
                      <a:lnTo>
                        <a:pt x="2793" y="1897"/>
                      </a:lnTo>
                      <a:lnTo>
                        <a:pt x="2785" y="1900"/>
                      </a:lnTo>
                      <a:lnTo>
                        <a:pt x="2776" y="1912"/>
                      </a:lnTo>
                      <a:lnTo>
                        <a:pt x="2765" y="1915"/>
                      </a:lnTo>
                      <a:lnTo>
                        <a:pt x="2763" y="1917"/>
                      </a:lnTo>
                      <a:lnTo>
                        <a:pt x="2757" y="1923"/>
                      </a:lnTo>
                      <a:lnTo>
                        <a:pt x="2755" y="1925"/>
                      </a:lnTo>
                      <a:lnTo>
                        <a:pt x="2755" y="1931"/>
                      </a:lnTo>
                      <a:lnTo>
                        <a:pt x="2752" y="1939"/>
                      </a:lnTo>
                      <a:lnTo>
                        <a:pt x="2749" y="1939"/>
                      </a:lnTo>
                      <a:lnTo>
                        <a:pt x="2743" y="1942"/>
                      </a:lnTo>
                      <a:lnTo>
                        <a:pt x="2738" y="1948"/>
                      </a:lnTo>
                      <a:lnTo>
                        <a:pt x="2740" y="1953"/>
                      </a:lnTo>
                      <a:lnTo>
                        <a:pt x="2740" y="1958"/>
                      </a:lnTo>
                      <a:lnTo>
                        <a:pt x="2735" y="1966"/>
                      </a:lnTo>
                      <a:lnTo>
                        <a:pt x="2735" y="1978"/>
                      </a:lnTo>
                      <a:lnTo>
                        <a:pt x="2730" y="1992"/>
                      </a:lnTo>
                      <a:lnTo>
                        <a:pt x="2730" y="1997"/>
                      </a:lnTo>
                      <a:lnTo>
                        <a:pt x="2730" y="2000"/>
                      </a:lnTo>
                      <a:lnTo>
                        <a:pt x="2735" y="2014"/>
                      </a:lnTo>
                      <a:lnTo>
                        <a:pt x="2735" y="2025"/>
                      </a:lnTo>
                      <a:lnTo>
                        <a:pt x="2732" y="2038"/>
                      </a:lnTo>
                      <a:lnTo>
                        <a:pt x="2735" y="2058"/>
                      </a:lnTo>
                      <a:lnTo>
                        <a:pt x="2732" y="2066"/>
                      </a:lnTo>
                      <a:lnTo>
                        <a:pt x="2724" y="2074"/>
                      </a:lnTo>
                      <a:lnTo>
                        <a:pt x="2719" y="2091"/>
                      </a:lnTo>
                      <a:lnTo>
                        <a:pt x="2713" y="2091"/>
                      </a:lnTo>
                      <a:lnTo>
                        <a:pt x="2710" y="2096"/>
                      </a:lnTo>
                      <a:lnTo>
                        <a:pt x="2707" y="2094"/>
                      </a:lnTo>
                      <a:lnTo>
                        <a:pt x="2704" y="2094"/>
                      </a:lnTo>
                      <a:lnTo>
                        <a:pt x="2702" y="2094"/>
                      </a:lnTo>
                      <a:lnTo>
                        <a:pt x="2699" y="2096"/>
                      </a:lnTo>
                      <a:lnTo>
                        <a:pt x="2691" y="2094"/>
                      </a:lnTo>
                      <a:lnTo>
                        <a:pt x="2688" y="2096"/>
                      </a:lnTo>
                      <a:lnTo>
                        <a:pt x="2688" y="2099"/>
                      </a:lnTo>
                      <a:lnTo>
                        <a:pt x="2686" y="2102"/>
                      </a:lnTo>
                      <a:lnTo>
                        <a:pt x="2683" y="2107"/>
                      </a:lnTo>
                      <a:lnTo>
                        <a:pt x="2680" y="2110"/>
                      </a:lnTo>
                      <a:lnTo>
                        <a:pt x="2680" y="2119"/>
                      </a:lnTo>
                      <a:lnTo>
                        <a:pt x="2678" y="2119"/>
                      </a:lnTo>
                      <a:lnTo>
                        <a:pt x="2674" y="2121"/>
                      </a:lnTo>
                      <a:lnTo>
                        <a:pt x="2669" y="2121"/>
                      </a:lnTo>
                      <a:lnTo>
                        <a:pt x="2669" y="2127"/>
                      </a:lnTo>
                      <a:lnTo>
                        <a:pt x="2666" y="2132"/>
                      </a:lnTo>
                      <a:lnTo>
                        <a:pt x="2663" y="2132"/>
                      </a:lnTo>
                      <a:lnTo>
                        <a:pt x="2658" y="2140"/>
                      </a:lnTo>
                      <a:lnTo>
                        <a:pt x="2653" y="2140"/>
                      </a:lnTo>
                      <a:lnTo>
                        <a:pt x="2653" y="2146"/>
                      </a:lnTo>
                      <a:lnTo>
                        <a:pt x="2650" y="2148"/>
                      </a:lnTo>
                      <a:lnTo>
                        <a:pt x="2653" y="2152"/>
                      </a:lnTo>
                      <a:lnTo>
                        <a:pt x="2653" y="2155"/>
                      </a:lnTo>
                      <a:lnTo>
                        <a:pt x="2653" y="2157"/>
                      </a:lnTo>
                      <a:lnTo>
                        <a:pt x="2655" y="2160"/>
                      </a:lnTo>
                      <a:lnTo>
                        <a:pt x="2653" y="2165"/>
                      </a:lnTo>
                      <a:lnTo>
                        <a:pt x="2658" y="2168"/>
                      </a:lnTo>
                      <a:lnTo>
                        <a:pt x="2647" y="2181"/>
                      </a:lnTo>
                      <a:lnTo>
                        <a:pt x="2644" y="2181"/>
                      </a:lnTo>
                      <a:lnTo>
                        <a:pt x="2641" y="2181"/>
                      </a:lnTo>
                      <a:lnTo>
                        <a:pt x="2641" y="2188"/>
                      </a:lnTo>
                      <a:lnTo>
                        <a:pt x="2641" y="2190"/>
                      </a:lnTo>
                      <a:lnTo>
                        <a:pt x="2635" y="2199"/>
                      </a:lnTo>
                      <a:lnTo>
                        <a:pt x="2635" y="2204"/>
                      </a:lnTo>
                      <a:lnTo>
                        <a:pt x="2633" y="2204"/>
                      </a:lnTo>
                      <a:lnTo>
                        <a:pt x="2633" y="2215"/>
                      </a:lnTo>
                      <a:lnTo>
                        <a:pt x="2630" y="2215"/>
                      </a:lnTo>
                      <a:lnTo>
                        <a:pt x="2627" y="2224"/>
                      </a:lnTo>
                      <a:lnTo>
                        <a:pt x="2622" y="2224"/>
                      </a:lnTo>
                      <a:lnTo>
                        <a:pt x="2622" y="2226"/>
                      </a:lnTo>
                      <a:lnTo>
                        <a:pt x="2622" y="2232"/>
                      </a:lnTo>
                      <a:lnTo>
                        <a:pt x="2619" y="2234"/>
                      </a:lnTo>
                      <a:lnTo>
                        <a:pt x="2619" y="2232"/>
                      </a:lnTo>
                      <a:lnTo>
                        <a:pt x="2619" y="2234"/>
                      </a:lnTo>
                      <a:lnTo>
                        <a:pt x="2619" y="2237"/>
                      </a:lnTo>
                      <a:lnTo>
                        <a:pt x="2617" y="2242"/>
                      </a:lnTo>
                      <a:lnTo>
                        <a:pt x="2614" y="2242"/>
                      </a:lnTo>
                      <a:lnTo>
                        <a:pt x="2617" y="2248"/>
                      </a:lnTo>
                      <a:lnTo>
                        <a:pt x="2617" y="2251"/>
                      </a:lnTo>
                      <a:lnTo>
                        <a:pt x="2617" y="2253"/>
                      </a:lnTo>
                      <a:lnTo>
                        <a:pt x="2617" y="2257"/>
                      </a:lnTo>
                      <a:lnTo>
                        <a:pt x="2617" y="2262"/>
                      </a:lnTo>
                      <a:lnTo>
                        <a:pt x="2614" y="2262"/>
                      </a:lnTo>
                      <a:lnTo>
                        <a:pt x="2614" y="2265"/>
                      </a:lnTo>
                      <a:lnTo>
                        <a:pt x="2611" y="2265"/>
                      </a:lnTo>
                      <a:lnTo>
                        <a:pt x="2611" y="2273"/>
                      </a:lnTo>
                      <a:lnTo>
                        <a:pt x="2617" y="2278"/>
                      </a:lnTo>
                      <a:lnTo>
                        <a:pt x="2611" y="2281"/>
                      </a:lnTo>
                      <a:lnTo>
                        <a:pt x="2611" y="2284"/>
                      </a:lnTo>
                      <a:lnTo>
                        <a:pt x="2611" y="2293"/>
                      </a:lnTo>
                      <a:lnTo>
                        <a:pt x="2609" y="2298"/>
                      </a:lnTo>
                      <a:lnTo>
                        <a:pt x="2602" y="2298"/>
                      </a:lnTo>
                      <a:lnTo>
                        <a:pt x="2602" y="2301"/>
                      </a:lnTo>
                      <a:lnTo>
                        <a:pt x="2600" y="2301"/>
                      </a:lnTo>
                      <a:lnTo>
                        <a:pt x="2592" y="2309"/>
                      </a:lnTo>
                      <a:lnTo>
                        <a:pt x="2592" y="2311"/>
                      </a:lnTo>
                      <a:lnTo>
                        <a:pt x="2581" y="2314"/>
                      </a:lnTo>
                      <a:lnTo>
                        <a:pt x="2578" y="2311"/>
                      </a:lnTo>
                      <a:lnTo>
                        <a:pt x="2572" y="2314"/>
                      </a:lnTo>
                      <a:lnTo>
                        <a:pt x="2569" y="2317"/>
                      </a:lnTo>
                      <a:lnTo>
                        <a:pt x="2569" y="2314"/>
                      </a:lnTo>
                      <a:lnTo>
                        <a:pt x="2561" y="2317"/>
                      </a:lnTo>
                      <a:lnTo>
                        <a:pt x="2550" y="2326"/>
                      </a:lnTo>
                      <a:lnTo>
                        <a:pt x="2550" y="2334"/>
                      </a:lnTo>
                      <a:lnTo>
                        <a:pt x="2545" y="2334"/>
                      </a:lnTo>
                      <a:lnTo>
                        <a:pt x="2545" y="2337"/>
                      </a:lnTo>
                      <a:lnTo>
                        <a:pt x="2542" y="2337"/>
                      </a:lnTo>
                      <a:lnTo>
                        <a:pt x="2540" y="2339"/>
                      </a:lnTo>
                      <a:lnTo>
                        <a:pt x="2531" y="2345"/>
                      </a:lnTo>
                      <a:lnTo>
                        <a:pt x="2528" y="2345"/>
                      </a:lnTo>
                      <a:lnTo>
                        <a:pt x="2525" y="2347"/>
                      </a:lnTo>
                      <a:lnTo>
                        <a:pt x="2523" y="2347"/>
                      </a:lnTo>
                      <a:lnTo>
                        <a:pt x="2517" y="2345"/>
                      </a:lnTo>
                      <a:lnTo>
                        <a:pt x="2509" y="2347"/>
                      </a:lnTo>
                      <a:lnTo>
                        <a:pt x="2509" y="2350"/>
                      </a:lnTo>
                      <a:lnTo>
                        <a:pt x="2506" y="2353"/>
                      </a:lnTo>
                      <a:lnTo>
                        <a:pt x="2506" y="2355"/>
                      </a:lnTo>
                      <a:lnTo>
                        <a:pt x="2506" y="2358"/>
                      </a:lnTo>
                      <a:lnTo>
                        <a:pt x="2503" y="2355"/>
                      </a:lnTo>
                      <a:lnTo>
                        <a:pt x="2500" y="2362"/>
                      </a:lnTo>
                      <a:lnTo>
                        <a:pt x="2495" y="2362"/>
                      </a:lnTo>
                      <a:lnTo>
                        <a:pt x="2495" y="2364"/>
                      </a:lnTo>
                      <a:lnTo>
                        <a:pt x="2492" y="2364"/>
                      </a:lnTo>
                      <a:lnTo>
                        <a:pt x="2492" y="2367"/>
                      </a:lnTo>
                      <a:lnTo>
                        <a:pt x="2487" y="2370"/>
                      </a:lnTo>
                      <a:lnTo>
                        <a:pt x="2487" y="2372"/>
                      </a:lnTo>
                      <a:lnTo>
                        <a:pt x="2487" y="2375"/>
                      </a:lnTo>
                      <a:lnTo>
                        <a:pt x="2484" y="2378"/>
                      </a:lnTo>
                      <a:lnTo>
                        <a:pt x="2487" y="2380"/>
                      </a:lnTo>
                      <a:lnTo>
                        <a:pt x="2484" y="2380"/>
                      </a:lnTo>
                      <a:lnTo>
                        <a:pt x="2481" y="2383"/>
                      </a:lnTo>
                      <a:lnTo>
                        <a:pt x="2484" y="2383"/>
                      </a:lnTo>
                      <a:lnTo>
                        <a:pt x="2481" y="2383"/>
                      </a:lnTo>
                      <a:lnTo>
                        <a:pt x="2484" y="2386"/>
                      </a:lnTo>
                      <a:lnTo>
                        <a:pt x="2481" y="2388"/>
                      </a:lnTo>
                      <a:lnTo>
                        <a:pt x="2479" y="2388"/>
                      </a:lnTo>
                      <a:lnTo>
                        <a:pt x="2479" y="2391"/>
                      </a:lnTo>
                      <a:lnTo>
                        <a:pt x="2476" y="2391"/>
                      </a:lnTo>
                      <a:lnTo>
                        <a:pt x="2476" y="2395"/>
                      </a:lnTo>
                      <a:lnTo>
                        <a:pt x="2479" y="2398"/>
                      </a:lnTo>
                      <a:lnTo>
                        <a:pt x="2476" y="2400"/>
                      </a:lnTo>
                      <a:lnTo>
                        <a:pt x="2464" y="2395"/>
                      </a:lnTo>
                      <a:lnTo>
                        <a:pt x="2459" y="2398"/>
                      </a:lnTo>
                      <a:lnTo>
                        <a:pt x="2454" y="2395"/>
                      </a:lnTo>
                      <a:lnTo>
                        <a:pt x="2454" y="2386"/>
                      </a:lnTo>
                      <a:lnTo>
                        <a:pt x="2451" y="2386"/>
                      </a:lnTo>
                      <a:lnTo>
                        <a:pt x="2445" y="2383"/>
                      </a:lnTo>
                      <a:lnTo>
                        <a:pt x="2437" y="2380"/>
                      </a:lnTo>
                      <a:lnTo>
                        <a:pt x="2434" y="2375"/>
                      </a:lnTo>
                      <a:lnTo>
                        <a:pt x="2428" y="2372"/>
                      </a:lnTo>
                      <a:lnTo>
                        <a:pt x="2423" y="2372"/>
                      </a:lnTo>
                      <a:lnTo>
                        <a:pt x="2410" y="2367"/>
                      </a:lnTo>
                      <a:lnTo>
                        <a:pt x="2407" y="2362"/>
                      </a:lnTo>
                      <a:lnTo>
                        <a:pt x="2395" y="2353"/>
                      </a:lnTo>
                      <a:lnTo>
                        <a:pt x="2393" y="2347"/>
                      </a:lnTo>
                      <a:lnTo>
                        <a:pt x="2390" y="2342"/>
                      </a:lnTo>
                      <a:lnTo>
                        <a:pt x="2393" y="2337"/>
                      </a:lnTo>
                      <a:lnTo>
                        <a:pt x="2390" y="2334"/>
                      </a:lnTo>
                      <a:lnTo>
                        <a:pt x="2387" y="2334"/>
                      </a:lnTo>
                      <a:lnTo>
                        <a:pt x="2379" y="2339"/>
                      </a:lnTo>
                      <a:lnTo>
                        <a:pt x="2376" y="2339"/>
                      </a:lnTo>
                      <a:lnTo>
                        <a:pt x="2374" y="2334"/>
                      </a:lnTo>
                      <a:lnTo>
                        <a:pt x="2371" y="2334"/>
                      </a:lnTo>
                      <a:lnTo>
                        <a:pt x="2368" y="2334"/>
                      </a:lnTo>
                      <a:lnTo>
                        <a:pt x="2365" y="2334"/>
                      </a:lnTo>
                      <a:lnTo>
                        <a:pt x="2365" y="2337"/>
                      </a:lnTo>
                      <a:lnTo>
                        <a:pt x="2357" y="2339"/>
                      </a:lnTo>
                      <a:lnTo>
                        <a:pt x="2354" y="2329"/>
                      </a:lnTo>
                      <a:lnTo>
                        <a:pt x="2357" y="2329"/>
                      </a:lnTo>
                      <a:lnTo>
                        <a:pt x="2359" y="2331"/>
                      </a:lnTo>
                      <a:lnTo>
                        <a:pt x="2359" y="2329"/>
                      </a:lnTo>
                      <a:lnTo>
                        <a:pt x="2357" y="2326"/>
                      </a:lnTo>
                      <a:lnTo>
                        <a:pt x="2357" y="2320"/>
                      </a:lnTo>
                      <a:lnTo>
                        <a:pt x="2359" y="2317"/>
                      </a:lnTo>
                      <a:lnTo>
                        <a:pt x="2362" y="2320"/>
                      </a:lnTo>
                      <a:lnTo>
                        <a:pt x="2365" y="2317"/>
                      </a:lnTo>
                      <a:lnTo>
                        <a:pt x="2354" y="2311"/>
                      </a:lnTo>
                      <a:lnTo>
                        <a:pt x="2349" y="2314"/>
                      </a:lnTo>
                      <a:lnTo>
                        <a:pt x="2343" y="2311"/>
                      </a:lnTo>
                      <a:lnTo>
                        <a:pt x="2341" y="2311"/>
                      </a:lnTo>
                      <a:lnTo>
                        <a:pt x="2338" y="2311"/>
                      </a:lnTo>
                      <a:lnTo>
                        <a:pt x="2338" y="2314"/>
                      </a:lnTo>
                      <a:lnTo>
                        <a:pt x="2346" y="2317"/>
                      </a:lnTo>
                      <a:lnTo>
                        <a:pt x="2343" y="2320"/>
                      </a:lnTo>
                      <a:lnTo>
                        <a:pt x="2338" y="2322"/>
                      </a:lnTo>
                      <a:lnTo>
                        <a:pt x="2335" y="2322"/>
                      </a:lnTo>
                      <a:lnTo>
                        <a:pt x="2332" y="2317"/>
                      </a:lnTo>
                      <a:lnTo>
                        <a:pt x="2329" y="2317"/>
                      </a:lnTo>
                      <a:lnTo>
                        <a:pt x="2324" y="2314"/>
                      </a:lnTo>
                      <a:lnTo>
                        <a:pt x="2321" y="2314"/>
                      </a:lnTo>
                      <a:lnTo>
                        <a:pt x="2321" y="2320"/>
                      </a:lnTo>
                      <a:lnTo>
                        <a:pt x="2318" y="2326"/>
                      </a:lnTo>
                      <a:lnTo>
                        <a:pt x="2318" y="2329"/>
                      </a:lnTo>
                      <a:lnTo>
                        <a:pt x="2316" y="2331"/>
                      </a:lnTo>
                      <a:lnTo>
                        <a:pt x="2307" y="2326"/>
                      </a:lnTo>
                      <a:lnTo>
                        <a:pt x="2302" y="2331"/>
                      </a:lnTo>
                      <a:lnTo>
                        <a:pt x="2305" y="2322"/>
                      </a:lnTo>
                      <a:lnTo>
                        <a:pt x="2302" y="2322"/>
                      </a:lnTo>
                      <a:lnTo>
                        <a:pt x="2299" y="2326"/>
                      </a:lnTo>
                      <a:lnTo>
                        <a:pt x="2302" y="2329"/>
                      </a:lnTo>
                      <a:lnTo>
                        <a:pt x="2299" y="2331"/>
                      </a:lnTo>
                      <a:lnTo>
                        <a:pt x="2296" y="2329"/>
                      </a:lnTo>
                      <a:lnTo>
                        <a:pt x="2296" y="2326"/>
                      </a:lnTo>
                      <a:lnTo>
                        <a:pt x="2290" y="2322"/>
                      </a:lnTo>
                      <a:lnTo>
                        <a:pt x="2285" y="2322"/>
                      </a:lnTo>
                      <a:lnTo>
                        <a:pt x="2285" y="2320"/>
                      </a:lnTo>
                      <a:lnTo>
                        <a:pt x="2282" y="2326"/>
                      </a:lnTo>
                      <a:lnTo>
                        <a:pt x="2285" y="2329"/>
                      </a:lnTo>
                      <a:lnTo>
                        <a:pt x="2280" y="2334"/>
                      </a:lnTo>
                      <a:lnTo>
                        <a:pt x="2274" y="2329"/>
                      </a:lnTo>
                      <a:lnTo>
                        <a:pt x="2269" y="2331"/>
                      </a:lnTo>
                      <a:lnTo>
                        <a:pt x="2266" y="2329"/>
                      </a:lnTo>
                      <a:lnTo>
                        <a:pt x="2263" y="2326"/>
                      </a:lnTo>
                      <a:lnTo>
                        <a:pt x="2260" y="2322"/>
                      </a:lnTo>
                      <a:lnTo>
                        <a:pt x="2260" y="2317"/>
                      </a:lnTo>
                      <a:lnTo>
                        <a:pt x="2257" y="2317"/>
                      </a:lnTo>
                      <a:lnTo>
                        <a:pt x="2252" y="2317"/>
                      </a:lnTo>
                      <a:lnTo>
                        <a:pt x="2247" y="2320"/>
                      </a:lnTo>
                      <a:lnTo>
                        <a:pt x="2244" y="2317"/>
                      </a:lnTo>
                      <a:lnTo>
                        <a:pt x="2244" y="2311"/>
                      </a:lnTo>
                      <a:lnTo>
                        <a:pt x="2239" y="2309"/>
                      </a:lnTo>
                      <a:lnTo>
                        <a:pt x="2236" y="2309"/>
                      </a:lnTo>
                      <a:lnTo>
                        <a:pt x="2239" y="2317"/>
                      </a:lnTo>
                      <a:lnTo>
                        <a:pt x="2233" y="2320"/>
                      </a:lnTo>
                      <a:lnTo>
                        <a:pt x="2221" y="2320"/>
                      </a:lnTo>
                      <a:lnTo>
                        <a:pt x="2221" y="2326"/>
                      </a:lnTo>
                      <a:lnTo>
                        <a:pt x="2216" y="2326"/>
                      </a:lnTo>
                      <a:lnTo>
                        <a:pt x="2203" y="2326"/>
                      </a:lnTo>
                      <a:lnTo>
                        <a:pt x="2194" y="2329"/>
                      </a:lnTo>
                      <a:lnTo>
                        <a:pt x="2197" y="2334"/>
                      </a:lnTo>
                      <a:lnTo>
                        <a:pt x="2194" y="2334"/>
                      </a:lnTo>
                      <a:lnTo>
                        <a:pt x="2191" y="2334"/>
                      </a:lnTo>
                      <a:lnTo>
                        <a:pt x="2186" y="2337"/>
                      </a:lnTo>
                      <a:lnTo>
                        <a:pt x="2170" y="2342"/>
                      </a:lnTo>
                      <a:lnTo>
                        <a:pt x="2160" y="2337"/>
                      </a:lnTo>
                      <a:lnTo>
                        <a:pt x="2152" y="2337"/>
                      </a:lnTo>
                      <a:lnTo>
                        <a:pt x="2147" y="2334"/>
                      </a:lnTo>
                      <a:lnTo>
                        <a:pt x="2142" y="2331"/>
                      </a:lnTo>
                      <a:lnTo>
                        <a:pt x="2142" y="2329"/>
                      </a:lnTo>
                      <a:lnTo>
                        <a:pt x="2134" y="2326"/>
                      </a:lnTo>
                      <a:lnTo>
                        <a:pt x="2131" y="2326"/>
                      </a:lnTo>
                      <a:lnTo>
                        <a:pt x="2128" y="2326"/>
                      </a:lnTo>
                      <a:lnTo>
                        <a:pt x="2125" y="2322"/>
                      </a:lnTo>
                      <a:lnTo>
                        <a:pt x="2128" y="2314"/>
                      </a:lnTo>
                      <a:lnTo>
                        <a:pt x="2125" y="2311"/>
                      </a:lnTo>
                      <a:lnTo>
                        <a:pt x="2122" y="2314"/>
                      </a:lnTo>
                      <a:lnTo>
                        <a:pt x="2122" y="2317"/>
                      </a:lnTo>
                      <a:lnTo>
                        <a:pt x="2117" y="2317"/>
                      </a:lnTo>
                      <a:lnTo>
                        <a:pt x="2111" y="2322"/>
                      </a:lnTo>
                      <a:lnTo>
                        <a:pt x="2109" y="2322"/>
                      </a:lnTo>
                      <a:lnTo>
                        <a:pt x="2109" y="2317"/>
                      </a:lnTo>
                      <a:lnTo>
                        <a:pt x="2106" y="2317"/>
                      </a:lnTo>
                      <a:lnTo>
                        <a:pt x="2106" y="2322"/>
                      </a:lnTo>
                      <a:lnTo>
                        <a:pt x="2103" y="2322"/>
                      </a:lnTo>
                      <a:lnTo>
                        <a:pt x="2098" y="2320"/>
                      </a:lnTo>
                      <a:lnTo>
                        <a:pt x="2098" y="2326"/>
                      </a:lnTo>
                      <a:lnTo>
                        <a:pt x="2095" y="2326"/>
                      </a:lnTo>
                      <a:lnTo>
                        <a:pt x="2086" y="2322"/>
                      </a:lnTo>
                      <a:lnTo>
                        <a:pt x="2086" y="2320"/>
                      </a:lnTo>
                      <a:lnTo>
                        <a:pt x="2081" y="2322"/>
                      </a:lnTo>
                      <a:lnTo>
                        <a:pt x="2075" y="2317"/>
                      </a:lnTo>
                      <a:lnTo>
                        <a:pt x="2078" y="2320"/>
                      </a:lnTo>
                      <a:lnTo>
                        <a:pt x="2073" y="2322"/>
                      </a:lnTo>
                      <a:lnTo>
                        <a:pt x="2065" y="2329"/>
                      </a:lnTo>
                      <a:lnTo>
                        <a:pt x="2062" y="2326"/>
                      </a:lnTo>
                      <a:lnTo>
                        <a:pt x="2062" y="2329"/>
                      </a:lnTo>
                      <a:lnTo>
                        <a:pt x="2056" y="2329"/>
                      </a:lnTo>
                      <a:lnTo>
                        <a:pt x="2053" y="2326"/>
                      </a:lnTo>
                      <a:lnTo>
                        <a:pt x="2050" y="2329"/>
                      </a:lnTo>
                      <a:lnTo>
                        <a:pt x="2053" y="2331"/>
                      </a:lnTo>
                      <a:lnTo>
                        <a:pt x="2050" y="2334"/>
                      </a:lnTo>
                      <a:lnTo>
                        <a:pt x="2048" y="2334"/>
                      </a:lnTo>
                      <a:lnTo>
                        <a:pt x="2048" y="2326"/>
                      </a:lnTo>
                      <a:lnTo>
                        <a:pt x="2045" y="2326"/>
                      </a:lnTo>
                      <a:lnTo>
                        <a:pt x="2042" y="2331"/>
                      </a:lnTo>
                      <a:lnTo>
                        <a:pt x="2040" y="2334"/>
                      </a:lnTo>
                      <a:lnTo>
                        <a:pt x="2032" y="2331"/>
                      </a:lnTo>
                      <a:lnTo>
                        <a:pt x="2029" y="2329"/>
                      </a:lnTo>
                      <a:lnTo>
                        <a:pt x="2029" y="2334"/>
                      </a:lnTo>
                      <a:lnTo>
                        <a:pt x="2026" y="2334"/>
                      </a:lnTo>
                      <a:lnTo>
                        <a:pt x="2026" y="2331"/>
                      </a:lnTo>
                      <a:lnTo>
                        <a:pt x="2020" y="2334"/>
                      </a:lnTo>
                      <a:lnTo>
                        <a:pt x="2017" y="2339"/>
                      </a:lnTo>
                      <a:lnTo>
                        <a:pt x="2017" y="2334"/>
                      </a:lnTo>
                      <a:lnTo>
                        <a:pt x="2017" y="2331"/>
                      </a:lnTo>
                      <a:lnTo>
                        <a:pt x="2017" y="2329"/>
                      </a:lnTo>
                      <a:lnTo>
                        <a:pt x="2014" y="2329"/>
                      </a:lnTo>
                      <a:lnTo>
                        <a:pt x="2012" y="2334"/>
                      </a:lnTo>
                      <a:lnTo>
                        <a:pt x="2006" y="2331"/>
                      </a:lnTo>
                      <a:lnTo>
                        <a:pt x="2006" y="2322"/>
                      </a:lnTo>
                      <a:lnTo>
                        <a:pt x="2001" y="2317"/>
                      </a:lnTo>
                      <a:lnTo>
                        <a:pt x="2001" y="2309"/>
                      </a:lnTo>
                      <a:lnTo>
                        <a:pt x="2001" y="2301"/>
                      </a:lnTo>
                      <a:lnTo>
                        <a:pt x="1996" y="2290"/>
                      </a:lnTo>
                      <a:lnTo>
                        <a:pt x="1996" y="2286"/>
                      </a:lnTo>
                      <a:lnTo>
                        <a:pt x="1990" y="2290"/>
                      </a:lnTo>
                      <a:lnTo>
                        <a:pt x="1987" y="2290"/>
                      </a:lnTo>
                      <a:lnTo>
                        <a:pt x="1981" y="2286"/>
                      </a:lnTo>
                      <a:lnTo>
                        <a:pt x="1981" y="2284"/>
                      </a:lnTo>
                      <a:lnTo>
                        <a:pt x="1976" y="2278"/>
                      </a:lnTo>
                      <a:lnTo>
                        <a:pt x="1973" y="2281"/>
                      </a:lnTo>
                      <a:lnTo>
                        <a:pt x="1971" y="2278"/>
                      </a:lnTo>
                      <a:lnTo>
                        <a:pt x="1965" y="2278"/>
                      </a:lnTo>
                      <a:lnTo>
                        <a:pt x="1968" y="2273"/>
                      </a:lnTo>
                      <a:lnTo>
                        <a:pt x="1965" y="2270"/>
                      </a:lnTo>
                      <a:lnTo>
                        <a:pt x="1962" y="2270"/>
                      </a:lnTo>
                      <a:lnTo>
                        <a:pt x="1965" y="2265"/>
                      </a:lnTo>
                      <a:lnTo>
                        <a:pt x="1962" y="2262"/>
                      </a:lnTo>
                      <a:lnTo>
                        <a:pt x="1953" y="2260"/>
                      </a:lnTo>
                      <a:lnTo>
                        <a:pt x="1953" y="2262"/>
                      </a:lnTo>
                      <a:lnTo>
                        <a:pt x="1957" y="2262"/>
                      </a:lnTo>
                      <a:lnTo>
                        <a:pt x="1953" y="2265"/>
                      </a:lnTo>
                      <a:lnTo>
                        <a:pt x="1948" y="2257"/>
                      </a:lnTo>
                      <a:lnTo>
                        <a:pt x="1948" y="2245"/>
                      </a:lnTo>
                      <a:lnTo>
                        <a:pt x="1945" y="2245"/>
                      </a:lnTo>
                      <a:lnTo>
                        <a:pt x="1943" y="2245"/>
                      </a:lnTo>
                      <a:lnTo>
                        <a:pt x="1940" y="2248"/>
                      </a:lnTo>
                      <a:lnTo>
                        <a:pt x="1935" y="2240"/>
                      </a:lnTo>
                      <a:lnTo>
                        <a:pt x="1929" y="2240"/>
                      </a:lnTo>
                      <a:lnTo>
                        <a:pt x="1929" y="2229"/>
                      </a:lnTo>
                      <a:lnTo>
                        <a:pt x="1924" y="2232"/>
                      </a:lnTo>
                      <a:lnTo>
                        <a:pt x="1918" y="2229"/>
                      </a:lnTo>
                      <a:lnTo>
                        <a:pt x="1918" y="2226"/>
                      </a:lnTo>
                      <a:lnTo>
                        <a:pt x="1915" y="2226"/>
                      </a:lnTo>
                      <a:lnTo>
                        <a:pt x="1912" y="2221"/>
                      </a:lnTo>
                      <a:lnTo>
                        <a:pt x="1907" y="2215"/>
                      </a:lnTo>
                      <a:lnTo>
                        <a:pt x="1907" y="2212"/>
                      </a:lnTo>
                      <a:lnTo>
                        <a:pt x="1910" y="2207"/>
                      </a:lnTo>
                      <a:lnTo>
                        <a:pt x="1910" y="2199"/>
                      </a:lnTo>
                      <a:lnTo>
                        <a:pt x="1907" y="2196"/>
                      </a:lnTo>
                      <a:lnTo>
                        <a:pt x="1904" y="2181"/>
                      </a:lnTo>
                      <a:lnTo>
                        <a:pt x="1907" y="2176"/>
                      </a:lnTo>
                      <a:lnTo>
                        <a:pt x="1904" y="2173"/>
                      </a:lnTo>
                      <a:lnTo>
                        <a:pt x="1902" y="2171"/>
                      </a:lnTo>
                      <a:lnTo>
                        <a:pt x="1899" y="2171"/>
                      </a:lnTo>
                      <a:lnTo>
                        <a:pt x="1896" y="2176"/>
                      </a:lnTo>
                      <a:lnTo>
                        <a:pt x="1893" y="2176"/>
                      </a:lnTo>
                      <a:lnTo>
                        <a:pt x="1891" y="2171"/>
                      </a:lnTo>
                      <a:lnTo>
                        <a:pt x="1888" y="2168"/>
                      </a:lnTo>
                      <a:lnTo>
                        <a:pt x="1884" y="2165"/>
                      </a:lnTo>
                      <a:lnTo>
                        <a:pt x="1884" y="2157"/>
                      </a:lnTo>
                      <a:lnTo>
                        <a:pt x="1879" y="2157"/>
                      </a:lnTo>
                      <a:lnTo>
                        <a:pt x="1879" y="2163"/>
                      </a:lnTo>
                      <a:lnTo>
                        <a:pt x="1879" y="2165"/>
                      </a:lnTo>
                      <a:lnTo>
                        <a:pt x="1879" y="2168"/>
                      </a:lnTo>
                      <a:lnTo>
                        <a:pt x="1876" y="2173"/>
                      </a:lnTo>
                      <a:lnTo>
                        <a:pt x="1871" y="2171"/>
                      </a:lnTo>
                      <a:lnTo>
                        <a:pt x="1871" y="2160"/>
                      </a:lnTo>
                      <a:lnTo>
                        <a:pt x="1866" y="2155"/>
                      </a:lnTo>
                      <a:lnTo>
                        <a:pt x="1863" y="2155"/>
                      </a:lnTo>
                      <a:lnTo>
                        <a:pt x="1860" y="2160"/>
                      </a:lnTo>
                      <a:lnTo>
                        <a:pt x="1858" y="2157"/>
                      </a:lnTo>
                      <a:lnTo>
                        <a:pt x="1855" y="2157"/>
                      </a:lnTo>
                      <a:lnTo>
                        <a:pt x="1851" y="2168"/>
                      </a:lnTo>
                      <a:lnTo>
                        <a:pt x="1846" y="2168"/>
                      </a:lnTo>
                      <a:lnTo>
                        <a:pt x="1846" y="2171"/>
                      </a:lnTo>
                      <a:lnTo>
                        <a:pt x="1841" y="2168"/>
                      </a:lnTo>
                      <a:lnTo>
                        <a:pt x="1843" y="2173"/>
                      </a:lnTo>
                      <a:lnTo>
                        <a:pt x="1841" y="2173"/>
                      </a:lnTo>
                      <a:lnTo>
                        <a:pt x="1835" y="2168"/>
                      </a:lnTo>
                      <a:lnTo>
                        <a:pt x="1833" y="2171"/>
                      </a:lnTo>
                      <a:lnTo>
                        <a:pt x="1830" y="2165"/>
                      </a:lnTo>
                      <a:lnTo>
                        <a:pt x="1825" y="2165"/>
                      </a:lnTo>
                      <a:lnTo>
                        <a:pt x="1822" y="2171"/>
                      </a:lnTo>
                      <a:lnTo>
                        <a:pt x="1819" y="2165"/>
                      </a:lnTo>
                      <a:lnTo>
                        <a:pt x="1813" y="2171"/>
                      </a:lnTo>
                      <a:lnTo>
                        <a:pt x="1813" y="2168"/>
                      </a:lnTo>
                      <a:lnTo>
                        <a:pt x="1815" y="2168"/>
                      </a:lnTo>
                      <a:lnTo>
                        <a:pt x="1813" y="2165"/>
                      </a:lnTo>
                      <a:lnTo>
                        <a:pt x="1810" y="2168"/>
                      </a:lnTo>
                      <a:lnTo>
                        <a:pt x="1805" y="2165"/>
                      </a:lnTo>
                      <a:lnTo>
                        <a:pt x="1802" y="2168"/>
                      </a:lnTo>
                      <a:lnTo>
                        <a:pt x="1797" y="2163"/>
                      </a:lnTo>
                      <a:lnTo>
                        <a:pt x="1794" y="2165"/>
                      </a:lnTo>
                      <a:lnTo>
                        <a:pt x="1791" y="2163"/>
                      </a:lnTo>
                      <a:lnTo>
                        <a:pt x="1791" y="2157"/>
                      </a:lnTo>
                      <a:lnTo>
                        <a:pt x="1791" y="2155"/>
                      </a:lnTo>
                      <a:lnTo>
                        <a:pt x="1786" y="2163"/>
                      </a:lnTo>
                      <a:lnTo>
                        <a:pt x="1782" y="2157"/>
                      </a:lnTo>
                      <a:lnTo>
                        <a:pt x="1777" y="2152"/>
                      </a:lnTo>
                      <a:lnTo>
                        <a:pt x="1777" y="2143"/>
                      </a:lnTo>
                      <a:lnTo>
                        <a:pt x="1774" y="2140"/>
                      </a:lnTo>
                      <a:lnTo>
                        <a:pt x="1772" y="2140"/>
                      </a:lnTo>
                      <a:lnTo>
                        <a:pt x="1769" y="2146"/>
                      </a:lnTo>
                      <a:lnTo>
                        <a:pt x="1766" y="2143"/>
                      </a:lnTo>
                      <a:lnTo>
                        <a:pt x="1769" y="2138"/>
                      </a:lnTo>
                      <a:lnTo>
                        <a:pt x="1769" y="2135"/>
                      </a:lnTo>
                      <a:lnTo>
                        <a:pt x="1766" y="2135"/>
                      </a:lnTo>
                      <a:lnTo>
                        <a:pt x="1764" y="2140"/>
                      </a:lnTo>
                      <a:lnTo>
                        <a:pt x="1761" y="2140"/>
                      </a:lnTo>
                      <a:lnTo>
                        <a:pt x="1761" y="2132"/>
                      </a:lnTo>
                      <a:lnTo>
                        <a:pt x="1758" y="2132"/>
                      </a:lnTo>
                      <a:lnTo>
                        <a:pt x="1756" y="2135"/>
                      </a:lnTo>
                      <a:lnTo>
                        <a:pt x="1758" y="2140"/>
                      </a:lnTo>
                      <a:lnTo>
                        <a:pt x="1750" y="2143"/>
                      </a:lnTo>
                      <a:lnTo>
                        <a:pt x="1741" y="2135"/>
                      </a:lnTo>
                      <a:lnTo>
                        <a:pt x="1736" y="2138"/>
                      </a:lnTo>
                      <a:lnTo>
                        <a:pt x="1730" y="2138"/>
                      </a:lnTo>
                      <a:lnTo>
                        <a:pt x="1725" y="2135"/>
                      </a:lnTo>
                      <a:lnTo>
                        <a:pt x="1703" y="2124"/>
                      </a:lnTo>
                      <a:lnTo>
                        <a:pt x="1703" y="2119"/>
                      </a:lnTo>
                      <a:lnTo>
                        <a:pt x="1708" y="2116"/>
                      </a:lnTo>
                      <a:lnTo>
                        <a:pt x="1705" y="2112"/>
                      </a:lnTo>
                      <a:lnTo>
                        <a:pt x="1700" y="2116"/>
                      </a:lnTo>
                      <a:lnTo>
                        <a:pt x="1697" y="2116"/>
                      </a:lnTo>
                      <a:lnTo>
                        <a:pt x="1695" y="2112"/>
                      </a:lnTo>
                      <a:lnTo>
                        <a:pt x="1697" y="2107"/>
                      </a:lnTo>
                      <a:lnTo>
                        <a:pt x="1697" y="2104"/>
                      </a:lnTo>
                      <a:lnTo>
                        <a:pt x="1695" y="2104"/>
                      </a:lnTo>
                      <a:lnTo>
                        <a:pt x="1689" y="2104"/>
                      </a:lnTo>
                      <a:lnTo>
                        <a:pt x="1692" y="2096"/>
                      </a:lnTo>
                      <a:lnTo>
                        <a:pt x="1692" y="2094"/>
                      </a:lnTo>
                      <a:lnTo>
                        <a:pt x="1689" y="2094"/>
                      </a:lnTo>
                      <a:lnTo>
                        <a:pt x="1684" y="2096"/>
                      </a:lnTo>
                      <a:lnTo>
                        <a:pt x="1684" y="2099"/>
                      </a:lnTo>
                      <a:lnTo>
                        <a:pt x="1677" y="2104"/>
                      </a:lnTo>
                      <a:lnTo>
                        <a:pt x="1669" y="2104"/>
                      </a:lnTo>
                      <a:lnTo>
                        <a:pt x="1669" y="2110"/>
                      </a:lnTo>
                      <a:lnTo>
                        <a:pt x="1667" y="2107"/>
                      </a:lnTo>
                      <a:lnTo>
                        <a:pt x="1664" y="2110"/>
                      </a:lnTo>
                      <a:lnTo>
                        <a:pt x="1659" y="2107"/>
                      </a:lnTo>
                      <a:lnTo>
                        <a:pt x="1656" y="2112"/>
                      </a:lnTo>
                      <a:lnTo>
                        <a:pt x="1656" y="2116"/>
                      </a:lnTo>
                      <a:lnTo>
                        <a:pt x="1656" y="2119"/>
                      </a:lnTo>
                      <a:lnTo>
                        <a:pt x="1651" y="2112"/>
                      </a:lnTo>
                      <a:lnTo>
                        <a:pt x="1651" y="2107"/>
                      </a:lnTo>
                      <a:lnTo>
                        <a:pt x="1648" y="2107"/>
                      </a:lnTo>
                      <a:lnTo>
                        <a:pt x="1644" y="2116"/>
                      </a:lnTo>
                      <a:lnTo>
                        <a:pt x="1636" y="2112"/>
                      </a:lnTo>
                      <a:lnTo>
                        <a:pt x="1631" y="2104"/>
                      </a:lnTo>
                      <a:lnTo>
                        <a:pt x="1626" y="2094"/>
                      </a:lnTo>
                      <a:lnTo>
                        <a:pt x="1626" y="2091"/>
                      </a:lnTo>
                      <a:lnTo>
                        <a:pt x="1626" y="2086"/>
                      </a:lnTo>
                      <a:lnTo>
                        <a:pt x="1626" y="2083"/>
                      </a:lnTo>
                      <a:lnTo>
                        <a:pt x="1618" y="2079"/>
                      </a:lnTo>
                      <a:lnTo>
                        <a:pt x="1615" y="2083"/>
                      </a:lnTo>
                      <a:lnTo>
                        <a:pt x="1612" y="2086"/>
                      </a:lnTo>
                      <a:lnTo>
                        <a:pt x="1609" y="2086"/>
                      </a:lnTo>
                      <a:lnTo>
                        <a:pt x="1606" y="2083"/>
                      </a:lnTo>
                      <a:lnTo>
                        <a:pt x="1609" y="2077"/>
                      </a:lnTo>
                      <a:lnTo>
                        <a:pt x="1603" y="2071"/>
                      </a:lnTo>
                      <a:lnTo>
                        <a:pt x="1600" y="2071"/>
                      </a:lnTo>
                      <a:lnTo>
                        <a:pt x="1595" y="2061"/>
                      </a:lnTo>
                      <a:lnTo>
                        <a:pt x="1590" y="2058"/>
                      </a:lnTo>
                      <a:lnTo>
                        <a:pt x="1590" y="2050"/>
                      </a:lnTo>
                      <a:lnTo>
                        <a:pt x="1584" y="2047"/>
                      </a:lnTo>
                      <a:lnTo>
                        <a:pt x="1579" y="2041"/>
                      </a:lnTo>
                      <a:lnTo>
                        <a:pt x="1573" y="2041"/>
                      </a:lnTo>
                      <a:lnTo>
                        <a:pt x="1570" y="2043"/>
                      </a:lnTo>
                      <a:lnTo>
                        <a:pt x="1570" y="2047"/>
                      </a:lnTo>
                      <a:lnTo>
                        <a:pt x="1567" y="2050"/>
                      </a:lnTo>
                      <a:lnTo>
                        <a:pt x="1567" y="2043"/>
                      </a:lnTo>
                      <a:lnTo>
                        <a:pt x="1562" y="2043"/>
                      </a:lnTo>
                      <a:lnTo>
                        <a:pt x="1559" y="2050"/>
                      </a:lnTo>
                      <a:lnTo>
                        <a:pt x="1557" y="2050"/>
                      </a:lnTo>
                      <a:lnTo>
                        <a:pt x="1554" y="2047"/>
                      </a:lnTo>
                      <a:lnTo>
                        <a:pt x="1554" y="2043"/>
                      </a:lnTo>
                      <a:lnTo>
                        <a:pt x="1543" y="2041"/>
                      </a:lnTo>
                      <a:lnTo>
                        <a:pt x="1539" y="2035"/>
                      </a:lnTo>
                      <a:lnTo>
                        <a:pt x="1543" y="2027"/>
                      </a:lnTo>
                      <a:lnTo>
                        <a:pt x="1537" y="2027"/>
                      </a:lnTo>
                      <a:lnTo>
                        <a:pt x="1537" y="2019"/>
                      </a:lnTo>
                      <a:lnTo>
                        <a:pt x="1531" y="2017"/>
                      </a:lnTo>
                      <a:lnTo>
                        <a:pt x="1526" y="2000"/>
                      </a:lnTo>
                      <a:lnTo>
                        <a:pt x="1523" y="1994"/>
                      </a:lnTo>
                      <a:lnTo>
                        <a:pt x="1518" y="1994"/>
                      </a:lnTo>
                      <a:lnTo>
                        <a:pt x="1513" y="1992"/>
                      </a:lnTo>
                      <a:lnTo>
                        <a:pt x="1515" y="1984"/>
                      </a:lnTo>
                      <a:lnTo>
                        <a:pt x="1521" y="1981"/>
                      </a:lnTo>
                      <a:lnTo>
                        <a:pt x="1521" y="1978"/>
                      </a:lnTo>
                      <a:lnTo>
                        <a:pt x="1518" y="1974"/>
                      </a:lnTo>
                      <a:lnTo>
                        <a:pt x="1515" y="1974"/>
                      </a:lnTo>
                      <a:lnTo>
                        <a:pt x="1506" y="1974"/>
                      </a:lnTo>
                      <a:lnTo>
                        <a:pt x="1506" y="1972"/>
                      </a:lnTo>
                      <a:lnTo>
                        <a:pt x="1510" y="1969"/>
                      </a:lnTo>
                      <a:lnTo>
                        <a:pt x="1510" y="1964"/>
                      </a:lnTo>
                      <a:lnTo>
                        <a:pt x="1504" y="1964"/>
                      </a:lnTo>
                      <a:lnTo>
                        <a:pt x="1498" y="1964"/>
                      </a:lnTo>
                      <a:lnTo>
                        <a:pt x="1496" y="1964"/>
                      </a:lnTo>
                      <a:lnTo>
                        <a:pt x="1496" y="1958"/>
                      </a:lnTo>
                      <a:lnTo>
                        <a:pt x="1490" y="1961"/>
                      </a:lnTo>
                      <a:lnTo>
                        <a:pt x="1490" y="1958"/>
                      </a:lnTo>
                      <a:lnTo>
                        <a:pt x="1490" y="1956"/>
                      </a:lnTo>
                      <a:lnTo>
                        <a:pt x="1485" y="1956"/>
                      </a:lnTo>
                      <a:lnTo>
                        <a:pt x="1485" y="1948"/>
                      </a:lnTo>
                      <a:lnTo>
                        <a:pt x="1482" y="1948"/>
                      </a:lnTo>
                      <a:lnTo>
                        <a:pt x="1479" y="1950"/>
                      </a:lnTo>
                      <a:lnTo>
                        <a:pt x="1482" y="1956"/>
                      </a:lnTo>
                      <a:lnTo>
                        <a:pt x="1477" y="1958"/>
                      </a:lnTo>
                      <a:lnTo>
                        <a:pt x="1470" y="1953"/>
                      </a:lnTo>
                      <a:lnTo>
                        <a:pt x="1468" y="1950"/>
                      </a:lnTo>
                      <a:lnTo>
                        <a:pt x="1465" y="1953"/>
                      </a:lnTo>
                      <a:lnTo>
                        <a:pt x="1468" y="1958"/>
                      </a:lnTo>
                      <a:lnTo>
                        <a:pt x="1468" y="1961"/>
                      </a:lnTo>
                      <a:lnTo>
                        <a:pt x="1465" y="1964"/>
                      </a:lnTo>
                      <a:lnTo>
                        <a:pt x="1457" y="1964"/>
                      </a:lnTo>
                      <a:lnTo>
                        <a:pt x="1454" y="1966"/>
                      </a:lnTo>
                      <a:lnTo>
                        <a:pt x="1446" y="1966"/>
                      </a:lnTo>
                      <a:lnTo>
                        <a:pt x="1446" y="1969"/>
                      </a:lnTo>
                      <a:lnTo>
                        <a:pt x="1449" y="1969"/>
                      </a:lnTo>
                      <a:lnTo>
                        <a:pt x="1449" y="1972"/>
                      </a:lnTo>
                      <a:lnTo>
                        <a:pt x="1452" y="1974"/>
                      </a:lnTo>
                      <a:lnTo>
                        <a:pt x="1452" y="1978"/>
                      </a:lnTo>
                      <a:lnTo>
                        <a:pt x="1446" y="1978"/>
                      </a:lnTo>
                      <a:lnTo>
                        <a:pt x="1444" y="1974"/>
                      </a:lnTo>
                      <a:lnTo>
                        <a:pt x="1441" y="1974"/>
                      </a:lnTo>
                      <a:lnTo>
                        <a:pt x="1427" y="1974"/>
                      </a:lnTo>
                      <a:lnTo>
                        <a:pt x="1413" y="1969"/>
                      </a:lnTo>
                      <a:lnTo>
                        <a:pt x="1404" y="1964"/>
                      </a:lnTo>
                      <a:lnTo>
                        <a:pt x="1396" y="1966"/>
                      </a:lnTo>
                      <a:lnTo>
                        <a:pt x="1393" y="1964"/>
                      </a:lnTo>
                      <a:lnTo>
                        <a:pt x="1383" y="1956"/>
                      </a:lnTo>
                      <a:lnTo>
                        <a:pt x="1380" y="1945"/>
                      </a:lnTo>
                      <a:lnTo>
                        <a:pt x="1375" y="1942"/>
                      </a:lnTo>
                      <a:lnTo>
                        <a:pt x="1372" y="1945"/>
                      </a:lnTo>
                      <a:lnTo>
                        <a:pt x="1368" y="1942"/>
                      </a:lnTo>
                      <a:lnTo>
                        <a:pt x="1366" y="1939"/>
                      </a:lnTo>
                      <a:lnTo>
                        <a:pt x="1375" y="1939"/>
                      </a:lnTo>
                      <a:lnTo>
                        <a:pt x="1368" y="1933"/>
                      </a:lnTo>
                      <a:lnTo>
                        <a:pt x="1368" y="1925"/>
                      </a:lnTo>
                      <a:lnTo>
                        <a:pt x="1355" y="1925"/>
                      </a:lnTo>
                      <a:lnTo>
                        <a:pt x="1342" y="1925"/>
                      </a:lnTo>
                      <a:lnTo>
                        <a:pt x="1330" y="1917"/>
                      </a:lnTo>
                      <a:lnTo>
                        <a:pt x="1322" y="1900"/>
                      </a:lnTo>
                      <a:lnTo>
                        <a:pt x="1314" y="1897"/>
                      </a:lnTo>
                      <a:lnTo>
                        <a:pt x="1306" y="1895"/>
                      </a:lnTo>
                      <a:lnTo>
                        <a:pt x="1297" y="1892"/>
                      </a:lnTo>
                      <a:lnTo>
                        <a:pt x="1294" y="1887"/>
                      </a:lnTo>
                      <a:lnTo>
                        <a:pt x="1281" y="1881"/>
                      </a:lnTo>
                      <a:lnTo>
                        <a:pt x="1273" y="1884"/>
                      </a:lnTo>
                      <a:lnTo>
                        <a:pt x="1266" y="1879"/>
                      </a:lnTo>
                      <a:lnTo>
                        <a:pt x="1247" y="1873"/>
                      </a:lnTo>
                      <a:lnTo>
                        <a:pt x="1237" y="1873"/>
                      </a:lnTo>
                      <a:lnTo>
                        <a:pt x="1228" y="1867"/>
                      </a:lnTo>
                      <a:lnTo>
                        <a:pt x="1225" y="1870"/>
                      </a:lnTo>
                      <a:lnTo>
                        <a:pt x="1220" y="1876"/>
                      </a:lnTo>
                      <a:lnTo>
                        <a:pt x="1217" y="1879"/>
                      </a:lnTo>
                      <a:lnTo>
                        <a:pt x="1214" y="1876"/>
                      </a:lnTo>
                      <a:lnTo>
                        <a:pt x="1209" y="1884"/>
                      </a:lnTo>
                      <a:lnTo>
                        <a:pt x="1201" y="1881"/>
                      </a:lnTo>
                      <a:lnTo>
                        <a:pt x="1192" y="1876"/>
                      </a:lnTo>
                      <a:lnTo>
                        <a:pt x="1186" y="1876"/>
                      </a:lnTo>
                      <a:lnTo>
                        <a:pt x="1184" y="1879"/>
                      </a:lnTo>
                      <a:lnTo>
                        <a:pt x="1184" y="1884"/>
                      </a:lnTo>
                      <a:lnTo>
                        <a:pt x="1181" y="1892"/>
                      </a:lnTo>
                      <a:lnTo>
                        <a:pt x="1181" y="1897"/>
                      </a:lnTo>
                      <a:lnTo>
                        <a:pt x="1181" y="1900"/>
                      </a:lnTo>
                      <a:lnTo>
                        <a:pt x="1178" y="1903"/>
                      </a:lnTo>
                      <a:lnTo>
                        <a:pt x="1173" y="1903"/>
                      </a:lnTo>
                      <a:lnTo>
                        <a:pt x="1165" y="1909"/>
                      </a:lnTo>
                      <a:lnTo>
                        <a:pt x="1156" y="1912"/>
                      </a:lnTo>
                      <a:lnTo>
                        <a:pt x="1153" y="1909"/>
                      </a:lnTo>
                      <a:lnTo>
                        <a:pt x="1143" y="1900"/>
                      </a:lnTo>
                      <a:lnTo>
                        <a:pt x="1140" y="1900"/>
                      </a:lnTo>
                      <a:lnTo>
                        <a:pt x="1140" y="1903"/>
                      </a:lnTo>
                      <a:lnTo>
                        <a:pt x="1137" y="1907"/>
                      </a:lnTo>
                      <a:lnTo>
                        <a:pt x="1132" y="1900"/>
                      </a:lnTo>
                      <a:lnTo>
                        <a:pt x="1126" y="1907"/>
                      </a:lnTo>
                      <a:lnTo>
                        <a:pt x="1123" y="1907"/>
                      </a:lnTo>
                      <a:lnTo>
                        <a:pt x="1120" y="1897"/>
                      </a:lnTo>
                      <a:lnTo>
                        <a:pt x="1115" y="1895"/>
                      </a:lnTo>
                      <a:lnTo>
                        <a:pt x="1112" y="1895"/>
                      </a:lnTo>
                      <a:lnTo>
                        <a:pt x="1109" y="1897"/>
                      </a:lnTo>
                      <a:lnTo>
                        <a:pt x="1107" y="1897"/>
                      </a:lnTo>
                      <a:lnTo>
                        <a:pt x="1104" y="1897"/>
                      </a:lnTo>
                      <a:lnTo>
                        <a:pt x="1104" y="1892"/>
                      </a:lnTo>
                      <a:lnTo>
                        <a:pt x="1101" y="1892"/>
                      </a:lnTo>
                      <a:lnTo>
                        <a:pt x="1099" y="1895"/>
                      </a:lnTo>
                      <a:lnTo>
                        <a:pt x="1092" y="1900"/>
                      </a:lnTo>
                      <a:lnTo>
                        <a:pt x="1090" y="1900"/>
                      </a:lnTo>
                      <a:lnTo>
                        <a:pt x="1090" y="1892"/>
                      </a:lnTo>
                      <a:lnTo>
                        <a:pt x="1087" y="1889"/>
                      </a:lnTo>
                      <a:lnTo>
                        <a:pt x="1084" y="1889"/>
                      </a:lnTo>
                      <a:lnTo>
                        <a:pt x="1082" y="1889"/>
                      </a:lnTo>
                      <a:lnTo>
                        <a:pt x="1079" y="1900"/>
                      </a:lnTo>
                      <a:lnTo>
                        <a:pt x="1079" y="1903"/>
                      </a:lnTo>
                      <a:lnTo>
                        <a:pt x="1076" y="1903"/>
                      </a:lnTo>
                      <a:lnTo>
                        <a:pt x="1074" y="1903"/>
                      </a:lnTo>
                      <a:lnTo>
                        <a:pt x="1071" y="1903"/>
                      </a:lnTo>
                      <a:lnTo>
                        <a:pt x="1068" y="1900"/>
                      </a:lnTo>
                      <a:lnTo>
                        <a:pt x="1071" y="1895"/>
                      </a:lnTo>
                      <a:lnTo>
                        <a:pt x="1071" y="1884"/>
                      </a:lnTo>
                      <a:lnTo>
                        <a:pt x="1065" y="1884"/>
                      </a:lnTo>
                      <a:lnTo>
                        <a:pt x="1063" y="1887"/>
                      </a:lnTo>
                      <a:lnTo>
                        <a:pt x="1059" y="1887"/>
                      </a:lnTo>
                      <a:lnTo>
                        <a:pt x="1054" y="1884"/>
                      </a:lnTo>
                      <a:lnTo>
                        <a:pt x="1051" y="1884"/>
                      </a:lnTo>
                      <a:lnTo>
                        <a:pt x="1046" y="1879"/>
                      </a:lnTo>
                      <a:lnTo>
                        <a:pt x="1038" y="1889"/>
                      </a:lnTo>
                      <a:lnTo>
                        <a:pt x="1030" y="1892"/>
                      </a:lnTo>
                      <a:lnTo>
                        <a:pt x="1026" y="1897"/>
                      </a:lnTo>
                      <a:lnTo>
                        <a:pt x="1023" y="1900"/>
                      </a:lnTo>
                      <a:lnTo>
                        <a:pt x="1021" y="1897"/>
                      </a:lnTo>
                      <a:lnTo>
                        <a:pt x="1018" y="1895"/>
                      </a:lnTo>
                      <a:lnTo>
                        <a:pt x="1021" y="1887"/>
                      </a:lnTo>
                      <a:lnTo>
                        <a:pt x="1021" y="1881"/>
                      </a:lnTo>
                      <a:lnTo>
                        <a:pt x="1007" y="1881"/>
                      </a:lnTo>
                      <a:lnTo>
                        <a:pt x="999" y="1881"/>
                      </a:lnTo>
                      <a:lnTo>
                        <a:pt x="977" y="1879"/>
                      </a:lnTo>
                      <a:lnTo>
                        <a:pt x="971" y="1873"/>
                      </a:lnTo>
                      <a:lnTo>
                        <a:pt x="969" y="1870"/>
                      </a:lnTo>
                      <a:lnTo>
                        <a:pt x="957" y="1859"/>
                      </a:lnTo>
                      <a:lnTo>
                        <a:pt x="952" y="1851"/>
                      </a:lnTo>
                      <a:lnTo>
                        <a:pt x="946" y="1848"/>
                      </a:lnTo>
                      <a:lnTo>
                        <a:pt x="936" y="1843"/>
                      </a:lnTo>
                      <a:lnTo>
                        <a:pt x="933" y="1834"/>
                      </a:lnTo>
                      <a:lnTo>
                        <a:pt x="933" y="1831"/>
                      </a:lnTo>
                      <a:lnTo>
                        <a:pt x="936" y="1826"/>
                      </a:lnTo>
                      <a:lnTo>
                        <a:pt x="938" y="1812"/>
                      </a:lnTo>
                      <a:lnTo>
                        <a:pt x="938" y="1798"/>
                      </a:lnTo>
                      <a:lnTo>
                        <a:pt x="936" y="1785"/>
                      </a:lnTo>
                      <a:lnTo>
                        <a:pt x="933" y="1782"/>
                      </a:lnTo>
                      <a:lnTo>
                        <a:pt x="928" y="1785"/>
                      </a:lnTo>
                      <a:lnTo>
                        <a:pt x="916" y="1790"/>
                      </a:lnTo>
                      <a:lnTo>
                        <a:pt x="913" y="1790"/>
                      </a:lnTo>
                      <a:lnTo>
                        <a:pt x="908" y="1782"/>
                      </a:lnTo>
                      <a:lnTo>
                        <a:pt x="905" y="1779"/>
                      </a:lnTo>
                      <a:lnTo>
                        <a:pt x="900" y="1779"/>
                      </a:lnTo>
                      <a:lnTo>
                        <a:pt x="888" y="1779"/>
                      </a:lnTo>
                      <a:lnTo>
                        <a:pt x="867" y="1771"/>
                      </a:lnTo>
                      <a:lnTo>
                        <a:pt x="856" y="1768"/>
                      </a:lnTo>
                      <a:lnTo>
                        <a:pt x="849" y="1762"/>
                      </a:lnTo>
                      <a:lnTo>
                        <a:pt x="847" y="1749"/>
                      </a:lnTo>
                      <a:lnTo>
                        <a:pt x="849" y="1741"/>
                      </a:lnTo>
                      <a:lnTo>
                        <a:pt x="856" y="1733"/>
                      </a:lnTo>
                      <a:lnTo>
                        <a:pt x="856" y="1729"/>
                      </a:lnTo>
                      <a:lnTo>
                        <a:pt x="849" y="1724"/>
                      </a:lnTo>
                      <a:lnTo>
                        <a:pt x="847" y="1726"/>
                      </a:lnTo>
                      <a:lnTo>
                        <a:pt x="839" y="1729"/>
                      </a:lnTo>
                      <a:lnTo>
                        <a:pt x="841" y="1738"/>
                      </a:lnTo>
                      <a:lnTo>
                        <a:pt x="841" y="1746"/>
                      </a:lnTo>
                      <a:lnTo>
                        <a:pt x="839" y="1754"/>
                      </a:lnTo>
                      <a:lnTo>
                        <a:pt x="833" y="1754"/>
                      </a:lnTo>
                      <a:lnTo>
                        <a:pt x="831" y="1754"/>
                      </a:lnTo>
                      <a:lnTo>
                        <a:pt x="828" y="1749"/>
                      </a:lnTo>
                      <a:lnTo>
                        <a:pt x="833" y="1735"/>
                      </a:lnTo>
                      <a:lnTo>
                        <a:pt x="831" y="1733"/>
                      </a:lnTo>
                      <a:lnTo>
                        <a:pt x="828" y="1729"/>
                      </a:lnTo>
                      <a:lnTo>
                        <a:pt x="819" y="1724"/>
                      </a:lnTo>
                      <a:lnTo>
                        <a:pt x="814" y="1724"/>
                      </a:lnTo>
                      <a:lnTo>
                        <a:pt x="811" y="1729"/>
                      </a:lnTo>
                      <a:lnTo>
                        <a:pt x="803" y="1741"/>
                      </a:lnTo>
                      <a:lnTo>
                        <a:pt x="800" y="1741"/>
                      </a:lnTo>
                      <a:lnTo>
                        <a:pt x="798" y="1735"/>
                      </a:lnTo>
                      <a:lnTo>
                        <a:pt x="798" y="1729"/>
                      </a:lnTo>
                      <a:lnTo>
                        <a:pt x="803" y="1721"/>
                      </a:lnTo>
                      <a:lnTo>
                        <a:pt x="808" y="1718"/>
                      </a:lnTo>
                      <a:lnTo>
                        <a:pt x="811" y="1713"/>
                      </a:lnTo>
                      <a:lnTo>
                        <a:pt x="808" y="1707"/>
                      </a:lnTo>
                      <a:lnTo>
                        <a:pt x="803" y="1697"/>
                      </a:lnTo>
                      <a:lnTo>
                        <a:pt x="800" y="1693"/>
                      </a:lnTo>
                      <a:lnTo>
                        <a:pt x="795" y="1693"/>
                      </a:lnTo>
                      <a:lnTo>
                        <a:pt x="792" y="1693"/>
                      </a:lnTo>
                      <a:lnTo>
                        <a:pt x="781" y="1693"/>
                      </a:lnTo>
                      <a:lnTo>
                        <a:pt x="767" y="1702"/>
                      </a:lnTo>
                      <a:lnTo>
                        <a:pt x="762" y="1697"/>
                      </a:lnTo>
                      <a:lnTo>
                        <a:pt x="756" y="1688"/>
                      </a:lnTo>
                      <a:lnTo>
                        <a:pt x="754" y="1685"/>
                      </a:lnTo>
                      <a:lnTo>
                        <a:pt x="747" y="1688"/>
                      </a:lnTo>
                      <a:lnTo>
                        <a:pt x="745" y="1697"/>
                      </a:lnTo>
                      <a:lnTo>
                        <a:pt x="742" y="1697"/>
                      </a:lnTo>
                      <a:lnTo>
                        <a:pt x="739" y="1697"/>
                      </a:lnTo>
                      <a:lnTo>
                        <a:pt x="734" y="1685"/>
                      </a:lnTo>
                      <a:lnTo>
                        <a:pt x="731" y="1685"/>
                      </a:lnTo>
                      <a:lnTo>
                        <a:pt x="723" y="1688"/>
                      </a:lnTo>
                      <a:lnTo>
                        <a:pt x="721" y="1688"/>
                      </a:lnTo>
                      <a:lnTo>
                        <a:pt x="721" y="1682"/>
                      </a:lnTo>
                      <a:lnTo>
                        <a:pt x="723" y="1677"/>
                      </a:lnTo>
                      <a:lnTo>
                        <a:pt x="721" y="1674"/>
                      </a:lnTo>
                      <a:lnTo>
                        <a:pt x="717" y="1677"/>
                      </a:lnTo>
                      <a:lnTo>
                        <a:pt x="717" y="1674"/>
                      </a:lnTo>
                      <a:lnTo>
                        <a:pt x="723" y="1666"/>
                      </a:lnTo>
                      <a:lnTo>
                        <a:pt x="729" y="1647"/>
                      </a:lnTo>
                      <a:lnTo>
                        <a:pt x="726" y="1644"/>
                      </a:lnTo>
                      <a:lnTo>
                        <a:pt x="721" y="1641"/>
                      </a:lnTo>
                      <a:lnTo>
                        <a:pt x="709" y="1641"/>
                      </a:lnTo>
                      <a:lnTo>
                        <a:pt x="703" y="1633"/>
                      </a:lnTo>
                      <a:lnTo>
                        <a:pt x="703" y="1630"/>
                      </a:lnTo>
                      <a:lnTo>
                        <a:pt x="709" y="1616"/>
                      </a:lnTo>
                      <a:lnTo>
                        <a:pt x="709" y="1603"/>
                      </a:lnTo>
                      <a:lnTo>
                        <a:pt x="701" y="1578"/>
                      </a:lnTo>
                      <a:lnTo>
                        <a:pt x="701" y="1572"/>
                      </a:lnTo>
                      <a:lnTo>
                        <a:pt x="698" y="1567"/>
                      </a:lnTo>
                      <a:lnTo>
                        <a:pt x="693" y="1567"/>
                      </a:lnTo>
                      <a:lnTo>
                        <a:pt x="681" y="1572"/>
                      </a:lnTo>
                      <a:lnTo>
                        <a:pt x="660" y="1572"/>
                      </a:lnTo>
                      <a:lnTo>
                        <a:pt x="657" y="1575"/>
                      </a:lnTo>
                      <a:lnTo>
                        <a:pt x="662" y="1580"/>
                      </a:lnTo>
                      <a:lnTo>
                        <a:pt x="662" y="1583"/>
                      </a:lnTo>
                      <a:lnTo>
                        <a:pt x="662" y="1586"/>
                      </a:lnTo>
                      <a:lnTo>
                        <a:pt x="657" y="1586"/>
                      </a:lnTo>
                      <a:lnTo>
                        <a:pt x="640" y="1578"/>
                      </a:lnTo>
                      <a:lnTo>
                        <a:pt x="629" y="1570"/>
                      </a:lnTo>
                      <a:lnTo>
                        <a:pt x="626" y="1567"/>
                      </a:lnTo>
                      <a:lnTo>
                        <a:pt x="629" y="1564"/>
                      </a:lnTo>
                      <a:lnTo>
                        <a:pt x="640" y="1552"/>
                      </a:lnTo>
                      <a:lnTo>
                        <a:pt x="645" y="1542"/>
                      </a:lnTo>
                      <a:lnTo>
                        <a:pt x="645" y="1539"/>
                      </a:lnTo>
                      <a:lnTo>
                        <a:pt x="640" y="1528"/>
                      </a:lnTo>
                      <a:lnTo>
                        <a:pt x="640" y="1526"/>
                      </a:lnTo>
                      <a:lnTo>
                        <a:pt x="643" y="1519"/>
                      </a:lnTo>
                      <a:lnTo>
                        <a:pt x="637" y="1514"/>
                      </a:lnTo>
                      <a:lnTo>
                        <a:pt x="637" y="1509"/>
                      </a:lnTo>
                      <a:lnTo>
                        <a:pt x="645" y="1501"/>
                      </a:lnTo>
                      <a:lnTo>
                        <a:pt x="648" y="1493"/>
                      </a:lnTo>
                      <a:lnTo>
                        <a:pt x="645" y="1490"/>
                      </a:lnTo>
                      <a:lnTo>
                        <a:pt x="643" y="1486"/>
                      </a:lnTo>
                      <a:lnTo>
                        <a:pt x="629" y="1486"/>
                      </a:lnTo>
                      <a:lnTo>
                        <a:pt x="612" y="1481"/>
                      </a:lnTo>
                      <a:lnTo>
                        <a:pt x="609" y="1481"/>
                      </a:lnTo>
                      <a:lnTo>
                        <a:pt x="607" y="1475"/>
                      </a:lnTo>
                      <a:lnTo>
                        <a:pt x="601" y="1445"/>
                      </a:lnTo>
                      <a:lnTo>
                        <a:pt x="601" y="1432"/>
                      </a:lnTo>
                      <a:lnTo>
                        <a:pt x="596" y="1418"/>
                      </a:lnTo>
                      <a:lnTo>
                        <a:pt x="599" y="1412"/>
                      </a:lnTo>
                      <a:lnTo>
                        <a:pt x="612" y="1409"/>
                      </a:lnTo>
                      <a:lnTo>
                        <a:pt x="616" y="1406"/>
                      </a:lnTo>
                      <a:lnTo>
                        <a:pt x="612" y="1401"/>
                      </a:lnTo>
                      <a:lnTo>
                        <a:pt x="596" y="1401"/>
                      </a:lnTo>
                      <a:lnTo>
                        <a:pt x="593" y="1398"/>
                      </a:lnTo>
                      <a:lnTo>
                        <a:pt x="588" y="1376"/>
                      </a:lnTo>
                      <a:lnTo>
                        <a:pt x="588" y="1363"/>
                      </a:lnTo>
                      <a:lnTo>
                        <a:pt x="591" y="1360"/>
                      </a:lnTo>
                      <a:lnTo>
                        <a:pt x="601" y="1357"/>
                      </a:lnTo>
                      <a:lnTo>
                        <a:pt x="604" y="1355"/>
                      </a:lnTo>
                      <a:lnTo>
                        <a:pt x="601" y="1349"/>
                      </a:lnTo>
                      <a:lnTo>
                        <a:pt x="599" y="1349"/>
                      </a:lnTo>
                      <a:lnTo>
                        <a:pt x="593" y="1349"/>
                      </a:lnTo>
                      <a:lnTo>
                        <a:pt x="591" y="1349"/>
                      </a:lnTo>
                      <a:lnTo>
                        <a:pt x="585" y="1332"/>
                      </a:lnTo>
                      <a:lnTo>
                        <a:pt x="585" y="1327"/>
                      </a:lnTo>
                      <a:lnTo>
                        <a:pt x="591" y="1321"/>
                      </a:lnTo>
                      <a:lnTo>
                        <a:pt x="599" y="1313"/>
                      </a:lnTo>
                      <a:lnTo>
                        <a:pt x="618" y="1307"/>
                      </a:lnTo>
                      <a:lnTo>
                        <a:pt x="621" y="1302"/>
                      </a:lnTo>
                      <a:lnTo>
                        <a:pt x="618" y="1296"/>
                      </a:lnTo>
                      <a:lnTo>
                        <a:pt x="612" y="1285"/>
                      </a:lnTo>
                      <a:lnTo>
                        <a:pt x="609" y="1283"/>
                      </a:lnTo>
                      <a:lnTo>
                        <a:pt x="624" y="1271"/>
                      </a:lnTo>
                      <a:lnTo>
                        <a:pt x="632" y="1266"/>
                      </a:lnTo>
                      <a:lnTo>
                        <a:pt x="632" y="1263"/>
                      </a:lnTo>
                      <a:lnTo>
                        <a:pt x="624" y="1255"/>
                      </a:lnTo>
                      <a:lnTo>
                        <a:pt x="621" y="1247"/>
                      </a:lnTo>
                      <a:lnTo>
                        <a:pt x="618" y="1238"/>
                      </a:lnTo>
                      <a:lnTo>
                        <a:pt x="618" y="1235"/>
                      </a:lnTo>
                      <a:lnTo>
                        <a:pt x="626" y="1238"/>
                      </a:lnTo>
                      <a:lnTo>
                        <a:pt x="621" y="1216"/>
                      </a:lnTo>
                      <a:lnTo>
                        <a:pt x="604" y="1194"/>
                      </a:lnTo>
                      <a:lnTo>
                        <a:pt x="596" y="1189"/>
                      </a:lnTo>
                      <a:lnTo>
                        <a:pt x="591" y="1189"/>
                      </a:lnTo>
                      <a:lnTo>
                        <a:pt x="585" y="1186"/>
                      </a:lnTo>
                      <a:lnTo>
                        <a:pt x="585" y="1178"/>
                      </a:lnTo>
                      <a:lnTo>
                        <a:pt x="591" y="1178"/>
                      </a:lnTo>
                      <a:lnTo>
                        <a:pt x="593" y="1169"/>
                      </a:lnTo>
                      <a:lnTo>
                        <a:pt x="591" y="1161"/>
                      </a:lnTo>
                      <a:lnTo>
                        <a:pt x="593" y="1150"/>
                      </a:lnTo>
                      <a:lnTo>
                        <a:pt x="593" y="1142"/>
                      </a:lnTo>
                      <a:lnTo>
                        <a:pt x="591" y="1133"/>
                      </a:lnTo>
                      <a:lnTo>
                        <a:pt x="588" y="1125"/>
                      </a:lnTo>
                      <a:lnTo>
                        <a:pt x="579" y="1122"/>
                      </a:lnTo>
                      <a:lnTo>
                        <a:pt x="571" y="1122"/>
                      </a:lnTo>
                      <a:lnTo>
                        <a:pt x="568" y="1120"/>
                      </a:lnTo>
                      <a:lnTo>
                        <a:pt x="568" y="1117"/>
                      </a:lnTo>
                      <a:lnTo>
                        <a:pt x="565" y="1114"/>
                      </a:lnTo>
                      <a:lnTo>
                        <a:pt x="563" y="1112"/>
                      </a:lnTo>
                      <a:lnTo>
                        <a:pt x="565" y="1109"/>
                      </a:lnTo>
                      <a:lnTo>
                        <a:pt x="565" y="1104"/>
                      </a:lnTo>
                      <a:lnTo>
                        <a:pt x="571" y="1100"/>
                      </a:lnTo>
                      <a:lnTo>
                        <a:pt x="571" y="1097"/>
                      </a:lnTo>
                      <a:lnTo>
                        <a:pt x="571" y="1095"/>
                      </a:lnTo>
                      <a:lnTo>
                        <a:pt x="568" y="1084"/>
                      </a:lnTo>
                      <a:lnTo>
                        <a:pt x="563" y="1076"/>
                      </a:lnTo>
                      <a:lnTo>
                        <a:pt x="565" y="1064"/>
                      </a:lnTo>
                      <a:lnTo>
                        <a:pt x="560" y="1059"/>
                      </a:lnTo>
                      <a:lnTo>
                        <a:pt x="557" y="1053"/>
                      </a:lnTo>
                      <a:lnTo>
                        <a:pt x="560" y="1045"/>
                      </a:lnTo>
                      <a:lnTo>
                        <a:pt x="568" y="1045"/>
                      </a:lnTo>
                      <a:lnTo>
                        <a:pt x="573" y="1040"/>
                      </a:lnTo>
                      <a:lnTo>
                        <a:pt x="579" y="1031"/>
                      </a:lnTo>
                      <a:lnTo>
                        <a:pt x="579" y="1018"/>
                      </a:lnTo>
                      <a:lnTo>
                        <a:pt x="573" y="1007"/>
                      </a:lnTo>
                      <a:lnTo>
                        <a:pt x="579" y="999"/>
                      </a:lnTo>
                      <a:lnTo>
                        <a:pt x="585" y="995"/>
                      </a:lnTo>
                      <a:lnTo>
                        <a:pt x="593" y="984"/>
                      </a:lnTo>
                      <a:lnTo>
                        <a:pt x="601" y="976"/>
                      </a:lnTo>
                      <a:lnTo>
                        <a:pt x="607" y="959"/>
                      </a:lnTo>
                      <a:lnTo>
                        <a:pt x="609" y="957"/>
                      </a:lnTo>
                      <a:lnTo>
                        <a:pt x="612" y="951"/>
                      </a:lnTo>
                      <a:lnTo>
                        <a:pt x="616" y="946"/>
                      </a:lnTo>
                      <a:lnTo>
                        <a:pt x="616" y="943"/>
                      </a:lnTo>
                      <a:lnTo>
                        <a:pt x="616" y="941"/>
                      </a:lnTo>
                      <a:lnTo>
                        <a:pt x="609" y="930"/>
                      </a:lnTo>
                      <a:lnTo>
                        <a:pt x="609" y="921"/>
                      </a:lnTo>
                      <a:lnTo>
                        <a:pt x="612" y="910"/>
                      </a:lnTo>
                      <a:lnTo>
                        <a:pt x="609" y="894"/>
                      </a:lnTo>
                      <a:lnTo>
                        <a:pt x="604" y="888"/>
                      </a:lnTo>
                      <a:lnTo>
                        <a:pt x="601" y="877"/>
                      </a:lnTo>
                      <a:lnTo>
                        <a:pt x="599" y="872"/>
                      </a:lnTo>
                      <a:lnTo>
                        <a:pt x="604" y="852"/>
                      </a:lnTo>
                      <a:lnTo>
                        <a:pt x="601" y="841"/>
                      </a:lnTo>
                      <a:lnTo>
                        <a:pt x="599" y="836"/>
                      </a:lnTo>
                      <a:lnTo>
                        <a:pt x="599" y="828"/>
                      </a:lnTo>
                      <a:lnTo>
                        <a:pt x="599" y="821"/>
                      </a:lnTo>
                      <a:lnTo>
                        <a:pt x="601" y="811"/>
                      </a:lnTo>
                      <a:lnTo>
                        <a:pt x="616" y="797"/>
                      </a:lnTo>
                      <a:lnTo>
                        <a:pt x="618" y="785"/>
                      </a:lnTo>
                      <a:lnTo>
                        <a:pt x="616" y="780"/>
                      </a:lnTo>
                      <a:lnTo>
                        <a:pt x="604" y="772"/>
                      </a:lnTo>
                      <a:lnTo>
                        <a:pt x="599" y="759"/>
                      </a:lnTo>
                      <a:lnTo>
                        <a:pt x="593" y="747"/>
                      </a:lnTo>
                      <a:lnTo>
                        <a:pt x="591" y="736"/>
                      </a:lnTo>
                      <a:lnTo>
                        <a:pt x="585" y="731"/>
                      </a:lnTo>
                      <a:lnTo>
                        <a:pt x="573" y="720"/>
                      </a:lnTo>
                      <a:lnTo>
                        <a:pt x="552" y="711"/>
                      </a:lnTo>
                      <a:lnTo>
                        <a:pt x="552" y="714"/>
                      </a:lnTo>
                      <a:lnTo>
                        <a:pt x="555" y="716"/>
                      </a:lnTo>
                      <a:lnTo>
                        <a:pt x="555" y="720"/>
                      </a:lnTo>
                      <a:lnTo>
                        <a:pt x="552" y="725"/>
                      </a:lnTo>
                      <a:lnTo>
                        <a:pt x="540" y="731"/>
                      </a:lnTo>
                      <a:lnTo>
                        <a:pt x="538" y="731"/>
                      </a:lnTo>
                      <a:lnTo>
                        <a:pt x="535" y="728"/>
                      </a:lnTo>
                      <a:lnTo>
                        <a:pt x="535" y="731"/>
                      </a:lnTo>
                      <a:lnTo>
                        <a:pt x="538" y="736"/>
                      </a:lnTo>
                      <a:lnTo>
                        <a:pt x="530" y="739"/>
                      </a:lnTo>
                      <a:lnTo>
                        <a:pt x="530" y="752"/>
                      </a:lnTo>
                      <a:lnTo>
                        <a:pt x="530" y="759"/>
                      </a:lnTo>
                      <a:lnTo>
                        <a:pt x="530" y="761"/>
                      </a:lnTo>
                      <a:lnTo>
                        <a:pt x="524" y="764"/>
                      </a:lnTo>
                      <a:lnTo>
                        <a:pt x="516" y="759"/>
                      </a:lnTo>
                      <a:lnTo>
                        <a:pt x="514" y="769"/>
                      </a:lnTo>
                      <a:lnTo>
                        <a:pt x="507" y="769"/>
                      </a:lnTo>
                      <a:lnTo>
                        <a:pt x="504" y="772"/>
                      </a:lnTo>
                      <a:lnTo>
                        <a:pt x="504" y="775"/>
                      </a:lnTo>
                      <a:lnTo>
                        <a:pt x="507" y="783"/>
                      </a:lnTo>
                      <a:lnTo>
                        <a:pt x="507" y="785"/>
                      </a:lnTo>
                      <a:lnTo>
                        <a:pt x="504" y="785"/>
                      </a:lnTo>
                      <a:lnTo>
                        <a:pt x="502" y="783"/>
                      </a:lnTo>
                      <a:lnTo>
                        <a:pt x="491" y="785"/>
                      </a:lnTo>
                      <a:lnTo>
                        <a:pt x="491" y="777"/>
                      </a:lnTo>
                      <a:lnTo>
                        <a:pt x="488" y="777"/>
                      </a:lnTo>
                      <a:lnTo>
                        <a:pt x="483" y="780"/>
                      </a:lnTo>
                      <a:lnTo>
                        <a:pt x="480" y="783"/>
                      </a:lnTo>
                      <a:lnTo>
                        <a:pt x="478" y="780"/>
                      </a:lnTo>
                      <a:lnTo>
                        <a:pt x="474" y="769"/>
                      </a:lnTo>
                      <a:lnTo>
                        <a:pt x="471" y="769"/>
                      </a:lnTo>
                      <a:lnTo>
                        <a:pt x="469" y="775"/>
                      </a:lnTo>
                      <a:lnTo>
                        <a:pt x="469" y="772"/>
                      </a:lnTo>
                      <a:lnTo>
                        <a:pt x="466" y="769"/>
                      </a:lnTo>
                      <a:lnTo>
                        <a:pt x="471" y="764"/>
                      </a:lnTo>
                      <a:lnTo>
                        <a:pt x="469" y="764"/>
                      </a:lnTo>
                      <a:lnTo>
                        <a:pt x="466" y="764"/>
                      </a:lnTo>
                      <a:lnTo>
                        <a:pt x="461" y="759"/>
                      </a:lnTo>
                      <a:lnTo>
                        <a:pt x="453" y="767"/>
                      </a:lnTo>
                      <a:lnTo>
                        <a:pt x="453" y="772"/>
                      </a:lnTo>
                      <a:lnTo>
                        <a:pt x="445" y="769"/>
                      </a:lnTo>
                      <a:lnTo>
                        <a:pt x="450" y="761"/>
                      </a:lnTo>
                      <a:lnTo>
                        <a:pt x="445" y="756"/>
                      </a:lnTo>
                      <a:lnTo>
                        <a:pt x="445" y="752"/>
                      </a:lnTo>
                      <a:lnTo>
                        <a:pt x="447" y="752"/>
                      </a:lnTo>
                      <a:lnTo>
                        <a:pt x="453" y="752"/>
                      </a:lnTo>
                      <a:lnTo>
                        <a:pt x="455" y="752"/>
                      </a:lnTo>
                      <a:lnTo>
                        <a:pt x="458" y="750"/>
                      </a:lnTo>
                      <a:lnTo>
                        <a:pt x="455" y="750"/>
                      </a:lnTo>
                      <a:lnTo>
                        <a:pt x="455" y="744"/>
                      </a:lnTo>
                      <a:lnTo>
                        <a:pt x="450" y="747"/>
                      </a:lnTo>
                      <a:lnTo>
                        <a:pt x="447" y="750"/>
                      </a:lnTo>
                      <a:lnTo>
                        <a:pt x="441" y="750"/>
                      </a:lnTo>
                      <a:lnTo>
                        <a:pt x="435" y="750"/>
                      </a:lnTo>
                      <a:lnTo>
                        <a:pt x="433" y="752"/>
                      </a:lnTo>
                      <a:lnTo>
                        <a:pt x="433" y="759"/>
                      </a:lnTo>
                      <a:lnTo>
                        <a:pt x="430" y="759"/>
                      </a:lnTo>
                      <a:lnTo>
                        <a:pt x="425" y="752"/>
                      </a:lnTo>
                      <a:lnTo>
                        <a:pt x="419" y="750"/>
                      </a:lnTo>
                      <a:lnTo>
                        <a:pt x="422" y="744"/>
                      </a:lnTo>
                      <a:lnTo>
                        <a:pt x="422" y="739"/>
                      </a:lnTo>
                      <a:lnTo>
                        <a:pt x="417" y="742"/>
                      </a:lnTo>
                      <a:lnTo>
                        <a:pt x="417" y="744"/>
                      </a:lnTo>
                      <a:lnTo>
                        <a:pt x="419" y="752"/>
                      </a:lnTo>
                      <a:lnTo>
                        <a:pt x="417" y="756"/>
                      </a:lnTo>
                      <a:lnTo>
                        <a:pt x="414" y="761"/>
                      </a:lnTo>
                      <a:lnTo>
                        <a:pt x="411" y="764"/>
                      </a:lnTo>
                      <a:lnTo>
                        <a:pt x="409" y="761"/>
                      </a:lnTo>
                      <a:lnTo>
                        <a:pt x="409" y="764"/>
                      </a:lnTo>
                      <a:lnTo>
                        <a:pt x="405" y="761"/>
                      </a:lnTo>
                      <a:lnTo>
                        <a:pt x="402" y="756"/>
                      </a:lnTo>
                      <a:lnTo>
                        <a:pt x="409" y="752"/>
                      </a:lnTo>
                      <a:lnTo>
                        <a:pt x="409" y="750"/>
                      </a:lnTo>
                      <a:lnTo>
                        <a:pt x="405" y="750"/>
                      </a:lnTo>
                      <a:lnTo>
                        <a:pt x="402" y="747"/>
                      </a:lnTo>
                      <a:lnTo>
                        <a:pt x="400" y="747"/>
                      </a:lnTo>
                      <a:lnTo>
                        <a:pt x="400" y="752"/>
                      </a:lnTo>
                      <a:lnTo>
                        <a:pt x="394" y="752"/>
                      </a:lnTo>
                      <a:lnTo>
                        <a:pt x="394" y="759"/>
                      </a:lnTo>
                      <a:lnTo>
                        <a:pt x="392" y="761"/>
                      </a:lnTo>
                      <a:lnTo>
                        <a:pt x="392" y="764"/>
                      </a:lnTo>
                      <a:lnTo>
                        <a:pt x="384" y="764"/>
                      </a:lnTo>
                      <a:lnTo>
                        <a:pt x="378" y="764"/>
                      </a:lnTo>
                      <a:lnTo>
                        <a:pt x="381" y="759"/>
                      </a:lnTo>
                      <a:lnTo>
                        <a:pt x="381" y="756"/>
                      </a:lnTo>
                      <a:lnTo>
                        <a:pt x="384" y="752"/>
                      </a:lnTo>
                      <a:lnTo>
                        <a:pt x="381" y="750"/>
                      </a:lnTo>
                      <a:lnTo>
                        <a:pt x="378" y="747"/>
                      </a:lnTo>
                      <a:lnTo>
                        <a:pt x="372" y="747"/>
                      </a:lnTo>
                      <a:lnTo>
                        <a:pt x="367" y="750"/>
                      </a:lnTo>
                      <a:lnTo>
                        <a:pt x="367" y="752"/>
                      </a:lnTo>
                      <a:lnTo>
                        <a:pt x="361" y="752"/>
                      </a:lnTo>
                      <a:lnTo>
                        <a:pt x="361" y="747"/>
                      </a:lnTo>
                      <a:lnTo>
                        <a:pt x="358" y="747"/>
                      </a:lnTo>
                      <a:lnTo>
                        <a:pt x="356" y="750"/>
                      </a:lnTo>
                      <a:lnTo>
                        <a:pt x="358" y="752"/>
                      </a:lnTo>
                      <a:lnTo>
                        <a:pt x="356" y="752"/>
                      </a:lnTo>
                      <a:lnTo>
                        <a:pt x="353" y="756"/>
                      </a:lnTo>
                      <a:lnTo>
                        <a:pt x="353" y="752"/>
                      </a:lnTo>
                      <a:lnTo>
                        <a:pt x="350" y="750"/>
                      </a:lnTo>
                      <a:lnTo>
                        <a:pt x="345" y="752"/>
                      </a:lnTo>
                      <a:lnTo>
                        <a:pt x="339" y="756"/>
                      </a:lnTo>
                      <a:lnTo>
                        <a:pt x="336" y="767"/>
                      </a:lnTo>
                      <a:lnTo>
                        <a:pt x="342" y="769"/>
                      </a:lnTo>
                      <a:lnTo>
                        <a:pt x="339" y="769"/>
                      </a:lnTo>
                      <a:lnTo>
                        <a:pt x="333" y="767"/>
                      </a:lnTo>
                      <a:lnTo>
                        <a:pt x="333" y="772"/>
                      </a:lnTo>
                      <a:lnTo>
                        <a:pt x="331" y="769"/>
                      </a:lnTo>
                      <a:lnTo>
                        <a:pt x="328" y="769"/>
                      </a:lnTo>
                      <a:lnTo>
                        <a:pt x="328" y="764"/>
                      </a:lnTo>
                      <a:lnTo>
                        <a:pt x="320" y="772"/>
                      </a:lnTo>
                      <a:lnTo>
                        <a:pt x="317" y="772"/>
                      </a:lnTo>
                      <a:lnTo>
                        <a:pt x="312" y="761"/>
                      </a:lnTo>
                      <a:lnTo>
                        <a:pt x="298" y="761"/>
                      </a:lnTo>
                      <a:lnTo>
                        <a:pt x="292" y="764"/>
                      </a:lnTo>
                      <a:lnTo>
                        <a:pt x="295" y="767"/>
                      </a:lnTo>
                      <a:lnTo>
                        <a:pt x="292" y="767"/>
                      </a:lnTo>
                      <a:lnTo>
                        <a:pt x="289" y="772"/>
                      </a:lnTo>
                      <a:lnTo>
                        <a:pt x="287" y="769"/>
                      </a:lnTo>
                      <a:lnTo>
                        <a:pt x="287" y="764"/>
                      </a:lnTo>
                      <a:lnTo>
                        <a:pt x="287" y="761"/>
                      </a:lnTo>
                      <a:lnTo>
                        <a:pt x="284" y="761"/>
                      </a:lnTo>
                      <a:lnTo>
                        <a:pt x="281" y="761"/>
                      </a:lnTo>
                      <a:lnTo>
                        <a:pt x="281" y="764"/>
                      </a:lnTo>
                      <a:lnTo>
                        <a:pt x="276" y="764"/>
                      </a:lnTo>
                      <a:lnTo>
                        <a:pt x="276" y="761"/>
                      </a:lnTo>
                      <a:lnTo>
                        <a:pt x="273" y="764"/>
                      </a:lnTo>
                      <a:lnTo>
                        <a:pt x="270" y="761"/>
                      </a:lnTo>
                      <a:lnTo>
                        <a:pt x="267" y="764"/>
                      </a:lnTo>
                      <a:lnTo>
                        <a:pt x="264" y="761"/>
                      </a:lnTo>
                      <a:lnTo>
                        <a:pt x="256" y="764"/>
                      </a:lnTo>
                      <a:lnTo>
                        <a:pt x="256" y="769"/>
                      </a:lnTo>
                      <a:lnTo>
                        <a:pt x="248" y="769"/>
                      </a:lnTo>
                      <a:lnTo>
                        <a:pt x="248" y="772"/>
                      </a:lnTo>
                      <a:lnTo>
                        <a:pt x="251" y="777"/>
                      </a:lnTo>
                      <a:lnTo>
                        <a:pt x="248" y="775"/>
                      </a:lnTo>
                      <a:lnTo>
                        <a:pt x="246" y="777"/>
                      </a:lnTo>
                      <a:lnTo>
                        <a:pt x="248" y="777"/>
                      </a:lnTo>
                      <a:lnTo>
                        <a:pt x="243" y="780"/>
                      </a:lnTo>
                      <a:lnTo>
                        <a:pt x="240" y="780"/>
                      </a:lnTo>
                      <a:lnTo>
                        <a:pt x="238" y="777"/>
                      </a:lnTo>
                      <a:lnTo>
                        <a:pt x="229" y="772"/>
                      </a:lnTo>
                      <a:lnTo>
                        <a:pt x="229" y="777"/>
                      </a:lnTo>
                      <a:lnTo>
                        <a:pt x="226" y="775"/>
                      </a:lnTo>
                      <a:lnTo>
                        <a:pt x="226" y="777"/>
                      </a:lnTo>
                      <a:lnTo>
                        <a:pt x="223" y="780"/>
                      </a:lnTo>
                      <a:lnTo>
                        <a:pt x="220" y="780"/>
                      </a:lnTo>
                      <a:lnTo>
                        <a:pt x="215" y="783"/>
                      </a:lnTo>
                      <a:lnTo>
                        <a:pt x="215" y="777"/>
                      </a:lnTo>
                      <a:lnTo>
                        <a:pt x="212" y="780"/>
                      </a:lnTo>
                      <a:lnTo>
                        <a:pt x="212" y="785"/>
                      </a:lnTo>
                      <a:lnTo>
                        <a:pt x="210" y="785"/>
                      </a:lnTo>
                      <a:lnTo>
                        <a:pt x="204" y="783"/>
                      </a:lnTo>
                      <a:lnTo>
                        <a:pt x="201" y="783"/>
                      </a:lnTo>
                      <a:lnTo>
                        <a:pt x="198" y="780"/>
                      </a:lnTo>
                      <a:lnTo>
                        <a:pt x="195" y="783"/>
                      </a:lnTo>
                      <a:lnTo>
                        <a:pt x="185" y="783"/>
                      </a:lnTo>
                      <a:lnTo>
                        <a:pt x="182" y="785"/>
                      </a:lnTo>
                      <a:lnTo>
                        <a:pt x="182" y="788"/>
                      </a:lnTo>
                      <a:lnTo>
                        <a:pt x="182" y="794"/>
                      </a:lnTo>
                      <a:lnTo>
                        <a:pt x="171" y="797"/>
                      </a:lnTo>
                      <a:lnTo>
                        <a:pt x="162" y="794"/>
                      </a:lnTo>
                      <a:lnTo>
                        <a:pt x="162" y="797"/>
                      </a:lnTo>
                      <a:lnTo>
                        <a:pt x="159" y="800"/>
                      </a:lnTo>
                      <a:lnTo>
                        <a:pt x="159" y="802"/>
                      </a:lnTo>
                      <a:lnTo>
                        <a:pt x="157" y="802"/>
                      </a:lnTo>
                      <a:lnTo>
                        <a:pt x="154" y="805"/>
                      </a:lnTo>
                      <a:lnTo>
                        <a:pt x="154" y="808"/>
                      </a:lnTo>
                      <a:lnTo>
                        <a:pt x="159" y="808"/>
                      </a:lnTo>
                      <a:lnTo>
                        <a:pt x="154" y="808"/>
                      </a:lnTo>
                      <a:lnTo>
                        <a:pt x="152" y="805"/>
                      </a:lnTo>
                      <a:lnTo>
                        <a:pt x="154" y="797"/>
                      </a:lnTo>
                      <a:lnTo>
                        <a:pt x="149" y="794"/>
                      </a:lnTo>
                      <a:lnTo>
                        <a:pt x="146" y="797"/>
                      </a:lnTo>
                      <a:lnTo>
                        <a:pt x="141" y="797"/>
                      </a:lnTo>
                      <a:lnTo>
                        <a:pt x="143" y="800"/>
                      </a:lnTo>
                      <a:lnTo>
                        <a:pt x="141" y="800"/>
                      </a:lnTo>
                      <a:lnTo>
                        <a:pt x="135" y="797"/>
                      </a:lnTo>
                      <a:lnTo>
                        <a:pt x="132" y="797"/>
                      </a:lnTo>
                      <a:lnTo>
                        <a:pt x="126" y="797"/>
                      </a:lnTo>
                      <a:lnTo>
                        <a:pt x="126" y="802"/>
                      </a:lnTo>
                      <a:lnTo>
                        <a:pt x="124" y="802"/>
                      </a:lnTo>
                      <a:lnTo>
                        <a:pt x="124" y="800"/>
                      </a:lnTo>
                      <a:lnTo>
                        <a:pt x="118" y="800"/>
                      </a:lnTo>
                      <a:lnTo>
                        <a:pt x="116" y="802"/>
                      </a:lnTo>
                      <a:lnTo>
                        <a:pt x="113" y="802"/>
                      </a:lnTo>
                      <a:lnTo>
                        <a:pt x="105" y="800"/>
                      </a:lnTo>
                      <a:lnTo>
                        <a:pt x="105" y="805"/>
                      </a:lnTo>
                      <a:lnTo>
                        <a:pt x="100" y="802"/>
                      </a:lnTo>
                      <a:lnTo>
                        <a:pt x="96" y="802"/>
                      </a:lnTo>
                      <a:lnTo>
                        <a:pt x="100" y="805"/>
                      </a:lnTo>
                      <a:lnTo>
                        <a:pt x="96" y="808"/>
                      </a:lnTo>
                      <a:lnTo>
                        <a:pt x="93" y="805"/>
                      </a:lnTo>
                      <a:lnTo>
                        <a:pt x="90" y="808"/>
                      </a:lnTo>
                      <a:lnTo>
                        <a:pt x="90" y="811"/>
                      </a:lnTo>
                      <a:lnTo>
                        <a:pt x="88" y="808"/>
                      </a:lnTo>
                      <a:lnTo>
                        <a:pt x="74" y="805"/>
                      </a:lnTo>
                      <a:lnTo>
                        <a:pt x="0" y="772"/>
                      </a:lnTo>
                      <a:lnTo>
                        <a:pt x="0" y="772"/>
                      </a:lnTo>
                      <a:close/>
                    </a:path>
                  </a:pathLst>
                </a:custGeom>
                <a:grpFill/>
                <a:ln w="12700" cap="flat" cmpd="sng" algn="ctr">
                  <a:solidFill>
                    <a:schemeClr val="bg1">
                      <a:lumMod val="85000"/>
                    </a:schemeClr>
                  </a:solidFill>
                  <a:prstDash val="solid"/>
                  <a:round/>
                  <a:headEnd type="none" w="med" len="med"/>
                  <a:tailEnd type="none" w="med" len="med"/>
                </a:ln>
              </p:spPr>
            </p:sp>
            <p:sp>
              <p:nvSpPr>
                <p:cNvPr id="59" name="ee4p_BR_20"/>
                <p:cNvSpPr>
                  <a:spLocks/>
                </p:cNvSpPr>
                <p:nvPr>
                  <p:custDataLst>
                    <p:tags r:id="rId21"/>
                  </p:custDataLst>
                </p:nvPr>
              </p:nvSpPr>
              <p:spPr bwMode="auto">
                <a:xfrm>
                  <a:off x="3474201" y="1549899"/>
                  <a:ext cx="621961" cy="803678"/>
                </a:xfrm>
                <a:custGeom>
                  <a:avLst/>
                  <a:gdLst/>
                  <a:ahLst/>
                  <a:cxnLst>
                    <a:cxn ang="0">
                      <a:pos x="58" y="526"/>
                    </a:cxn>
                    <a:cxn ang="0">
                      <a:pos x="224" y="480"/>
                    </a:cxn>
                    <a:cxn ang="0">
                      <a:pos x="362" y="568"/>
                    </a:cxn>
                    <a:cxn ang="0">
                      <a:pos x="458" y="560"/>
                    </a:cxn>
                    <a:cxn ang="0">
                      <a:pos x="526" y="593"/>
                    </a:cxn>
                    <a:cxn ang="0">
                      <a:pos x="595" y="552"/>
                    </a:cxn>
                    <a:cxn ang="0">
                      <a:pos x="715" y="637"/>
                    </a:cxn>
                    <a:cxn ang="0">
                      <a:pos x="828" y="659"/>
                    </a:cxn>
                    <a:cxn ang="0">
                      <a:pos x="828" y="560"/>
                    </a:cxn>
                    <a:cxn ang="0">
                      <a:pos x="927" y="507"/>
                    </a:cxn>
                    <a:cxn ang="0">
                      <a:pos x="976" y="457"/>
                    </a:cxn>
                    <a:cxn ang="0">
                      <a:pos x="1082" y="496"/>
                    </a:cxn>
                    <a:cxn ang="0">
                      <a:pos x="1151" y="460"/>
                    </a:cxn>
                    <a:cxn ang="0">
                      <a:pos x="1225" y="449"/>
                    </a:cxn>
                    <a:cxn ang="0">
                      <a:pos x="1300" y="427"/>
                    </a:cxn>
                    <a:cxn ang="0">
                      <a:pos x="1377" y="353"/>
                    </a:cxn>
                    <a:cxn ang="0">
                      <a:pos x="1438" y="309"/>
                    </a:cxn>
                    <a:cxn ang="0">
                      <a:pos x="1556" y="317"/>
                    </a:cxn>
                    <a:cxn ang="0">
                      <a:pos x="1631" y="220"/>
                    </a:cxn>
                    <a:cxn ang="0">
                      <a:pos x="1719" y="127"/>
                    </a:cxn>
                    <a:cxn ang="0">
                      <a:pos x="1700" y="22"/>
                    </a:cxn>
                    <a:cxn ang="0">
                      <a:pos x="1832" y="27"/>
                    </a:cxn>
                    <a:cxn ang="0">
                      <a:pos x="1957" y="77"/>
                    </a:cxn>
                    <a:cxn ang="0">
                      <a:pos x="1949" y="223"/>
                    </a:cxn>
                    <a:cxn ang="0">
                      <a:pos x="1924" y="314"/>
                    </a:cxn>
                    <a:cxn ang="0">
                      <a:pos x="1998" y="342"/>
                    </a:cxn>
                    <a:cxn ang="0">
                      <a:pos x="2087" y="394"/>
                    </a:cxn>
                    <a:cxn ang="0">
                      <a:pos x="2125" y="526"/>
                    </a:cxn>
                    <a:cxn ang="0">
                      <a:pos x="2148" y="565"/>
                    </a:cxn>
                    <a:cxn ang="0">
                      <a:pos x="2097" y="626"/>
                    </a:cxn>
                    <a:cxn ang="0">
                      <a:pos x="2031" y="695"/>
                    </a:cxn>
                    <a:cxn ang="0">
                      <a:pos x="2036" y="794"/>
                    </a:cxn>
                    <a:cxn ang="0">
                      <a:pos x="1998" y="899"/>
                    </a:cxn>
                    <a:cxn ang="0">
                      <a:pos x="1962" y="1064"/>
                    </a:cxn>
                    <a:cxn ang="0">
                      <a:pos x="1998" y="1208"/>
                    </a:cxn>
                    <a:cxn ang="0">
                      <a:pos x="2067" y="1299"/>
                    </a:cxn>
                    <a:cxn ang="0">
                      <a:pos x="2062" y="1409"/>
                    </a:cxn>
                    <a:cxn ang="0">
                      <a:pos x="2097" y="1478"/>
                    </a:cxn>
                    <a:cxn ang="0">
                      <a:pos x="2194" y="1544"/>
                    </a:cxn>
                    <a:cxn ang="0">
                      <a:pos x="2252" y="1619"/>
                    </a:cxn>
                    <a:cxn ang="0">
                      <a:pos x="2368" y="1652"/>
                    </a:cxn>
                    <a:cxn ang="0">
                      <a:pos x="1910" y="2176"/>
                    </a:cxn>
                    <a:cxn ang="0">
                      <a:pos x="1838" y="2317"/>
                    </a:cxn>
                    <a:cxn ang="0">
                      <a:pos x="1811" y="2460"/>
                    </a:cxn>
                    <a:cxn ang="0">
                      <a:pos x="1758" y="2546"/>
                    </a:cxn>
                    <a:cxn ang="0">
                      <a:pos x="1650" y="2557"/>
                    </a:cxn>
                    <a:cxn ang="0">
                      <a:pos x="1581" y="2441"/>
                    </a:cxn>
                    <a:cxn ang="0">
                      <a:pos x="1441" y="2449"/>
                    </a:cxn>
                    <a:cxn ang="0">
                      <a:pos x="1319" y="2610"/>
                    </a:cxn>
                    <a:cxn ang="0">
                      <a:pos x="1316" y="2769"/>
                    </a:cxn>
                    <a:cxn ang="0">
                      <a:pos x="1242" y="2789"/>
                    </a:cxn>
                    <a:cxn ang="0">
                      <a:pos x="1085" y="2640"/>
                    </a:cxn>
                    <a:cxn ang="0">
                      <a:pos x="963" y="2546"/>
                    </a:cxn>
                    <a:cxn ang="0">
                      <a:pos x="996" y="2493"/>
                    </a:cxn>
                    <a:cxn ang="0">
                      <a:pos x="1032" y="2408"/>
                    </a:cxn>
                    <a:cxn ang="0">
                      <a:pos x="1049" y="2298"/>
                    </a:cxn>
                    <a:cxn ang="0">
                      <a:pos x="958" y="2094"/>
                    </a:cxn>
                    <a:cxn ang="0">
                      <a:pos x="966" y="1802"/>
                    </a:cxn>
                    <a:cxn ang="0">
                      <a:pos x="838" y="1561"/>
                    </a:cxn>
                    <a:cxn ang="0">
                      <a:pos x="687" y="1321"/>
                    </a:cxn>
                    <a:cxn ang="0">
                      <a:pos x="378" y="1191"/>
                    </a:cxn>
                    <a:cxn ang="0">
                      <a:pos x="339" y="1089"/>
                    </a:cxn>
                    <a:cxn ang="0">
                      <a:pos x="240" y="899"/>
                    </a:cxn>
                  </a:cxnLst>
                  <a:rect l="0" t="0" r="r" b="b"/>
                  <a:pathLst>
                    <a:path w="2412" h="2871">
                      <a:moveTo>
                        <a:pt x="259" y="747"/>
                      </a:moveTo>
                      <a:lnTo>
                        <a:pt x="259" y="742"/>
                      </a:lnTo>
                      <a:lnTo>
                        <a:pt x="259" y="728"/>
                      </a:lnTo>
                      <a:lnTo>
                        <a:pt x="259" y="716"/>
                      </a:lnTo>
                      <a:lnTo>
                        <a:pt x="250" y="706"/>
                      </a:lnTo>
                      <a:lnTo>
                        <a:pt x="234" y="690"/>
                      </a:lnTo>
                      <a:lnTo>
                        <a:pt x="229" y="681"/>
                      </a:lnTo>
                      <a:lnTo>
                        <a:pt x="220" y="675"/>
                      </a:lnTo>
                      <a:lnTo>
                        <a:pt x="220" y="672"/>
                      </a:lnTo>
                      <a:lnTo>
                        <a:pt x="215" y="659"/>
                      </a:lnTo>
                      <a:lnTo>
                        <a:pt x="201" y="651"/>
                      </a:lnTo>
                      <a:lnTo>
                        <a:pt x="196" y="645"/>
                      </a:lnTo>
                      <a:lnTo>
                        <a:pt x="176" y="634"/>
                      </a:lnTo>
                      <a:lnTo>
                        <a:pt x="168" y="631"/>
                      </a:lnTo>
                      <a:lnTo>
                        <a:pt x="160" y="626"/>
                      </a:lnTo>
                      <a:lnTo>
                        <a:pt x="151" y="623"/>
                      </a:lnTo>
                      <a:lnTo>
                        <a:pt x="140" y="626"/>
                      </a:lnTo>
                      <a:lnTo>
                        <a:pt x="138" y="623"/>
                      </a:lnTo>
                      <a:lnTo>
                        <a:pt x="130" y="611"/>
                      </a:lnTo>
                      <a:lnTo>
                        <a:pt x="122" y="598"/>
                      </a:lnTo>
                      <a:lnTo>
                        <a:pt x="110" y="590"/>
                      </a:lnTo>
                      <a:lnTo>
                        <a:pt x="102" y="582"/>
                      </a:lnTo>
                      <a:lnTo>
                        <a:pt x="99" y="562"/>
                      </a:lnTo>
                      <a:lnTo>
                        <a:pt x="91" y="560"/>
                      </a:lnTo>
                      <a:lnTo>
                        <a:pt x="82" y="554"/>
                      </a:lnTo>
                      <a:lnTo>
                        <a:pt x="77" y="543"/>
                      </a:lnTo>
                      <a:lnTo>
                        <a:pt x="69" y="537"/>
                      </a:lnTo>
                      <a:lnTo>
                        <a:pt x="61" y="532"/>
                      </a:lnTo>
                      <a:lnTo>
                        <a:pt x="61" y="529"/>
                      </a:lnTo>
                      <a:lnTo>
                        <a:pt x="58" y="526"/>
                      </a:lnTo>
                      <a:lnTo>
                        <a:pt x="55" y="516"/>
                      </a:lnTo>
                      <a:lnTo>
                        <a:pt x="46" y="504"/>
                      </a:lnTo>
                      <a:lnTo>
                        <a:pt x="41" y="488"/>
                      </a:lnTo>
                      <a:lnTo>
                        <a:pt x="35" y="483"/>
                      </a:lnTo>
                      <a:lnTo>
                        <a:pt x="27" y="477"/>
                      </a:lnTo>
                      <a:lnTo>
                        <a:pt x="17" y="468"/>
                      </a:lnTo>
                      <a:lnTo>
                        <a:pt x="5" y="460"/>
                      </a:lnTo>
                      <a:lnTo>
                        <a:pt x="0" y="444"/>
                      </a:lnTo>
                      <a:lnTo>
                        <a:pt x="0" y="430"/>
                      </a:lnTo>
                      <a:lnTo>
                        <a:pt x="2" y="422"/>
                      </a:lnTo>
                      <a:lnTo>
                        <a:pt x="10" y="414"/>
                      </a:lnTo>
                      <a:lnTo>
                        <a:pt x="17" y="414"/>
                      </a:lnTo>
                      <a:lnTo>
                        <a:pt x="53" y="430"/>
                      </a:lnTo>
                      <a:lnTo>
                        <a:pt x="66" y="444"/>
                      </a:lnTo>
                      <a:lnTo>
                        <a:pt x="79" y="475"/>
                      </a:lnTo>
                      <a:lnTo>
                        <a:pt x="94" y="485"/>
                      </a:lnTo>
                      <a:lnTo>
                        <a:pt x="107" y="491"/>
                      </a:lnTo>
                      <a:lnTo>
                        <a:pt x="112" y="485"/>
                      </a:lnTo>
                      <a:lnTo>
                        <a:pt x="122" y="485"/>
                      </a:lnTo>
                      <a:lnTo>
                        <a:pt x="130" y="488"/>
                      </a:lnTo>
                      <a:lnTo>
                        <a:pt x="130" y="485"/>
                      </a:lnTo>
                      <a:lnTo>
                        <a:pt x="148" y="483"/>
                      </a:lnTo>
                      <a:lnTo>
                        <a:pt x="160" y="477"/>
                      </a:lnTo>
                      <a:lnTo>
                        <a:pt x="171" y="477"/>
                      </a:lnTo>
                      <a:lnTo>
                        <a:pt x="176" y="477"/>
                      </a:lnTo>
                      <a:lnTo>
                        <a:pt x="199" y="480"/>
                      </a:lnTo>
                      <a:lnTo>
                        <a:pt x="209" y="477"/>
                      </a:lnTo>
                      <a:lnTo>
                        <a:pt x="215" y="475"/>
                      </a:lnTo>
                      <a:lnTo>
                        <a:pt x="224" y="475"/>
                      </a:lnTo>
                      <a:lnTo>
                        <a:pt x="224" y="480"/>
                      </a:lnTo>
                      <a:lnTo>
                        <a:pt x="226" y="480"/>
                      </a:lnTo>
                      <a:lnTo>
                        <a:pt x="232" y="480"/>
                      </a:lnTo>
                      <a:lnTo>
                        <a:pt x="240" y="483"/>
                      </a:lnTo>
                      <a:lnTo>
                        <a:pt x="245" y="485"/>
                      </a:lnTo>
                      <a:lnTo>
                        <a:pt x="257" y="485"/>
                      </a:lnTo>
                      <a:lnTo>
                        <a:pt x="265" y="480"/>
                      </a:lnTo>
                      <a:lnTo>
                        <a:pt x="268" y="480"/>
                      </a:lnTo>
                      <a:lnTo>
                        <a:pt x="273" y="488"/>
                      </a:lnTo>
                      <a:lnTo>
                        <a:pt x="278" y="488"/>
                      </a:lnTo>
                      <a:lnTo>
                        <a:pt x="286" y="496"/>
                      </a:lnTo>
                      <a:lnTo>
                        <a:pt x="295" y="510"/>
                      </a:lnTo>
                      <a:lnTo>
                        <a:pt x="295" y="516"/>
                      </a:lnTo>
                      <a:lnTo>
                        <a:pt x="293" y="518"/>
                      </a:lnTo>
                      <a:lnTo>
                        <a:pt x="295" y="524"/>
                      </a:lnTo>
                      <a:lnTo>
                        <a:pt x="303" y="532"/>
                      </a:lnTo>
                      <a:lnTo>
                        <a:pt x="314" y="554"/>
                      </a:lnTo>
                      <a:lnTo>
                        <a:pt x="319" y="557"/>
                      </a:lnTo>
                      <a:lnTo>
                        <a:pt x="319" y="560"/>
                      </a:lnTo>
                      <a:lnTo>
                        <a:pt x="334" y="562"/>
                      </a:lnTo>
                      <a:lnTo>
                        <a:pt x="334" y="573"/>
                      </a:lnTo>
                      <a:lnTo>
                        <a:pt x="339" y="576"/>
                      </a:lnTo>
                      <a:lnTo>
                        <a:pt x="342" y="576"/>
                      </a:lnTo>
                      <a:lnTo>
                        <a:pt x="347" y="587"/>
                      </a:lnTo>
                      <a:lnTo>
                        <a:pt x="350" y="587"/>
                      </a:lnTo>
                      <a:lnTo>
                        <a:pt x="350" y="582"/>
                      </a:lnTo>
                      <a:lnTo>
                        <a:pt x="350" y="578"/>
                      </a:lnTo>
                      <a:lnTo>
                        <a:pt x="353" y="582"/>
                      </a:lnTo>
                      <a:lnTo>
                        <a:pt x="355" y="576"/>
                      </a:lnTo>
                      <a:lnTo>
                        <a:pt x="359" y="573"/>
                      </a:lnTo>
                      <a:lnTo>
                        <a:pt x="362" y="568"/>
                      </a:lnTo>
                      <a:lnTo>
                        <a:pt x="364" y="565"/>
                      </a:lnTo>
                      <a:lnTo>
                        <a:pt x="370" y="565"/>
                      </a:lnTo>
                      <a:lnTo>
                        <a:pt x="372" y="562"/>
                      </a:lnTo>
                      <a:lnTo>
                        <a:pt x="375" y="560"/>
                      </a:lnTo>
                      <a:lnTo>
                        <a:pt x="378" y="562"/>
                      </a:lnTo>
                      <a:lnTo>
                        <a:pt x="388" y="557"/>
                      </a:lnTo>
                      <a:lnTo>
                        <a:pt x="391" y="554"/>
                      </a:lnTo>
                      <a:lnTo>
                        <a:pt x="395" y="557"/>
                      </a:lnTo>
                      <a:lnTo>
                        <a:pt x="395" y="554"/>
                      </a:lnTo>
                      <a:lnTo>
                        <a:pt x="397" y="554"/>
                      </a:lnTo>
                      <a:lnTo>
                        <a:pt x="400" y="557"/>
                      </a:lnTo>
                      <a:lnTo>
                        <a:pt x="400" y="560"/>
                      </a:lnTo>
                      <a:lnTo>
                        <a:pt x="408" y="560"/>
                      </a:lnTo>
                      <a:lnTo>
                        <a:pt x="416" y="562"/>
                      </a:lnTo>
                      <a:lnTo>
                        <a:pt x="428" y="560"/>
                      </a:lnTo>
                      <a:lnTo>
                        <a:pt x="433" y="560"/>
                      </a:lnTo>
                      <a:lnTo>
                        <a:pt x="441" y="562"/>
                      </a:lnTo>
                      <a:lnTo>
                        <a:pt x="439" y="565"/>
                      </a:lnTo>
                      <a:lnTo>
                        <a:pt x="441" y="568"/>
                      </a:lnTo>
                      <a:lnTo>
                        <a:pt x="447" y="570"/>
                      </a:lnTo>
                      <a:lnTo>
                        <a:pt x="449" y="573"/>
                      </a:lnTo>
                      <a:lnTo>
                        <a:pt x="452" y="573"/>
                      </a:lnTo>
                      <a:lnTo>
                        <a:pt x="452" y="570"/>
                      </a:lnTo>
                      <a:lnTo>
                        <a:pt x="458" y="570"/>
                      </a:lnTo>
                      <a:lnTo>
                        <a:pt x="464" y="573"/>
                      </a:lnTo>
                      <a:lnTo>
                        <a:pt x="472" y="565"/>
                      </a:lnTo>
                      <a:lnTo>
                        <a:pt x="467" y="565"/>
                      </a:lnTo>
                      <a:lnTo>
                        <a:pt x="464" y="562"/>
                      </a:lnTo>
                      <a:lnTo>
                        <a:pt x="464" y="560"/>
                      </a:lnTo>
                      <a:lnTo>
                        <a:pt x="458" y="560"/>
                      </a:lnTo>
                      <a:lnTo>
                        <a:pt x="455" y="557"/>
                      </a:lnTo>
                      <a:lnTo>
                        <a:pt x="455" y="554"/>
                      </a:lnTo>
                      <a:lnTo>
                        <a:pt x="458" y="552"/>
                      </a:lnTo>
                      <a:lnTo>
                        <a:pt x="458" y="549"/>
                      </a:lnTo>
                      <a:lnTo>
                        <a:pt x="460" y="540"/>
                      </a:lnTo>
                      <a:lnTo>
                        <a:pt x="460" y="537"/>
                      </a:lnTo>
                      <a:lnTo>
                        <a:pt x="460" y="534"/>
                      </a:lnTo>
                      <a:lnTo>
                        <a:pt x="460" y="529"/>
                      </a:lnTo>
                      <a:lnTo>
                        <a:pt x="460" y="526"/>
                      </a:lnTo>
                      <a:lnTo>
                        <a:pt x="467" y="526"/>
                      </a:lnTo>
                      <a:lnTo>
                        <a:pt x="472" y="529"/>
                      </a:lnTo>
                      <a:lnTo>
                        <a:pt x="475" y="532"/>
                      </a:lnTo>
                      <a:lnTo>
                        <a:pt x="480" y="543"/>
                      </a:lnTo>
                      <a:lnTo>
                        <a:pt x="485" y="546"/>
                      </a:lnTo>
                      <a:lnTo>
                        <a:pt x="491" y="554"/>
                      </a:lnTo>
                      <a:lnTo>
                        <a:pt x="500" y="562"/>
                      </a:lnTo>
                      <a:lnTo>
                        <a:pt x="502" y="568"/>
                      </a:lnTo>
                      <a:lnTo>
                        <a:pt x="500" y="573"/>
                      </a:lnTo>
                      <a:lnTo>
                        <a:pt x="502" y="576"/>
                      </a:lnTo>
                      <a:lnTo>
                        <a:pt x="500" y="578"/>
                      </a:lnTo>
                      <a:lnTo>
                        <a:pt x="500" y="582"/>
                      </a:lnTo>
                      <a:lnTo>
                        <a:pt x="505" y="582"/>
                      </a:lnTo>
                      <a:lnTo>
                        <a:pt x="508" y="582"/>
                      </a:lnTo>
                      <a:lnTo>
                        <a:pt x="516" y="578"/>
                      </a:lnTo>
                      <a:lnTo>
                        <a:pt x="516" y="587"/>
                      </a:lnTo>
                      <a:lnTo>
                        <a:pt x="516" y="590"/>
                      </a:lnTo>
                      <a:lnTo>
                        <a:pt x="518" y="590"/>
                      </a:lnTo>
                      <a:lnTo>
                        <a:pt x="521" y="590"/>
                      </a:lnTo>
                      <a:lnTo>
                        <a:pt x="524" y="593"/>
                      </a:lnTo>
                      <a:lnTo>
                        <a:pt x="526" y="593"/>
                      </a:lnTo>
                      <a:lnTo>
                        <a:pt x="533" y="598"/>
                      </a:lnTo>
                      <a:lnTo>
                        <a:pt x="536" y="595"/>
                      </a:lnTo>
                      <a:lnTo>
                        <a:pt x="538" y="601"/>
                      </a:lnTo>
                      <a:lnTo>
                        <a:pt x="538" y="595"/>
                      </a:lnTo>
                      <a:lnTo>
                        <a:pt x="536" y="587"/>
                      </a:lnTo>
                      <a:lnTo>
                        <a:pt x="538" y="587"/>
                      </a:lnTo>
                      <a:lnTo>
                        <a:pt x="541" y="590"/>
                      </a:lnTo>
                      <a:lnTo>
                        <a:pt x="541" y="587"/>
                      </a:lnTo>
                      <a:lnTo>
                        <a:pt x="544" y="587"/>
                      </a:lnTo>
                      <a:lnTo>
                        <a:pt x="549" y="590"/>
                      </a:lnTo>
                      <a:lnTo>
                        <a:pt x="552" y="590"/>
                      </a:lnTo>
                      <a:lnTo>
                        <a:pt x="557" y="593"/>
                      </a:lnTo>
                      <a:lnTo>
                        <a:pt x="562" y="590"/>
                      </a:lnTo>
                      <a:lnTo>
                        <a:pt x="562" y="585"/>
                      </a:lnTo>
                      <a:lnTo>
                        <a:pt x="562" y="582"/>
                      </a:lnTo>
                      <a:lnTo>
                        <a:pt x="571" y="573"/>
                      </a:lnTo>
                      <a:lnTo>
                        <a:pt x="574" y="570"/>
                      </a:lnTo>
                      <a:lnTo>
                        <a:pt x="569" y="565"/>
                      </a:lnTo>
                      <a:lnTo>
                        <a:pt x="571" y="562"/>
                      </a:lnTo>
                      <a:lnTo>
                        <a:pt x="571" y="560"/>
                      </a:lnTo>
                      <a:lnTo>
                        <a:pt x="566" y="560"/>
                      </a:lnTo>
                      <a:lnTo>
                        <a:pt x="562" y="560"/>
                      </a:lnTo>
                      <a:lnTo>
                        <a:pt x="560" y="560"/>
                      </a:lnTo>
                      <a:lnTo>
                        <a:pt x="562" y="554"/>
                      </a:lnTo>
                      <a:lnTo>
                        <a:pt x="557" y="554"/>
                      </a:lnTo>
                      <a:lnTo>
                        <a:pt x="557" y="552"/>
                      </a:lnTo>
                      <a:lnTo>
                        <a:pt x="566" y="543"/>
                      </a:lnTo>
                      <a:lnTo>
                        <a:pt x="571" y="543"/>
                      </a:lnTo>
                      <a:lnTo>
                        <a:pt x="579" y="540"/>
                      </a:lnTo>
                      <a:lnTo>
                        <a:pt x="595" y="552"/>
                      </a:lnTo>
                      <a:lnTo>
                        <a:pt x="605" y="552"/>
                      </a:lnTo>
                      <a:lnTo>
                        <a:pt x="610" y="549"/>
                      </a:lnTo>
                      <a:lnTo>
                        <a:pt x="613" y="549"/>
                      </a:lnTo>
                      <a:lnTo>
                        <a:pt x="613" y="546"/>
                      </a:lnTo>
                      <a:lnTo>
                        <a:pt x="615" y="540"/>
                      </a:lnTo>
                      <a:lnTo>
                        <a:pt x="618" y="543"/>
                      </a:lnTo>
                      <a:lnTo>
                        <a:pt x="621" y="546"/>
                      </a:lnTo>
                      <a:lnTo>
                        <a:pt x="623" y="546"/>
                      </a:lnTo>
                      <a:lnTo>
                        <a:pt x="626" y="552"/>
                      </a:lnTo>
                      <a:lnTo>
                        <a:pt x="638" y="549"/>
                      </a:lnTo>
                      <a:lnTo>
                        <a:pt x="640" y="552"/>
                      </a:lnTo>
                      <a:lnTo>
                        <a:pt x="651" y="554"/>
                      </a:lnTo>
                      <a:lnTo>
                        <a:pt x="656" y="554"/>
                      </a:lnTo>
                      <a:lnTo>
                        <a:pt x="651" y="576"/>
                      </a:lnTo>
                      <a:lnTo>
                        <a:pt x="646" y="582"/>
                      </a:lnTo>
                      <a:lnTo>
                        <a:pt x="646" y="595"/>
                      </a:lnTo>
                      <a:lnTo>
                        <a:pt x="648" y="598"/>
                      </a:lnTo>
                      <a:lnTo>
                        <a:pt x="648" y="601"/>
                      </a:lnTo>
                      <a:lnTo>
                        <a:pt x="656" y="611"/>
                      </a:lnTo>
                      <a:lnTo>
                        <a:pt x="662" y="611"/>
                      </a:lnTo>
                      <a:lnTo>
                        <a:pt x="667" y="611"/>
                      </a:lnTo>
                      <a:lnTo>
                        <a:pt x="673" y="615"/>
                      </a:lnTo>
                      <a:lnTo>
                        <a:pt x="679" y="615"/>
                      </a:lnTo>
                      <a:lnTo>
                        <a:pt x="684" y="615"/>
                      </a:lnTo>
                      <a:lnTo>
                        <a:pt x="690" y="615"/>
                      </a:lnTo>
                      <a:lnTo>
                        <a:pt x="698" y="621"/>
                      </a:lnTo>
                      <a:lnTo>
                        <a:pt x="707" y="626"/>
                      </a:lnTo>
                      <a:lnTo>
                        <a:pt x="707" y="631"/>
                      </a:lnTo>
                      <a:lnTo>
                        <a:pt x="712" y="637"/>
                      </a:lnTo>
                      <a:lnTo>
                        <a:pt x="715" y="637"/>
                      </a:lnTo>
                      <a:lnTo>
                        <a:pt x="717" y="639"/>
                      </a:lnTo>
                      <a:lnTo>
                        <a:pt x="717" y="642"/>
                      </a:lnTo>
                      <a:lnTo>
                        <a:pt x="715" y="645"/>
                      </a:lnTo>
                      <a:lnTo>
                        <a:pt x="715" y="656"/>
                      </a:lnTo>
                      <a:lnTo>
                        <a:pt x="712" y="662"/>
                      </a:lnTo>
                      <a:lnTo>
                        <a:pt x="707" y="662"/>
                      </a:lnTo>
                      <a:lnTo>
                        <a:pt x="712" y="664"/>
                      </a:lnTo>
                      <a:lnTo>
                        <a:pt x="728" y="672"/>
                      </a:lnTo>
                      <a:lnTo>
                        <a:pt x="728" y="681"/>
                      </a:lnTo>
                      <a:lnTo>
                        <a:pt x="733" y="681"/>
                      </a:lnTo>
                      <a:lnTo>
                        <a:pt x="740" y="690"/>
                      </a:lnTo>
                      <a:lnTo>
                        <a:pt x="745" y="695"/>
                      </a:lnTo>
                      <a:lnTo>
                        <a:pt x="748" y="698"/>
                      </a:lnTo>
                      <a:lnTo>
                        <a:pt x="753" y="698"/>
                      </a:lnTo>
                      <a:lnTo>
                        <a:pt x="756" y="698"/>
                      </a:lnTo>
                      <a:lnTo>
                        <a:pt x="759" y="695"/>
                      </a:lnTo>
                      <a:lnTo>
                        <a:pt x="769" y="684"/>
                      </a:lnTo>
                      <a:lnTo>
                        <a:pt x="773" y="678"/>
                      </a:lnTo>
                      <a:lnTo>
                        <a:pt x="773" y="670"/>
                      </a:lnTo>
                      <a:lnTo>
                        <a:pt x="778" y="670"/>
                      </a:lnTo>
                      <a:lnTo>
                        <a:pt x="786" y="664"/>
                      </a:lnTo>
                      <a:lnTo>
                        <a:pt x="792" y="659"/>
                      </a:lnTo>
                      <a:lnTo>
                        <a:pt x="800" y="654"/>
                      </a:lnTo>
                      <a:lnTo>
                        <a:pt x="809" y="642"/>
                      </a:lnTo>
                      <a:lnTo>
                        <a:pt x="814" y="645"/>
                      </a:lnTo>
                      <a:lnTo>
                        <a:pt x="817" y="645"/>
                      </a:lnTo>
                      <a:lnTo>
                        <a:pt x="820" y="645"/>
                      </a:lnTo>
                      <a:lnTo>
                        <a:pt x="822" y="651"/>
                      </a:lnTo>
                      <a:lnTo>
                        <a:pt x="825" y="651"/>
                      </a:lnTo>
                      <a:lnTo>
                        <a:pt x="828" y="659"/>
                      </a:lnTo>
                      <a:lnTo>
                        <a:pt x="830" y="659"/>
                      </a:lnTo>
                      <a:lnTo>
                        <a:pt x="833" y="664"/>
                      </a:lnTo>
                      <a:lnTo>
                        <a:pt x="842" y="670"/>
                      </a:lnTo>
                      <a:lnTo>
                        <a:pt x="845" y="670"/>
                      </a:lnTo>
                      <a:lnTo>
                        <a:pt x="845" y="664"/>
                      </a:lnTo>
                      <a:lnTo>
                        <a:pt x="847" y="664"/>
                      </a:lnTo>
                      <a:lnTo>
                        <a:pt x="847" y="659"/>
                      </a:lnTo>
                      <a:lnTo>
                        <a:pt x="850" y="656"/>
                      </a:lnTo>
                      <a:lnTo>
                        <a:pt x="847" y="651"/>
                      </a:lnTo>
                      <a:lnTo>
                        <a:pt x="850" y="642"/>
                      </a:lnTo>
                      <a:lnTo>
                        <a:pt x="847" y="634"/>
                      </a:lnTo>
                      <a:lnTo>
                        <a:pt x="847" y="626"/>
                      </a:lnTo>
                      <a:lnTo>
                        <a:pt x="845" y="623"/>
                      </a:lnTo>
                      <a:lnTo>
                        <a:pt x="850" y="618"/>
                      </a:lnTo>
                      <a:lnTo>
                        <a:pt x="850" y="615"/>
                      </a:lnTo>
                      <a:lnTo>
                        <a:pt x="845" y="615"/>
                      </a:lnTo>
                      <a:lnTo>
                        <a:pt x="842" y="609"/>
                      </a:lnTo>
                      <a:lnTo>
                        <a:pt x="833" y="603"/>
                      </a:lnTo>
                      <a:lnTo>
                        <a:pt x="833" y="601"/>
                      </a:lnTo>
                      <a:lnTo>
                        <a:pt x="842" y="595"/>
                      </a:lnTo>
                      <a:lnTo>
                        <a:pt x="838" y="595"/>
                      </a:lnTo>
                      <a:lnTo>
                        <a:pt x="838" y="593"/>
                      </a:lnTo>
                      <a:lnTo>
                        <a:pt x="833" y="590"/>
                      </a:lnTo>
                      <a:lnTo>
                        <a:pt x="830" y="585"/>
                      </a:lnTo>
                      <a:lnTo>
                        <a:pt x="830" y="582"/>
                      </a:lnTo>
                      <a:lnTo>
                        <a:pt x="825" y="578"/>
                      </a:lnTo>
                      <a:lnTo>
                        <a:pt x="828" y="568"/>
                      </a:lnTo>
                      <a:lnTo>
                        <a:pt x="828" y="565"/>
                      </a:lnTo>
                      <a:lnTo>
                        <a:pt x="828" y="562"/>
                      </a:lnTo>
                      <a:lnTo>
                        <a:pt x="828" y="560"/>
                      </a:lnTo>
                      <a:lnTo>
                        <a:pt x="836" y="557"/>
                      </a:lnTo>
                      <a:lnTo>
                        <a:pt x="842" y="552"/>
                      </a:lnTo>
                      <a:lnTo>
                        <a:pt x="845" y="543"/>
                      </a:lnTo>
                      <a:lnTo>
                        <a:pt x="836" y="540"/>
                      </a:lnTo>
                      <a:lnTo>
                        <a:pt x="833" y="529"/>
                      </a:lnTo>
                      <a:lnTo>
                        <a:pt x="836" y="529"/>
                      </a:lnTo>
                      <a:lnTo>
                        <a:pt x="842" y="524"/>
                      </a:lnTo>
                      <a:lnTo>
                        <a:pt x="842" y="521"/>
                      </a:lnTo>
                      <a:lnTo>
                        <a:pt x="842" y="518"/>
                      </a:lnTo>
                      <a:lnTo>
                        <a:pt x="847" y="516"/>
                      </a:lnTo>
                      <a:lnTo>
                        <a:pt x="861" y="521"/>
                      </a:lnTo>
                      <a:lnTo>
                        <a:pt x="866" y="518"/>
                      </a:lnTo>
                      <a:lnTo>
                        <a:pt x="871" y="518"/>
                      </a:lnTo>
                      <a:lnTo>
                        <a:pt x="880" y="518"/>
                      </a:lnTo>
                      <a:lnTo>
                        <a:pt x="880" y="516"/>
                      </a:lnTo>
                      <a:lnTo>
                        <a:pt x="883" y="513"/>
                      </a:lnTo>
                      <a:lnTo>
                        <a:pt x="891" y="516"/>
                      </a:lnTo>
                      <a:lnTo>
                        <a:pt x="899" y="516"/>
                      </a:lnTo>
                      <a:lnTo>
                        <a:pt x="902" y="518"/>
                      </a:lnTo>
                      <a:lnTo>
                        <a:pt x="907" y="518"/>
                      </a:lnTo>
                      <a:lnTo>
                        <a:pt x="911" y="524"/>
                      </a:lnTo>
                      <a:lnTo>
                        <a:pt x="911" y="526"/>
                      </a:lnTo>
                      <a:lnTo>
                        <a:pt x="914" y="526"/>
                      </a:lnTo>
                      <a:lnTo>
                        <a:pt x="922" y="526"/>
                      </a:lnTo>
                      <a:lnTo>
                        <a:pt x="919" y="524"/>
                      </a:lnTo>
                      <a:lnTo>
                        <a:pt x="919" y="518"/>
                      </a:lnTo>
                      <a:lnTo>
                        <a:pt x="924" y="516"/>
                      </a:lnTo>
                      <a:lnTo>
                        <a:pt x="927" y="516"/>
                      </a:lnTo>
                      <a:lnTo>
                        <a:pt x="930" y="513"/>
                      </a:lnTo>
                      <a:lnTo>
                        <a:pt x="927" y="507"/>
                      </a:lnTo>
                      <a:lnTo>
                        <a:pt x="927" y="499"/>
                      </a:lnTo>
                      <a:lnTo>
                        <a:pt x="924" y="501"/>
                      </a:lnTo>
                      <a:lnTo>
                        <a:pt x="919" y="499"/>
                      </a:lnTo>
                      <a:lnTo>
                        <a:pt x="922" y="499"/>
                      </a:lnTo>
                      <a:lnTo>
                        <a:pt x="924" y="493"/>
                      </a:lnTo>
                      <a:lnTo>
                        <a:pt x="922" y="488"/>
                      </a:lnTo>
                      <a:lnTo>
                        <a:pt x="927" y="488"/>
                      </a:lnTo>
                      <a:lnTo>
                        <a:pt x="935" y="485"/>
                      </a:lnTo>
                      <a:lnTo>
                        <a:pt x="935" y="483"/>
                      </a:lnTo>
                      <a:lnTo>
                        <a:pt x="930" y="477"/>
                      </a:lnTo>
                      <a:lnTo>
                        <a:pt x="940" y="480"/>
                      </a:lnTo>
                      <a:lnTo>
                        <a:pt x="940" y="477"/>
                      </a:lnTo>
                      <a:lnTo>
                        <a:pt x="944" y="475"/>
                      </a:lnTo>
                      <a:lnTo>
                        <a:pt x="947" y="475"/>
                      </a:lnTo>
                      <a:lnTo>
                        <a:pt x="950" y="477"/>
                      </a:lnTo>
                      <a:lnTo>
                        <a:pt x="952" y="480"/>
                      </a:lnTo>
                      <a:lnTo>
                        <a:pt x="955" y="475"/>
                      </a:lnTo>
                      <a:lnTo>
                        <a:pt x="958" y="475"/>
                      </a:lnTo>
                      <a:lnTo>
                        <a:pt x="960" y="475"/>
                      </a:lnTo>
                      <a:lnTo>
                        <a:pt x="960" y="468"/>
                      </a:lnTo>
                      <a:lnTo>
                        <a:pt x="963" y="468"/>
                      </a:lnTo>
                      <a:lnTo>
                        <a:pt x="960" y="465"/>
                      </a:lnTo>
                      <a:lnTo>
                        <a:pt x="955" y="465"/>
                      </a:lnTo>
                      <a:lnTo>
                        <a:pt x="958" y="460"/>
                      </a:lnTo>
                      <a:lnTo>
                        <a:pt x="960" y="457"/>
                      </a:lnTo>
                      <a:lnTo>
                        <a:pt x="963" y="460"/>
                      </a:lnTo>
                      <a:lnTo>
                        <a:pt x="966" y="460"/>
                      </a:lnTo>
                      <a:lnTo>
                        <a:pt x="966" y="457"/>
                      </a:lnTo>
                      <a:lnTo>
                        <a:pt x="968" y="457"/>
                      </a:lnTo>
                      <a:lnTo>
                        <a:pt x="976" y="457"/>
                      </a:lnTo>
                      <a:lnTo>
                        <a:pt x="976" y="455"/>
                      </a:lnTo>
                      <a:lnTo>
                        <a:pt x="980" y="457"/>
                      </a:lnTo>
                      <a:lnTo>
                        <a:pt x="983" y="457"/>
                      </a:lnTo>
                      <a:lnTo>
                        <a:pt x="985" y="460"/>
                      </a:lnTo>
                      <a:lnTo>
                        <a:pt x="988" y="460"/>
                      </a:lnTo>
                      <a:lnTo>
                        <a:pt x="988" y="457"/>
                      </a:lnTo>
                      <a:lnTo>
                        <a:pt x="996" y="465"/>
                      </a:lnTo>
                      <a:lnTo>
                        <a:pt x="999" y="465"/>
                      </a:lnTo>
                      <a:lnTo>
                        <a:pt x="999" y="463"/>
                      </a:lnTo>
                      <a:lnTo>
                        <a:pt x="1004" y="463"/>
                      </a:lnTo>
                      <a:lnTo>
                        <a:pt x="1004" y="471"/>
                      </a:lnTo>
                      <a:lnTo>
                        <a:pt x="1007" y="471"/>
                      </a:lnTo>
                      <a:lnTo>
                        <a:pt x="1013" y="477"/>
                      </a:lnTo>
                      <a:lnTo>
                        <a:pt x="1016" y="475"/>
                      </a:lnTo>
                      <a:lnTo>
                        <a:pt x="1019" y="475"/>
                      </a:lnTo>
                      <a:lnTo>
                        <a:pt x="1019" y="477"/>
                      </a:lnTo>
                      <a:lnTo>
                        <a:pt x="1024" y="477"/>
                      </a:lnTo>
                      <a:lnTo>
                        <a:pt x="1029" y="475"/>
                      </a:lnTo>
                      <a:lnTo>
                        <a:pt x="1032" y="480"/>
                      </a:lnTo>
                      <a:lnTo>
                        <a:pt x="1043" y="480"/>
                      </a:lnTo>
                      <a:lnTo>
                        <a:pt x="1049" y="485"/>
                      </a:lnTo>
                      <a:lnTo>
                        <a:pt x="1052" y="483"/>
                      </a:lnTo>
                      <a:lnTo>
                        <a:pt x="1054" y="485"/>
                      </a:lnTo>
                      <a:lnTo>
                        <a:pt x="1060" y="488"/>
                      </a:lnTo>
                      <a:lnTo>
                        <a:pt x="1068" y="485"/>
                      </a:lnTo>
                      <a:lnTo>
                        <a:pt x="1068" y="488"/>
                      </a:lnTo>
                      <a:lnTo>
                        <a:pt x="1068" y="493"/>
                      </a:lnTo>
                      <a:lnTo>
                        <a:pt x="1076" y="496"/>
                      </a:lnTo>
                      <a:lnTo>
                        <a:pt x="1078" y="496"/>
                      </a:lnTo>
                      <a:lnTo>
                        <a:pt x="1082" y="496"/>
                      </a:lnTo>
                      <a:lnTo>
                        <a:pt x="1087" y="499"/>
                      </a:lnTo>
                      <a:lnTo>
                        <a:pt x="1087" y="501"/>
                      </a:lnTo>
                      <a:lnTo>
                        <a:pt x="1090" y="499"/>
                      </a:lnTo>
                      <a:lnTo>
                        <a:pt x="1093" y="496"/>
                      </a:lnTo>
                      <a:lnTo>
                        <a:pt x="1101" y="496"/>
                      </a:lnTo>
                      <a:lnTo>
                        <a:pt x="1101" y="493"/>
                      </a:lnTo>
                      <a:lnTo>
                        <a:pt x="1101" y="491"/>
                      </a:lnTo>
                      <a:lnTo>
                        <a:pt x="1098" y="491"/>
                      </a:lnTo>
                      <a:lnTo>
                        <a:pt x="1098" y="485"/>
                      </a:lnTo>
                      <a:lnTo>
                        <a:pt x="1104" y="485"/>
                      </a:lnTo>
                      <a:lnTo>
                        <a:pt x="1106" y="483"/>
                      </a:lnTo>
                      <a:lnTo>
                        <a:pt x="1106" y="480"/>
                      </a:lnTo>
                      <a:lnTo>
                        <a:pt x="1109" y="480"/>
                      </a:lnTo>
                      <a:lnTo>
                        <a:pt x="1112" y="483"/>
                      </a:lnTo>
                      <a:lnTo>
                        <a:pt x="1115" y="483"/>
                      </a:lnTo>
                      <a:lnTo>
                        <a:pt x="1118" y="480"/>
                      </a:lnTo>
                      <a:lnTo>
                        <a:pt x="1115" y="477"/>
                      </a:lnTo>
                      <a:lnTo>
                        <a:pt x="1115" y="471"/>
                      </a:lnTo>
                      <a:lnTo>
                        <a:pt x="1115" y="468"/>
                      </a:lnTo>
                      <a:lnTo>
                        <a:pt x="1121" y="465"/>
                      </a:lnTo>
                      <a:lnTo>
                        <a:pt x="1129" y="471"/>
                      </a:lnTo>
                      <a:lnTo>
                        <a:pt x="1131" y="468"/>
                      </a:lnTo>
                      <a:lnTo>
                        <a:pt x="1134" y="465"/>
                      </a:lnTo>
                      <a:lnTo>
                        <a:pt x="1134" y="468"/>
                      </a:lnTo>
                      <a:lnTo>
                        <a:pt x="1134" y="471"/>
                      </a:lnTo>
                      <a:lnTo>
                        <a:pt x="1137" y="468"/>
                      </a:lnTo>
                      <a:lnTo>
                        <a:pt x="1142" y="468"/>
                      </a:lnTo>
                      <a:lnTo>
                        <a:pt x="1145" y="463"/>
                      </a:lnTo>
                      <a:lnTo>
                        <a:pt x="1147" y="465"/>
                      </a:lnTo>
                      <a:lnTo>
                        <a:pt x="1151" y="460"/>
                      </a:lnTo>
                      <a:lnTo>
                        <a:pt x="1154" y="457"/>
                      </a:lnTo>
                      <a:lnTo>
                        <a:pt x="1156" y="457"/>
                      </a:lnTo>
                      <a:lnTo>
                        <a:pt x="1154" y="460"/>
                      </a:lnTo>
                      <a:lnTo>
                        <a:pt x="1154" y="465"/>
                      </a:lnTo>
                      <a:lnTo>
                        <a:pt x="1156" y="468"/>
                      </a:lnTo>
                      <a:lnTo>
                        <a:pt x="1167" y="480"/>
                      </a:lnTo>
                      <a:lnTo>
                        <a:pt x="1170" y="488"/>
                      </a:lnTo>
                      <a:lnTo>
                        <a:pt x="1175" y="491"/>
                      </a:lnTo>
                      <a:lnTo>
                        <a:pt x="1175" y="488"/>
                      </a:lnTo>
                      <a:lnTo>
                        <a:pt x="1175" y="485"/>
                      </a:lnTo>
                      <a:lnTo>
                        <a:pt x="1175" y="483"/>
                      </a:lnTo>
                      <a:lnTo>
                        <a:pt x="1178" y="471"/>
                      </a:lnTo>
                      <a:lnTo>
                        <a:pt x="1178" y="468"/>
                      </a:lnTo>
                      <a:lnTo>
                        <a:pt x="1184" y="468"/>
                      </a:lnTo>
                      <a:lnTo>
                        <a:pt x="1187" y="465"/>
                      </a:lnTo>
                      <a:lnTo>
                        <a:pt x="1192" y="468"/>
                      </a:lnTo>
                      <a:lnTo>
                        <a:pt x="1195" y="468"/>
                      </a:lnTo>
                      <a:lnTo>
                        <a:pt x="1198" y="468"/>
                      </a:lnTo>
                      <a:lnTo>
                        <a:pt x="1200" y="465"/>
                      </a:lnTo>
                      <a:lnTo>
                        <a:pt x="1198" y="463"/>
                      </a:lnTo>
                      <a:lnTo>
                        <a:pt x="1200" y="460"/>
                      </a:lnTo>
                      <a:lnTo>
                        <a:pt x="1203" y="460"/>
                      </a:lnTo>
                      <a:lnTo>
                        <a:pt x="1208" y="460"/>
                      </a:lnTo>
                      <a:lnTo>
                        <a:pt x="1208" y="463"/>
                      </a:lnTo>
                      <a:lnTo>
                        <a:pt x="1214" y="465"/>
                      </a:lnTo>
                      <a:lnTo>
                        <a:pt x="1220" y="465"/>
                      </a:lnTo>
                      <a:lnTo>
                        <a:pt x="1220" y="463"/>
                      </a:lnTo>
                      <a:lnTo>
                        <a:pt x="1223" y="455"/>
                      </a:lnTo>
                      <a:lnTo>
                        <a:pt x="1220" y="449"/>
                      </a:lnTo>
                      <a:lnTo>
                        <a:pt x="1225" y="449"/>
                      </a:lnTo>
                      <a:lnTo>
                        <a:pt x="1225" y="444"/>
                      </a:lnTo>
                      <a:lnTo>
                        <a:pt x="1228" y="441"/>
                      </a:lnTo>
                      <a:lnTo>
                        <a:pt x="1228" y="438"/>
                      </a:lnTo>
                      <a:lnTo>
                        <a:pt x="1233" y="435"/>
                      </a:lnTo>
                      <a:lnTo>
                        <a:pt x="1233" y="438"/>
                      </a:lnTo>
                      <a:lnTo>
                        <a:pt x="1236" y="438"/>
                      </a:lnTo>
                      <a:lnTo>
                        <a:pt x="1242" y="438"/>
                      </a:lnTo>
                      <a:lnTo>
                        <a:pt x="1242" y="435"/>
                      </a:lnTo>
                      <a:lnTo>
                        <a:pt x="1239" y="432"/>
                      </a:lnTo>
                      <a:lnTo>
                        <a:pt x="1239" y="430"/>
                      </a:lnTo>
                      <a:lnTo>
                        <a:pt x="1242" y="430"/>
                      </a:lnTo>
                      <a:lnTo>
                        <a:pt x="1253" y="427"/>
                      </a:lnTo>
                      <a:lnTo>
                        <a:pt x="1256" y="422"/>
                      </a:lnTo>
                      <a:lnTo>
                        <a:pt x="1259" y="422"/>
                      </a:lnTo>
                      <a:lnTo>
                        <a:pt x="1259" y="424"/>
                      </a:lnTo>
                      <a:lnTo>
                        <a:pt x="1256" y="427"/>
                      </a:lnTo>
                      <a:lnTo>
                        <a:pt x="1259" y="430"/>
                      </a:lnTo>
                      <a:lnTo>
                        <a:pt x="1267" y="427"/>
                      </a:lnTo>
                      <a:lnTo>
                        <a:pt x="1272" y="427"/>
                      </a:lnTo>
                      <a:lnTo>
                        <a:pt x="1275" y="427"/>
                      </a:lnTo>
                      <a:lnTo>
                        <a:pt x="1277" y="427"/>
                      </a:lnTo>
                      <a:lnTo>
                        <a:pt x="1280" y="424"/>
                      </a:lnTo>
                      <a:lnTo>
                        <a:pt x="1283" y="424"/>
                      </a:lnTo>
                      <a:lnTo>
                        <a:pt x="1285" y="424"/>
                      </a:lnTo>
                      <a:lnTo>
                        <a:pt x="1285" y="427"/>
                      </a:lnTo>
                      <a:lnTo>
                        <a:pt x="1292" y="427"/>
                      </a:lnTo>
                      <a:lnTo>
                        <a:pt x="1292" y="432"/>
                      </a:lnTo>
                      <a:lnTo>
                        <a:pt x="1294" y="432"/>
                      </a:lnTo>
                      <a:lnTo>
                        <a:pt x="1297" y="432"/>
                      </a:lnTo>
                      <a:lnTo>
                        <a:pt x="1300" y="427"/>
                      </a:lnTo>
                      <a:lnTo>
                        <a:pt x="1305" y="424"/>
                      </a:lnTo>
                      <a:lnTo>
                        <a:pt x="1308" y="430"/>
                      </a:lnTo>
                      <a:lnTo>
                        <a:pt x="1313" y="430"/>
                      </a:lnTo>
                      <a:lnTo>
                        <a:pt x="1322" y="427"/>
                      </a:lnTo>
                      <a:lnTo>
                        <a:pt x="1325" y="427"/>
                      </a:lnTo>
                      <a:lnTo>
                        <a:pt x="1328" y="424"/>
                      </a:lnTo>
                      <a:lnTo>
                        <a:pt x="1328" y="422"/>
                      </a:lnTo>
                      <a:lnTo>
                        <a:pt x="1333" y="419"/>
                      </a:lnTo>
                      <a:lnTo>
                        <a:pt x="1338" y="414"/>
                      </a:lnTo>
                      <a:lnTo>
                        <a:pt x="1341" y="414"/>
                      </a:lnTo>
                      <a:lnTo>
                        <a:pt x="1341" y="411"/>
                      </a:lnTo>
                      <a:lnTo>
                        <a:pt x="1344" y="402"/>
                      </a:lnTo>
                      <a:lnTo>
                        <a:pt x="1346" y="399"/>
                      </a:lnTo>
                      <a:lnTo>
                        <a:pt x="1341" y="396"/>
                      </a:lnTo>
                      <a:lnTo>
                        <a:pt x="1341" y="394"/>
                      </a:lnTo>
                      <a:lnTo>
                        <a:pt x="1338" y="388"/>
                      </a:lnTo>
                      <a:lnTo>
                        <a:pt x="1341" y="388"/>
                      </a:lnTo>
                      <a:lnTo>
                        <a:pt x="1344" y="386"/>
                      </a:lnTo>
                      <a:lnTo>
                        <a:pt x="1341" y="378"/>
                      </a:lnTo>
                      <a:lnTo>
                        <a:pt x="1341" y="372"/>
                      </a:lnTo>
                      <a:lnTo>
                        <a:pt x="1344" y="370"/>
                      </a:lnTo>
                      <a:lnTo>
                        <a:pt x="1344" y="366"/>
                      </a:lnTo>
                      <a:lnTo>
                        <a:pt x="1344" y="363"/>
                      </a:lnTo>
                      <a:lnTo>
                        <a:pt x="1354" y="361"/>
                      </a:lnTo>
                      <a:lnTo>
                        <a:pt x="1361" y="355"/>
                      </a:lnTo>
                      <a:lnTo>
                        <a:pt x="1363" y="355"/>
                      </a:lnTo>
                      <a:lnTo>
                        <a:pt x="1366" y="350"/>
                      </a:lnTo>
                      <a:lnTo>
                        <a:pt x="1372" y="350"/>
                      </a:lnTo>
                      <a:lnTo>
                        <a:pt x="1374" y="350"/>
                      </a:lnTo>
                      <a:lnTo>
                        <a:pt x="1377" y="353"/>
                      </a:lnTo>
                      <a:lnTo>
                        <a:pt x="1374" y="355"/>
                      </a:lnTo>
                      <a:lnTo>
                        <a:pt x="1380" y="355"/>
                      </a:lnTo>
                      <a:lnTo>
                        <a:pt x="1380" y="353"/>
                      </a:lnTo>
                      <a:lnTo>
                        <a:pt x="1382" y="353"/>
                      </a:lnTo>
                      <a:lnTo>
                        <a:pt x="1388" y="353"/>
                      </a:lnTo>
                      <a:lnTo>
                        <a:pt x="1388" y="355"/>
                      </a:lnTo>
                      <a:lnTo>
                        <a:pt x="1402" y="355"/>
                      </a:lnTo>
                      <a:lnTo>
                        <a:pt x="1410" y="358"/>
                      </a:lnTo>
                      <a:lnTo>
                        <a:pt x="1415" y="358"/>
                      </a:lnTo>
                      <a:lnTo>
                        <a:pt x="1415" y="353"/>
                      </a:lnTo>
                      <a:lnTo>
                        <a:pt x="1423" y="353"/>
                      </a:lnTo>
                      <a:lnTo>
                        <a:pt x="1421" y="347"/>
                      </a:lnTo>
                      <a:lnTo>
                        <a:pt x="1427" y="345"/>
                      </a:lnTo>
                      <a:lnTo>
                        <a:pt x="1427" y="342"/>
                      </a:lnTo>
                      <a:lnTo>
                        <a:pt x="1438" y="342"/>
                      </a:lnTo>
                      <a:lnTo>
                        <a:pt x="1435" y="339"/>
                      </a:lnTo>
                      <a:lnTo>
                        <a:pt x="1441" y="337"/>
                      </a:lnTo>
                      <a:lnTo>
                        <a:pt x="1441" y="333"/>
                      </a:lnTo>
                      <a:lnTo>
                        <a:pt x="1433" y="330"/>
                      </a:lnTo>
                      <a:lnTo>
                        <a:pt x="1433" y="325"/>
                      </a:lnTo>
                      <a:lnTo>
                        <a:pt x="1430" y="325"/>
                      </a:lnTo>
                      <a:lnTo>
                        <a:pt x="1427" y="322"/>
                      </a:lnTo>
                      <a:lnTo>
                        <a:pt x="1423" y="322"/>
                      </a:lnTo>
                      <a:lnTo>
                        <a:pt x="1423" y="319"/>
                      </a:lnTo>
                      <a:lnTo>
                        <a:pt x="1418" y="317"/>
                      </a:lnTo>
                      <a:lnTo>
                        <a:pt x="1421" y="309"/>
                      </a:lnTo>
                      <a:lnTo>
                        <a:pt x="1430" y="309"/>
                      </a:lnTo>
                      <a:lnTo>
                        <a:pt x="1430" y="306"/>
                      </a:lnTo>
                      <a:lnTo>
                        <a:pt x="1433" y="309"/>
                      </a:lnTo>
                      <a:lnTo>
                        <a:pt x="1438" y="309"/>
                      </a:lnTo>
                      <a:lnTo>
                        <a:pt x="1441" y="311"/>
                      </a:lnTo>
                      <a:lnTo>
                        <a:pt x="1443" y="311"/>
                      </a:lnTo>
                      <a:lnTo>
                        <a:pt x="1443" y="306"/>
                      </a:lnTo>
                      <a:lnTo>
                        <a:pt x="1449" y="309"/>
                      </a:lnTo>
                      <a:lnTo>
                        <a:pt x="1451" y="314"/>
                      </a:lnTo>
                      <a:lnTo>
                        <a:pt x="1454" y="309"/>
                      </a:lnTo>
                      <a:lnTo>
                        <a:pt x="1466" y="314"/>
                      </a:lnTo>
                      <a:lnTo>
                        <a:pt x="1466" y="309"/>
                      </a:lnTo>
                      <a:lnTo>
                        <a:pt x="1471" y="317"/>
                      </a:lnTo>
                      <a:lnTo>
                        <a:pt x="1474" y="314"/>
                      </a:lnTo>
                      <a:lnTo>
                        <a:pt x="1476" y="314"/>
                      </a:lnTo>
                      <a:lnTo>
                        <a:pt x="1482" y="319"/>
                      </a:lnTo>
                      <a:lnTo>
                        <a:pt x="1484" y="322"/>
                      </a:lnTo>
                      <a:lnTo>
                        <a:pt x="1487" y="322"/>
                      </a:lnTo>
                      <a:lnTo>
                        <a:pt x="1487" y="325"/>
                      </a:lnTo>
                      <a:lnTo>
                        <a:pt x="1493" y="325"/>
                      </a:lnTo>
                      <a:lnTo>
                        <a:pt x="1493" y="330"/>
                      </a:lnTo>
                      <a:lnTo>
                        <a:pt x="1499" y="325"/>
                      </a:lnTo>
                      <a:lnTo>
                        <a:pt x="1501" y="325"/>
                      </a:lnTo>
                      <a:lnTo>
                        <a:pt x="1501" y="322"/>
                      </a:lnTo>
                      <a:lnTo>
                        <a:pt x="1510" y="319"/>
                      </a:lnTo>
                      <a:lnTo>
                        <a:pt x="1515" y="314"/>
                      </a:lnTo>
                      <a:lnTo>
                        <a:pt x="1520" y="317"/>
                      </a:lnTo>
                      <a:lnTo>
                        <a:pt x="1523" y="317"/>
                      </a:lnTo>
                      <a:lnTo>
                        <a:pt x="1526" y="314"/>
                      </a:lnTo>
                      <a:lnTo>
                        <a:pt x="1535" y="314"/>
                      </a:lnTo>
                      <a:lnTo>
                        <a:pt x="1545" y="314"/>
                      </a:lnTo>
                      <a:lnTo>
                        <a:pt x="1545" y="317"/>
                      </a:lnTo>
                      <a:lnTo>
                        <a:pt x="1551" y="317"/>
                      </a:lnTo>
                      <a:lnTo>
                        <a:pt x="1556" y="317"/>
                      </a:lnTo>
                      <a:lnTo>
                        <a:pt x="1556" y="314"/>
                      </a:lnTo>
                      <a:lnTo>
                        <a:pt x="1559" y="306"/>
                      </a:lnTo>
                      <a:lnTo>
                        <a:pt x="1568" y="306"/>
                      </a:lnTo>
                      <a:lnTo>
                        <a:pt x="1570" y="303"/>
                      </a:lnTo>
                      <a:lnTo>
                        <a:pt x="1573" y="297"/>
                      </a:lnTo>
                      <a:lnTo>
                        <a:pt x="1570" y="289"/>
                      </a:lnTo>
                      <a:lnTo>
                        <a:pt x="1579" y="289"/>
                      </a:lnTo>
                      <a:lnTo>
                        <a:pt x="1581" y="286"/>
                      </a:lnTo>
                      <a:lnTo>
                        <a:pt x="1579" y="284"/>
                      </a:lnTo>
                      <a:lnTo>
                        <a:pt x="1576" y="281"/>
                      </a:lnTo>
                      <a:lnTo>
                        <a:pt x="1581" y="276"/>
                      </a:lnTo>
                      <a:lnTo>
                        <a:pt x="1579" y="273"/>
                      </a:lnTo>
                      <a:lnTo>
                        <a:pt x="1579" y="268"/>
                      </a:lnTo>
                      <a:lnTo>
                        <a:pt x="1573" y="265"/>
                      </a:lnTo>
                      <a:lnTo>
                        <a:pt x="1573" y="259"/>
                      </a:lnTo>
                      <a:lnTo>
                        <a:pt x="1576" y="259"/>
                      </a:lnTo>
                      <a:lnTo>
                        <a:pt x="1581" y="259"/>
                      </a:lnTo>
                      <a:lnTo>
                        <a:pt x="1581" y="256"/>
                      </a:lnTo>
                      <a:lnTo>
                        <a:pt x="1587" y="253"/>
                      </a:lnTo>
                      <a:lnTo>
                        <a:pt x="1589" y="248"/>
                      </a:lnTo>
                      <a:lnTo>
                        <a:pt x="1589" y="240"/>
                      </a:lnTo>
                      <a:lnTo>
                        <a:pt x="1595" y="234"/>
                      </a:lnTo>
                      <a:lnTo>
                        <a:pt x="1604" y="234"/>
                      </a:lnTo>
                      <a:lnTo>
                        <a:pt x="1606" y="237"/>
                      </a:lnTo>
                      <a:lnTo>
                        <a:pt x="1614" y="240"/>
                      </a:lnTo>
                      <a:lnTo>
                        <a:pt x="1622" y="228"/>
                      </a:lnTo>
                      <a:lnTo>
                        <a:pt x="1625" y="228"/>
                      </a:lnTo>
                      <a:lnTo>
                        <a:pt x="1631" y="225"/>
                      </a:lnTo>
                      <a:lnTo>
                        <a:pt x="1628" y="223"/>
                      </a:lnTo>
                      <a:lnTo>
                        <a:pt x="1631" y="220"/>
                      </a:lnTo>
                      <a:lnTo>
                        <a:pt x="1639" y="220"/>
                      </a:lnTo>
                      <a:lnTo>
                        <a:pt x="1639" y="217"/>
                      </a:lnTo>
                      <a:lnTo>
                        <a:pt x="1650" y="215"/>
                      </a:lnTo>
                      <a:lnTo>
                        <a:pt x="1656" y="217"/>
                      </a:lnTo>
                      <a:lnTo>
                        <a:pt x="1658" y="215"/>
                      </a:lnTo>
                      <a:lnTo>
                        <a:pt x="1661" y="209"/>
                      </a:lnTo>
                      <a:lnTo>
                        <a:pt x="1665" y="209"/>
                      </a:lnTo>
                      <a:lnTo>
                        <a:pt x="1667" y="207"/>
                      </a:lnTo>
                      <a:lnTo>
                        <a:pt x="1665" y="207"/>
                      </a:lnTo>
                      <a:lnTo>
                        <a:pt x="1667" y="204"/>
                      </a:lnTo>
                      <a:lnTo>
                        <a:pt x="1665" y="201"/>
                      </a:lnTo>
                      <a:lnTo>
                        <a:pt x="1667" y="198"/>
                      </a:lnTo>
                      <a:lnTo>
                        <a:pt x="1673" y="192"/>
                      </a:lnTo>
                      <a:lnTo>
                        <a:pt x="1678" y="192"/>
                      </a:lnTo>
                      <a:lnTo>
                        <a:pt x="1681" y="189"/>
                      </a:lnTo>
                      <a:lnTo>
                        <a:pt x="1681" y="187"/>
                      </a:lnTo>
                      <a:lnTo>
                        <a:pt x="1686" y="184"/>
                      </a:lnTo>
                      <a:lnTo>
                        <a:pt x="1686" y="181"/>
                      </a:lnTo>
                      <a:lnTo>
                        <a:pt x="1691" y="176"/>
                      </a:lnTo>
                      <a:lnTo>
                        <a:pt x="1694" y="171"/>
                      </a:lnTo>
                      <a:lnTo>
                        <a:pt x="1697" y="168"/>
                      </a:lnTo>
                      <a:lnTo>
                        <a:pt x="1694" y="165"/>
                      </a:lnTo>
                      <a:lnTo>
                        <a:pt x="1694" y="163"/>
                      </a:lnTo>
                      <a:lnTo>
                        <a:pt x="1706" y="159"/>
                      </a:lnTo>
                      <a:lnTo>
                        <a:pt x="1706" y="154"/>
                      </a:lnTo>
                      <a:lnTo>
                        <a:pt x="1711" y="148"/>
                      </a:lnTo>
                      <a:lnTo>
                        <a:pt x="1714" y="146"/>
                      </a:lnTo>
                      <a:lnTo>
                        <a:pt x="1719" y="146"/>
                      </a:lnTo>
                      <a:lnTo>
                        <a:pt x="1722" y="132"/>
                      </a:lnTo>
                      <a:lnTo>
                        <a:pt x="1719" y="127"/>
                      </a:lnTo>
                      <a:lnTo>
                        <a:pt x="1716" y="115"/>
                      </a:lnTo>
                      <a:lnTo>
                        <a:pt x="1711" y="112"/>
                      </a:lnTo>
                      <a:lnTo>
                        <a:pt x="1711" y="107"/>
                      </a:lnTo>
                      <a:lnTo>
                        <a:pt x="1706" y="102"/>
                      </a:lnTo>
                      <a:lnTo>
                        <a:pt x="1703" y="94"/>
                      </a:lnTo>
                      <a:lnTo>
                        <a:pt x="1697" y="91"/>
                      </a:lnTo>
                      <a:lnTo>
                        <a:pt x="1700" y="79"/>
                      </a:lnTo>
                      <a:lnTo>
                        <a:pt x="1697" y="74"/>
                      </a:lnTo>
                      <a:lnTo>
                        <a:pt x="1700" y="69"/>
                      </a:lnTo>
                      <a:lnTo>
                        <a:pt x="1700" y="66"/>
                      </a:lnTo>
                      <a:lnTo>
                        <a:pt x="1697" y="63"/>
                      </a:lnTo>
                      <a:lnTo>
                        <a:pt x="1694" y="69"/>
                      </a:lnTo>
                      <a:lnTo>
                        <a:pt x="1694" y="66"/>
                      </a:lnTo>
                      <a:lnTo>
                        <a:pt x="1691" y="58"/>
                      </a:lnTo>
                      <a:lnTo>
                        <a:pt x="1694" y="51"/>
                      </a:lnTo>
                      <a:lnTo>
                        <a:pt x="1691" y="46"/>
                      </a:lnTo>
                      <a:lnTo>
                        <a:pt x="1683" y="41"/>
                      </a:lnTo>
                      <a:lnTo>
                        <a:pt x="1683" y="35"/>
                      </a:lnTo>
                      <a:lnTo>
                        <a:pt x="1681" y="33"/>
                      </a:lnTo>
                      <a:lnTo>
                        <a:pt x="1678" y="33"/>
                      </a:lnTo>
                      <a:lnTo>
                        <a:pt x="1675" y="33"/>
                      </a:lnTo>
                      <a:lnTo>
                        <a:pt x="1667" y="33"/>
                      </a:lnTo>
                      <a:lnTo>
                        <a:pt x="1661" y="30"/>
                      </a:lnTo>
                      <a:lnTo>
                        <a:pt x="1667" y="22"/>
                      </a:lnTo>
                      <a:lnTo>
                        <a:pt x="1673" y="22"/>
                      </a:lnTo>
                      <a:lnTo>
                        <a:pt x="1678" y="18"/>
                      </a:lnTo>
                      <a:lnTo>
                        <a:pt x="1683" y="16"/>
                      </a:lnTo>
                      <a:lnTo>
                        <a:pt x="1691" y="18"/>
                      </a:lnTo>
                      <a:lnTo>
                        <a:pt x="1694" y="18"/>
                      </a:lnTo>
                      <a:lnTo>
                        <a:pt x="1700" y="22"/>
                      </a:lnTo>
                      <a:lnTo>
                        <a:pt x="1706" y="25"/>
                      </a:lnTo>
                      <a:lnTo>
                        <a:pt x="1711" y="22"/>
                      </a:lnTo>
                      <a:lnTo>
                        <a:pt x="1714" y="25"/>
                      </a:lnTo>
                      <a:lnTo>
                        <a:pt x="1716" y="22"/>
                      </a:lnTo>
                      <a:lnTo>
                        <a:pt x="1719" y="22"/>
                      </a:lnTo>
                      <a:lnTo>
                        <a:pt x="1719" y="27"/>
                      </a:lnTo>
                      <a:lnTo>
                        <a:pt x="1727" y="33"/>
                      </a:lnTo>
                      <a:lnTo>
                        <a:pt x="1739" y="33"/>
                      </a:lnTo>
                      <a:lnTo>
                        <a:pt x="1742" y="30"/>
                      </a:lnTo>
                      <a:lnTo>
                        <a:pt x="1747" y="27"/>
                      </a:lnTo>
                      <a:lnTo>
                        <a:pt x="1758" y="30"/>
                      </a:lnTo>
                      <a:lnTo>
                        <a:pt x="1766" y="30"/>
                      </a:lnTo>
                      <a:lnTo>
                        <a:pt x="1769" y="30"/>
                      </a:lnTo>
                      <a:lnTo>
                        <a:pt x="1772" y="30"/>
                      </a:lnTo>
                      <a:lnTo>
                        <a:pt x="1777" y="30"/>
                      </a:lnTo>
                      <a:lnTo>
                        <a:pt x="1780" y="38"/>
                      </a:lnTo>
                      <a:lnTo>
                        <a:pt x="1783" y="38"/>
                      </a:lnTo>
                      <a:lnTo>
                        <a:pt x="1791" y="33"/>
                      </a:lnTo>
                      <a:lnTo>
                        <a:pt x="1791" y="27"/>
                      </a:lnTo>
                      <a:lnTo>
                        <a:pt x="1791" y="25"/>
                      </a:lnTo>
                      <a:lnTo>
                        <a:pt x="1796" y="27"/>
                      </a:lnTo>
                      <a:lnTo>
                        <a:pt x="1805" y="22"/>
                      </a:lnTo>
                      <a:lnTo>
                        <a:pt x="1811" y="25"/>
                      </a:lnTo>
                      <a:lnTo>
                        <a:pt x="1811" y="27"/>
                      </a:lnTo>
                      <a:lnTo>
                        <a:pt x="1811" y="30"/>
                      </a:lnTo>
                      <a:lnTo>
                        <a:pt x="1816" y="27"/>
                      </a:lnTo>
                      <a:lnTo>
                        <a:pt x="1819" y="27"/>
                      </a:lnTo>
                      <a:lnTo>
                        <a:pt x="1824" y="27"/>
                      </a:lnTo>
                      <a:lnTo>
                        <a:pt x="1827" y="27"/>
                      </a:lnTo>
                      <a:lnTo>
                        <a:pt x="1832" y="27"/>
                      </a:lnTo>
                      <a:lnTo>
                        <a:pt x="1835" y="18"/>
                      </a:lnTo>
                      <a:lnTo>
                        <a:pt x="1847" y="18"/>
                      </a:lnTo>
                      <a:lnTo>
                        <a:pt x="1847" y="16"/>
                      </a:lnTo>
                      <a:lnTo>
                        <a:pt x="1849" y="16"/>
                      </a:lnTo>
                      <a:lnTo>
                        <a:pt x="1852" y="13"/>
                      </a:lnTo>
                      <a:lnTo>
                        <a:pt x="1852" y="8"/>
                      </a:lnTo>
                      <a:lnTo>
                        <a:pt x="1860" y="8"/>
                      </a:lnTo>
                      <a:lnTo>
                        <a:pt x="1865" y="5"/>
                      </a:lnTo>
                      <a:lnTo>
                        <a:pt x="1868" y="2"/>
                      </a:lnTo>
                      <a:lnTo>
                        <a:pt x="1874" y="0"/>
                      </a:lnTo>
                      <a:lnTo>
                        <a:pt x="1880" y="2"/>
                      </a:lnTo>
                      <a:lnTo>
                        <a:pt x="1882" y="8"/>
                      </a:lnTo>
                      <a:lnTo>
                        <a:pt x="1882" y="13"/>
                      </a:lnTo>
                      <a:lnTo>
                        <a:pt x="1890" y="18"/>
                      </a:lnTo>
                      <a:lnTo>
                        <a:pt x="1896" y="16"/>
                      </a:lnTo>
                      <a:lnTo>
                        <a:pt x="1904" y="10"/>
                      </a:lnTo>
                      <a:lnTo>
                        <a:pt x="1907" y="18"/>
                      </a:lnTo>
                      <a:lnTo>
                        <a:pt x="1918" y="33"/>
                      </a:lnTo>
                      <a:lnTo>
                        <a:pt x="1921" y="51"/>
                      </a:lnTo>
                      <a:lnTo>
                        <a:pt x="1921" y="54"/>
                      </a:lnTo>
                      <a:lnTo>
                        <a:pt x="1929" y="54"/>
                      </a:lnTo>
                      <a:lnTo>
                        <a:pt x="1932" y="58"/>
                      </a:lnTo>
                      <a:lnTo>
                        <a:pt x="1934" y="61"/>
                      </a:lnTo>
                      <a:lnTo>
                        <a:pt x="1934" y="63"/>
                      </a:lnTo>
                      <a:lnTo>
                        <a:pt x="1937" y="69"/>
                      </a:lnTo>
                      <a:lnTo>
                        <a:pt x="1941" y="69"/>
                      </a:lnTo>
                      <a:lnTo>
                        <a:pt x="1949" y="74"/>
                      </a:lnTo>
                      <a:lnTo>
                        <a:pt x="1949" y="77"/>
                      </a:lnTo>
                      <a:lnTo>
                        <a:pt x="1951" y="74"/>
                      </a:lnTo>
                      <a:lnTo>
                        <a:pt x="1957" y="77"/>
                      </a:lnTo>
                      <a:lnTo>
                        <a:pt x="1959" y="77"/>
                      </a:lnTo>
                      <a:lnTo>
                        <a:pt x="1962" y="79"/>
                      </a:lnTo>
                      <a:lnTo>
                        <a:pt x="1959" y="82"/>
                      </a:lnTo>
                      <a:lnTo>
                        <a:pt x="1962" y="85"/>
                      </a:lnTo>
                      <a:lnTo>
                        <a:pt x="1957" y="91"/>
                      </a:lnTo>
                      <a:lnTo>
                        <a:pt x="1962" y="94"/>
                      </a:lnTo>
                      <a:lnTo>
                        <a:pt x="1962" y="96"/>
                      </a:lnTo>
                      <a:lnTo>
                        <a:pt x="1959" y="99"/>
                      </a:lnTo>
                      <a:lnTo>
                        <a:pt x="1959" y="102"/>
                      </a:lnTo>
                      <a:lnTo>
                        <a:pt x="1959" y="104"/>
                      </a:lnTo>
                      <a:lnTo>
                        <a:pt x="1959" y="110"/>
                      </a:lnTo>
                      <a:lnTo>
                        <a:pt x="1965" y="120"/>
                      </a:lnTo>
                      <a:lnTo>
                        <a:pt x="1962" y="123"/>
                      </a:lnTo>
                      <a:lnTo>
                        <a:pt x="1965" y="127"/>
                      </a:lnTo>
                      <a:lnTo>
                        <a:pt x="1962" y="132"/>
                      </a:lnTo>
                      <a:lnTo>
                        <a:pt x="1965" y="138"/>
                      </a:lnTo>
                      <a:lnTo>
                        <a:pt x="1962" y="138"/>
                      </a:lnTo>
                      <a:lnTo>
                        <a:pt x="1962" y="143"/>
                      </a:lnTo>
                      <a:lnTo>
                        <a:pt x="1959" y="148"/>
                      </a:lnTo>
                      <a:lnTo>
                        <a:pt x="1957" y="154"/>
                      </a:lnTo>
                      <a:lnTo>
                        <a:pt x="1954" y="181"/>
                      </a:lnTo>
                      <a:lnTo>
                        <a:pt x="1951" y="184"/>
                      </a:lnTo>
                      <a:lnTo>
                        <a:pt x="1949" y="187"/>
                      </a:lnTo>
                      <a:lnTo>
                        <a:pt x="1946" y="192"/>
                      </a:lnTo>
                      <a:lnTo>
                        <a:pt x="1949" y="196"/>
                      </a:lnTo>
                      <a:lnTo>
                        <a:pt x="1946" y="201"/>
                      </a:lnTo>
                      <a:lnTo>
                        <a:pt x="1943" y="204"/>
                      </a:lnTo>
                      <a:lnTo>
                        <a:pt x="1949" y="209"/>
                      </a:lnTo>
                      <a:lnTo>
                        <a:pt x="1949" y="215"/>
                      </a:lnTo>
                      <a:lnTo>
                        <a:pt x="1949" y="223"/>
                      </a:lnTo>
                      <a:lnTo>
                        <a:pt x="1943" y="234"/>
                      </a:lnTo>
                      <a:lnTo>
                        <a:pt x="1949" y="237"/>
                      </a:lnTo>
                      <a:lnTo>
                        <a:pt x="1949" y="240"/>
                      </a:lnTo>
                      <a:lnTo>
                        <a:pt x="1934" y="253"/>
                      </a:lnTo>
                      <a:lnTo>
                        <a:pt x="1929" y="261"/>
                      </a:lnTo>
                      <a:lnTo>
                        <a:pt x="1926" y="265"/>
                      </a:lnTo>
                      <a:lnTo>
                        <a:pt x="1929" y="268"/>
                      </a:lnTo>
                      <a:lnTo>
                        <a:pt x="1929" y="273"/>
                      </a:lnTo>
                      <a:lnTo>
                        <a:pt x="1929" y="278"/>
                      </a:lnTo>
                      <a:lnTo>
                        <a:pt x="1918" y="284"/>
                      </a:lnTo>
                      <a:lnTo>
                        <a:pt x="1915" y="281"/>
                      </a:lnTo>
                      <a:lnTo>
                        <a:pt x="1913" y="284"/>
                      </a:lnTo>
                      <a:lnTo>
                        <a:pt x="1910" y="284"/>
                      </a:lnTo>
                      <a:lnTo>
                        <a:pt x="1904" y="286"/>
                      </a:lnTo>
                      <a:lnTo>
                        <a:pt x="1907" y="294"/>
                      </a:lnTo>
                      <a:lnTo>
                        <a:pt x="1901" y="294"/>
                      </a:lnTo>
                      <a:lnTo>
                        <a:pt x="1904" y="301"/>
                      </a:lnTo>
                      <a:lnTo>
                        <a:pt x="1898" y="301"/>
                      </a:lnTo>
                      <a:lnTo>
                        <a:pt x="1898" y="297"/>
                      </a:lnTo>
                      <a:lnTo>
                        <a:pt x="1896" y="297"/>
                      </a:lnTo>
                      <a:lnTo>
                        <a:pt x="1893" y="301"/>
                      </a:lnTo>
                      <a:lnTo>
                        <a:pt x="1893" y="306"/>
                      </a:lnTo>
                      <a:lnTo>
                        <a:pt x="1896" y="309"/>
                      </a:lnTo>
                      <a:lnTo>
                        <a:pt x="1893" y="319"/>
                      </a:lnTo>
                      <a:lnTo>
                        <a:pt x="1896" y="322"/>
                      </a:lnTo>
                      <a:lnTo>
                        <a:pt x="1904" y="322"/>
                      </a:lnTo>
                      <a:lnTo>
                        <a:pt x="1907" y="322"/>
                      </a:lnTo>
                      <a:lnTo>
                        <a:pt x="1918" y="322"/>
                      </a:lnTo>
                      <a:lnTo>
                        <a:pt x="1915" y="317"/>
                      </a:lnTo>
                      <a:lnTo>
                        <a:pt x="1924" y="314"/>
                      </a:lnTo>
                      <a:lnTo>
                        <a:pt x="1924" y="317"/>
                      </a:lnTo>
                      <a:lnTo>
                        <a:pt x="1924" y="319"/>
                      </a:lnTo>
                      <a:lnTo>
                        <a:pt x="1929" y="317"/>
                      </a:lnTo>
                      <a:lnTo>
                        <a:pt x="1932" y="319"/>
                      </a:lnTo>
                      <a:lnTo>
                        <a:pt x="1932" y="322"/>
                      </a:lnTo>
                      <a:lnTo>
                        <a:pt x="1932" y="325"/>
                      </a:lnTo>
                      <a:lnTo>
                        <a:pt x="1934" y="325"/>
                      </a:lnTo>
                      <a:lnTo>
                        <a:pt x="1943" y="325"/>
                      </a:lnTo>
                      <a:lnTo>
                        <a:pt x="1946" y="328"/>
                      </a:lnTo>
                      <a:lnTo>
                        <a:pt x="1951" y="325"/>
                      </a:lnTo>
                      <a:lnTo>
                        <a:pt x="1954" y="328"/>
                      </a:lnTo>
                      <a:lnTo>
                        <a:pt x="1957" y="325"/>
                      </a:lnTo>
                      <a:lnTo>
                        <a:pt x="1959" y="325"/>
                      </a:lnTo>
                      <a:lnTo>
                        <a:pt x="1962" y="330"/>
                      </a:lnTo>
                      <a:lnTo>
                        <a:pt x="1967" y="333"/>
                      </a:lnTo>
                      <a:lnTo>
                        <a:pt x="1970" y="330"/>
                      </a:lnTo>
                      <a:lnTo>
                        <a:pt x="1970" y="333"/>
                      </a:lnTo>
                      <a:lnTo>
                        <a:pt x="1973" y="333"/>
                      </a:lnTo>
                      <a:lnTo>
                        <a:pt x="1970" y="330"/>
                      </a:lnTo>
                      <a:lnTo>
                        <a:pt x="1973" y="322"/>
                      </a:lnTo>
                      <a:lnTo>
                        <a:pt x="1976" y="322"/>
                      </a:lnTo>
                      <a:lnTo>
                        <a:pt x="1976" y="325"/>
                      </a:lnTo>
                      <a:lnTo>
                        <a:pt x="1984" y="328"/>
                      </a:lnTo>
                      <a:lnTo>
                        <a:pt x="1987" y="325"/>
                      </a:lnTo>
                      <a:lnTo>
                        <a:pt x="1987" y="328"/>
                      </a:lnTo>
                      <a:lnTo>
                        <a:pt x="1993" y="330"/>
                      </a:lnTo>
                      <a:lnTo>
                        <a:pt x="1990" y="333"/>
                      </a:lnTo>
                      <a:lnTo>
                        <a:pt x="1998" y="337"/>
                      </a:lnTo>
                      <a:lnTo>
                        <a:pt x="1995" y="339"/>
                      </a:lnTo>
                      <a:lnTo>
                        <a:pt x="1998" y="342"/>
                      </a:lnTo>
                      <a:lnTo>
                        <a:pt x="2003" y="337"/>
                      </a:lnTo>
                      <a:lnTo>
                        <a:pt x="2010" y="337"/>
                      </a:lnTo>
                      <a:lnTo>
                        <a:pt x="2012" y="330"/>
                      </a:lnTo>
                      <a:lnTo>
                        <a:pt x="2012" y="333"/>
                      </a:lnTo>
                      <a:lnTo>
                        <a:pt x="2018" y="337"/>
                      </a:lnTo>
                      <a:lnTo>
                        <a:pt x="2015" y="342"/>
                      </a:lnTo>
                      <a:lnTo>
                        <a:pt x="2018" y="345"/>
                      </a:lnTo>
                      <a:lnTo>
                        <a:pt x="2020" y="345"/>
                      </a:lnTo>
                      <a:lnTo>
                        <a:pt x="2023" y="345"/>
                      </a:lnTo>
                      <a:lnTo>
                        <a:pt x="2028" y="342"/>
                      </a:lnTo>
                      <a:lnTo>
                        <a:pt x="2031" y="345"/>
                      </a:lnTo>
                      <a:lnTo>
                        <a:pt x="2036" y="347"/>
                      </a:lnTo>
                      <a:lnTo>
                        <a:pt x="2039" y="345"/>
                      </a:lnTo>
                      <a:lnTo>
                        <a:pt x="2039" y="339"/>
                      </a:lnTo>
                      <a:lnTo>
                        <a:pt x="2043" y="339"/>
                      </a:lnTo>
                      <a:lnTo>
                        <a:pt x="2045" y="347"/>
                      </a:lnTo>
                      <a:lnTo>
                        <a:pt x="2051" y="347"/>
                      </a:lnTo>
                      <a:lnTo>
                        <a:pt x="2051" y="350"/>
                      </a:lnTo>
                      <a:lnTo>
                        <a:pt x="2056" y="350"/>
                      </a:lnTo>
                      <a:lnTo>
                        <a:pt x="2062" y="358"/>
                      </a:lnTo>
                      <a:lnTo>
                        <a:pt x="2067" y="358"/>
                      </a:lnTo>
                      <a:lnTo>
                        <a:pt x="2072" y="363"/>
                      </a:lnTo>
                      <a:lnTo>
                        <a:pt x="2075" y="366"/>
                      </a:lnTo>
                      <a:lnTo>
                        <a:pt x="2084" y="375"/>
                      </a:lnTo>
                      <a:lnTo>
                        <a:pt x="2089" y="372"/>
                      </a:lnTo>
                      <a:lnTo>
                        <a:pt x="2095" y="378"/>
                      </a:lnTo>
                      <a:lnTo>
                        <a:pt x="2089" y="380"/>
                      </a:lnTo>
                      <a:lnTo>
                        <a:pt x="2092" y="388"/>
                      </a:lnTo>
                      <a:lnTo>
                        <a:pt x="2092" y="391"/>
                      </a:lnTo>
                      <a:lnTo>
                        <a:pt x="2087" y="394"/>
                      </a:lnTo>
                      <a:lnTo>
                        <a:pt x="2081" y="399"/>
                      </a:lnTo>
                      <a:lnTo>
                        <a:pt x="2081" y="406"/>
                      </a:lnTo>
                      <a:lnTo>
                        <a:pt x="2079" y="406"/>
                      </a:lnTo>
                      <a:lnTo>
                        <a:pt x="2075" y="406"/>
                      </a:lnTo>
                      <a:lnTo>
                        <a:pt x="2072" y="411"/>
                      </a:lnTo>
                      <a:lnTo>
                        <a:pt x="2070" y="414"/>
                      </a:lnTo>
                      <a:lnTo>
                        <a:pt x="2070" y="416"/>
                      </a:lnTo>
                      <a:lnTo>
                        <a:pt x="2070" y="419"/>
                      </a:lnTo>
                      <a:lnTo>
                        <a:pt x="2075" y="419"/>
                      </a:lnTo>
                      <a:lnTo>
                        <a:pt x="2079" y="422"/>
                      </a:lnTo>
                      <a:lnTo>
                        <a:pt x="2067" y="435"/>
                      </a:lnTo>
                      <a:lnTo>
                        <a:pt x="2070" y="438"/>
                      </a:lnTo>
                      <a:lnTo>
                        <a:pt x="2070" y="447"/>
                      </a:lnTo>
                      <a:lnTo>
                        <a:pt x="2072" y="455"/>
                      </a:lnTo>
                      <a:lnTo>
                        <a:pt x="2072" y="457"/>
                      </a:lnTo>
                      <a:lnTo>
                        <a:pt x="2079" y="463"/>
                      </a:lnTo>
                      <a:lnTo>
                        <a:pt x="2081" y="465"/>
                      </a:lnTo>
                      <a:lnTo>
                        <a:pt x="2089" y="471"/>
                      </a:lnTo>
                      <a:lnTo>
                        <a:pt x="2105" y="471"/>
                      </a:lnTo>
                      <a:lnTo>
                        <a:pt x="2117" y="477"/>
                      </a:lnTo>
                      <a:lnTo>
                        <a:pt x="2114" y="485"/>
                      </a:lnTo>
                      <a:lnTo>
                        <a:pt x="2112" y="488"/>
                      </a:lnTo>
                      <a:lnTo>
                        <a:pt x="2103" y="504"/>
                      </a:lnTo>
                      <a:lnTo>
                        <a:pt x="2105" y="504"/>
                      </a:lnTo>
                      <a:lnTo>
                        <a:pt x="2112" y="510"/>
                      </a:lnTo>
                      <a:lnTo>
                        <a:pt x="2117" y="510"/>
                      </a:lnTo>
                      <a:lnTo>
                        <a:pt x="2117" y="513"/>
                      </a:lnTo>
                      <a:lnTo>
                        <a:pt x="2117" y="518"/>
                      </a:lnTo>
                      <a:lnTo>
                        <a:pt x="2125" y="521"/>
                      </a:lnTo>
                      <a:lnTo>
                        <a:pt x="2125" y="526"/>
                      </a:lnTo>
                      <a:lnTo>
                        <a:pt x="2122" y="526"/>
                      </a:lnTo>
                      <a:lnTo>
                        <a:pt x="2120" y="524"/>
                      </a:lnTo>
                      <a:lnTo>
                        <a:pt x="2120" y="526"/>
                      </a:lnTo>
                      <a:lnTo>
                        <a:pt x="2122" y="529"/>
                      </a:lnTo>
                      <a:lnTo>
                        <a:pt x="2128" y="524"/>
                      </a:lnTo>
                      <a:lnTo>
                        <a:pt x="2128" y="529"/>
                      </a:lnTo>
                      <a:lnTo>
                        <a:pt x="2125" y="532"/>
                      </a:lnTo>
                      <a:lnTo>
                        <a:pt x="2128" y="534"/>
                      </a:lnTo>
                      <a:lnTo>
                        <a:pt x="2130" y="532"/>
                      </a:lnTo>
                      <a:lnTo>
                        <a:pt x="2133" y="532"/>
                      </a:lnTo>
                      <a:lnTo>
                        <a:pt x="2130" y="534"/>
                      </a:lnTo>
                      <a:lnTo>
                        <a:pt x="2133" y="537"/>
                      </a:lnTo>
                      <a:lnTo>
                        <a:pt x="2128" y="543"/>
                      </a:lnTo>
                      <a:lnTo>
                        <a:pt x="2128" y="546"/>
                      </a:lnTo>
                      <a:lnTo>
                        <a:pt x="2133" y="546"/>
                      </a:lnTo>
                      <a:lnTo>
                        <a:pt x="2136" y="549"/>
                      </a:lnTo>
                      <a:lnTo>
                        <a:pt x="2139" y="543"/>
                      </a:lnTo>
                      <a:lnTo>
                        <a:pt x="2144" y="543"/>
                      </a:lnTo>
                      <a:lnTo>
                        <a:pt x="2144" y="546"/>
                      </a:lnTo>
                      <a:lnTo>
                        <a:pt x="2153" y="546"/>
                      </a:lnTo>
                      <a:lnTo>
                        <a:pt x="2156" y="552"/>
                      </a:lnTo>
                      <a:lnTo>
                        <a:pt x="2156" y="554"/>
                      </a:lnTo>
                      <a:lnTo>
                        <a:pt x="2158" y="557"/>
                      </a:lnTo>
                      <a:lnTo>
                        <a:pt x="2153" y="560"/>
                      </a:lnTo>
                      <a:lnTo>
                        <a:pt x="2153" y="562"/>
                      </a:lnTo>
                      <a:lnTo>
                        <a:pt x="2153" y="565"/>
                      </a:lnTo>
                      <a:lnTo>
                        <a:pt x="2150" y="565"/>
                      </a:lnTo>
                      <a:lnTo>
                        <a:pt x="2148" y="562"/>
                      </a:lnTo>
                      <a:lnTo>
                        <a:pt x="2144" y="562"/>
                      </a:lnTo>
                      <a:lnTo>
                        <a:pt x="2148" y="565"/>
                      </a:lnTo>
                      <a:lnTo>
                        <a:pt x="2144" y="568"/>
                      </a:lnTo>
                      <a:lnTo>
                        <a:pt x="2136" y="568"/>
                      </a:lnTo>
                      <a:lnTo>
                        <a:pt x="2136" y="578"/>
                      </a:lnTo>
                      <a:lnTo>
                        <a:pt x="2130" y="573"/>
                      </a:lnTo>
                      <a:lnTo>
                        <a:pt x="2133" y="578"/>
                      </a:lnTo>
                      <a:lnTo>
                        <a:pt x="2128" y="578"/>
                      </a:lnTo>
                      <a:lnTo>
                        <a:pt x="2125" y="582"/>
                      </a:lnTo>
                      <a:lnTo>
                        <a:pt x="2125" y="590"/>
                      </a:lnTo>
                      <a:lnTo>
                        <a:pt x="2125" y="593"/>
                      </a:lnTo>
                      <a:lnTo>
                        <a:pt x="2128" y="593"/>
                      </a:lnTo>
                      <a:lnTo>
                        <a:pt x="2128" y="595"/>
                      </a:lnTo>
                      <a:lnTo>
                        <a:pt x="2128" y="601"/>
                      </a:lnTo>
                      <a:lnTo>
                        <a:pt x="2130" y="603"/>
                      </a:lnTo>
                      <a:lnTo>
                        <a:pt x="2130" y="609"/>
                      </a:lnTo>
                      <a:lnTo>
                        <a:pt x="2128" y="606"/>
                      </a:lnTo>
                      <a:lnTo>
                        <a:pt x="2125" y="609"/>
                      </a:lnTo>
                      <a:lnTo>
                        <a:pt x="2122" y="611"/>
                      </a:lnTo>
                      <a:lnTo>
                        <a:pt x="2125" y="615"/>
                      </a:lnTo>
                      <a:lnTo>
                        <a:pt x="2125" y="618"/>
                      </a:lnTo>
                      <a:lnTo>
                        <a:pt x="2122" y="621"/>
                      </a:lnTo>
                      <a:lnTo>
                        <a:pt x="2120" y="615"/>
                      </a:lnTo>
                      <a:lnTo>
                        <a:pt x="2117" y="621"/>
                      </a:lnTo>
                      <a:lnTo>
                        <a:pt x="2112" y="623"/>
                      </a:lnTo>
                      <a:lnTo>
                        <a:pt x="2108" y="623"/>
                      </a:lnTo>
                      <a:lnTo>
                        <a:pt x="2112" y="621"/>
                      </a:lnTo>
                      <a:lnTo>
                        <a:pt x="2112" y="618"/>
                      </a:lnTo>
                      <a:lnTo>
                        <a:pt x="2108" y="618"/>
                      </a:lnTo>
                      <a:lnTo>
                        <a:pt x="2105" y="623"/>
                      </a:lnTo>
                      <a:lnTo>
                        <a:pt x="2103" y="623"/>
                      </a:lnTo>
                      <a:lnTo>
                        <a:pt x="2097" y="626"/>
                      </a:lnTo>
                      <a:lnTo>
                        <a:pt x="2095" y="631"/>
                      </a:lnTo>
                      <a:lnTo>
                        <a:pt x="2089" y="634"/>
                      </a:lnTo>
                      <a:lnTo>
                        <a:pt x="2089" y="637"/>
                      </a:lnTo>
                      <a:lnTo>
                        <a:pt x="2092" y="637"/>
                      </a:lnTo>
                      <a:lnTo>
                        <a:pt x="2092" y="639"/>
                      </a:lnTo>
                      <a:lnTo>
                        <a:pt x="2095" y="642"/>
                      </a:lnTo>
                      <a:lnTo>
                        <a:pt x="2097" y="645"/>
                      </a:lnTo>
                      <a:lnTo>
                        <a:pt x="2095" y="647"/>
                      </a:lnTo>
                      <a:lnTo>
                        <a:pt x="2097" y="654"/>
                      </a:lnTo>
                      <a:lnTo>
                        <a:pt x="2095" y="659"/>
                      </a:lnTo>
                      <a:lnTo>
                        <a:pt x="2089" y="662"/>
                      </a:lnTo>
                      <a:lnTo>
                        <a:pt x="2087" y="659"/>
                      </a:lnTo>
                      <a:lnTo>
                        <a:pt x="2084" y="664"/>
                      </a:lnTo>
                      <a:lnTo>
                        <a:pt x="2081" y="664"/>
                      </a:lnTo>
                      <a:lnTo>
                        <a:pt x="2079" y="667"/>
                      </a:lnTo>
                      <a:lnTo>
                        <a:pt x="2075" y="670"/>
                      </a:lnTo>
                      <a:lnTo>
                        <a:pt x="2072" y="672"/>
                      </a:lnTo>
                      <a:lnTo>
                        <a:pt x="2072" y="675"/>
                      </a:lnTo>
                      <a:lnTo>
                        <a:pt x="2064" y="675"/>
                      </a:lnTo>
                      <a:lnTo>
                        <a:pt x="2062" y="678"/>
                      </a:lnTo>
                      <a:lnTo>
                        <a:pt x="2059" y="687"/>
                      </a:lnTo>
                      <a:lnTo>
                        <a:pt x="2053" y="687"/>
                      </a:lnTo>
                      <a:lnTo>
                        <a:pt x="2056" y="690"/>
                      </a:lnTo>
                      <a:lnTo>
                        <a:pt x="2051" y="690"/>
                      </a:lnTo>
                      <a:lnTo>
                        <a:pt x="2045" y="695"/>
                      </a:lnTo>
                      <a:lnTo>
                        <a:pt x="2043" y="692"/>
                      </a:lnTo>
                      <a:lnTo>
                        <a:pt x="2039" y="695"/>
                      </a:lnTo>
                      <a:lnTo>
                        <a:pt x="2034" y="692"/>
                      </a:lnTo>
                      <a:lnTo>
                        <a:pt x="2034" y="698"/>
                      </a:lnTo>
                      <a:lnTo>
                        <a:pt x="2031" y="695"/>
                      </a:lnTo>
                      <a:lnTo>
                        <a:pt x="2026" y="698"/>
                      </a:lnTo>
                      <a:lnTo>
                        <a:pt x="2020" y="698"/>
                      </a:lnTo>
                      <a:lnTo>
                        <a:pt x="2020" y="703"/>
                      </a:lnTo>
                      <a:lnTo>
                        <a:pt x="2018" y="708"/>
                      </a:lnTo>
                      <a:lnTo>
                        <a:pt x="2015" y="711"/>
                      </a:lnTo>
                      <a:lnTo>
                        <a:pt x="2018" y="711"/>
                      </a:lnTo>
                      <a:lnTo>
                        <a:pt x="2018" y="714"/>
                      </a:lnTo>
                      <a:lnTo>
                        <a:pt x="2012" y="716"/>
                      </a:lnTo>
                      <a:lnTo>
                        <a:pt x="2015" y="720"/>
                      </a:lnTo>
                      <a:lnTo>
                        <a:pt x="2023" y="720"/>
                      </a:lnTo>
                      <a:lnTo>
                        <a:pt x="2023" y="725"/>
                      </a:lnTo>
                      <a:lnTo>
                        <a:pt x="2026" y="731"/>
                      </a:lnTo>
                      <a:lnTo>
                        <a:pt x="2034" y="733"/>
                      </a:lnTo>
                      <a:lnTo>
                        <a:pt x="2039" y="739"/>
                      </a:lnTo>
                      <a:lnTo>
                        <a:pt x="2039" y="747"/>
                      </a:lnTo>
                      <a:lnTo>
                        <a:pt x="2031" y="750"/>
                      </a:lnTo>
                      <a:lnTo>
                        <a:pt x="2031" y="752"/>
                      </a:lnTo>
                      <a:lnTo>
                        <a:pt x="2036" y="752"/>
                      </a:lnTo>
                      <a:lnTo>
                        <a:pt x="2036" y="756"/>
                      </a:lnTo>
                      <a:lnTo>
                        <a:pt x="2034" y="756"/>
                      </a:lnTo>
                      <a:lnTo>
                        <a:pt x="2031" y="756"/>
                      </a:lnTo>
                      <a:lnTo>
                        <a:pt x="2028" y="761"/>
                      </a:lnTo>
                      <a:lnTo>
                        <a:pt x="2026" y="767"/>
                      </a:lnTo>
                      <a:lnTo>
                        <a:pt x="2026" y="769"/>
                      </a:lnTo>
                      <a:lnTo>
                        <a:pt x="2026" y="775"/>
                      </a:lnTo>
                      <a:lnTo>
                        <a:pt x="2028" y="775"/>
                      </a:lnTo>
                      <a:lnTo>
                        <a:pt x="2034" y="772"/>
                      </a:lnTo>
                      <a:lnTo>
                        <a:pt x="2036" y="772"/>
                      </a:lnTo>
                      <a:lnTo>
                        <a:pt x="2034" y="780"/>
                      </a:lnTo>
                      <a:lnTo>
                        <a:pt x="2036" y="794"/>
                      </a:lnTo>
                      <a:lnTo>
                        <a:pt x="2039" y="797"/>
                      </a:lnTo>
                      <a:lnTo>
                        <a:pt x="2039" y="802"/>
                      </a:lnTo>
                      <a:lnTo>
                        <a:pt x="2036" y="805"/>
                      </a:lnTo>
                      <a:lnTo>
                        <a:pt x="2031" y="802"/>
                      </a:lnTo>
                      <a:lnTo>
                        <a:pt x="2028" y="805"/>
                      </a:lnTo>
                      <a:lnTo>
                        <a:pt x="2031" y="813"/>
                      </a:lnTo>
                      <a:lnTo>
                        <a:pt x="2028" y="816"/>
                      </a:lnTo>
                      <a:lnTo>
                        <a:pt x="2026" y="819"/>
                      </a:lnTo>
                      <a:lnTo>
                        <a:pt x="2023" y="821"/>
                      </a:lnTo>
                      <a:lnTo>
                        <a:pt x="2020" y="825"/>
                      </a:lnTo>
                      <a:lnTo>
                        <a:pt x="2018" y="836"/>
                      </a:lnTo>
                      <a:lnTo>
                        <a:pt x="2012" y="836"/>
                      </a:lnTo>
                      <a:lnTo>
                        <a:pt x="2010" y="844"/>
                      </a:lnTo>
                      <a:lnTo>
                        <a:pt x="2010" y="849"/>
                      </a:lnTo>
                      <a:lnTo>
                        <a:pt x="2006" y="852"/>
                      </a:lnTo>
                      <a:lnTo>
                        <a:pt x="2012" y="857"/>
                      </a:lnTo>
                      <a:lnTo>
                        <a:pt x="2006" y="861"/>
                      </a:lnTo>
                      <a:lnTo>
                        <a:pt x="1998" y="861"/>
                      </a:lnTo>
                      <a:lnTo>
                        <a:pt x="1998" y="863"/>
                      </a:lnTo>
                      <a:lnTo>
                        <a:pt x="1995" y="874"/>
                      </a:lnTo>
                      <a:lnTo>
                        <a:pt x="2001" y="888"/>
                      </a:lnTo>
                      <a:lnTo>
                        <a:pt x="1998" y="890"/>
                      </a:lnTo>
                      <a:lnTo>
                        <a:pt x="1993" y="890"/>
                      </a:lnTo>
                      <a:lnTo>
                        <a:pt x="1995" y="890"/>
                      </a:lnTo>
                      <a:lnTo>
                        <a:pt x="1998" y="890"/>
                      </a:lnTo>
                      <a:lnTo>
                        <a:pt x="1998" y="894"/>
                      </a:lnTo>
                      <a:lnTo>
                        <a:pt x="1995" y="894"/>
                      </a:lnTo>
                      <a:lnTo>
                        <a:pt x="1993" y="897"/>
                      </a:lnTo>
                      <a:lnTo>
                        <a:pt x="1993" y="899"/>
                      </a:lnTo>
                      <a:lnTo>
                        <a:pt x="1998" y="899"/>
                      </a:lnTo>
                      <a:lnTo>
                        <a:pt x="1998" y="905"/>
                      </a:lnTo>
                      <a:lnTo>
                        <a:pt x="1995" y="905"/>
                      </a:lnTo>
                      <a:lnTo>
                        <a:pt x="1993" y="902"/>
                      </a:lnTo>
                      <a:lnTo>
                        <a:pt x="1990" y="907"/>
                      </a:lnTo>
                      <a:lnTo>
                        <a:pt x="1984" y="910"/>
                      </a:lnTo>
                      <a:lnTo>
                        <a:pt x="1984" y="915"/>
                      </a:lnTo>
                      <a:lnTo>
                        <a:pt x="1979" y="918"/>
                      </a:lnTo>
                      <a:lnTo>
                        <a:pt x="1979" y="921"/>
                      </a:lnTo>
                      <a:lnTo>
                        <a:pt x="1982" y="930"/>
                      </a:lnTo>
                      <a:lnTo>
                        <a:pt x="1979" y="935"/>
                      </a:lnTo>
                      <a:lnTo>
                        <a:pt x="1976" y="940"/>
                      </a:lnTo>
                      <a:lnTo>
                        <a:pt x="1976" y="946"/>
                      </a:lnTo>
                      <a:lnTo>
                        <a:pt x="1982" y="951"/>
                      </a:lnTo>
                      <a:lnTo>
                        <a:pt x="1979" y="954"/>
                      </a:lnTo>
                      <a:lnTo>
                        <a:pt x="1976" y="968"/>
                      </a:lnTo>
                      <a:lnTo>
                        <a:pt x="1976" y="971"/>
                      </a:lnTo>
                      <a:lnTo>
                        <a:pt x="1967" y="982"/>
                      </a:lnTo>
                      <a:lnTo>
                        <a:pt x="1965" y="990"/>
                      </a:lnTo>
                      <a:lnTo>
                        <a:pt x="1970" y="992"/>
                      </a:lnTo>
                      <a:lnTo>
                        <a:pt x="1970" y="995"/>
                      </a:lnTo>
                      <a:lnTo>
                        <a:pt x="1965" y="1001"/>
                      </a:lnTo>
                      <a:lnTo>
                        <a:pt x="1967" y="1007"/>
                      </a:lnTo>
                      <a:lnTo>
                        <a:pt x="1965" y="1009"/>
                      </a:lnTo>
                      <a:lnTo>
                        <a:pt x="1967" y="1015"/>
                      </a:lnTo>
                      <a:lnTo>
                        <a:pt x="1965" y="1017"/>
                      </a:lnTo>
                      <a:lnTo>
                        <a:pt x="1965" y="1020"/>
                      </a:lnTo>
                      <a:lnTo>
                        <a:pt x="1965" y="1035"/>
                      </a:lnTo>
                      <a:lnTo>
                        <a:pt x="1962" y="1043"/>
                      </a:lnTo>
                      <a:lnTo>
                        <a:pt x="1965" y="1059"/>
                      </a:lnTo>
                      <a:lnTo>
                        <a:pt x="1962" y="1064"/>
                      </a:lnTo>
                      <a:lnTo>
                        <a:pt x="1965" y="1081"/>
                      </a:lnTo>
                      <a:lnTo>
                        <a:pt x="1965" y="1084"/>
                      </a:lnTo>
                      <a:lnTo>
                        <a:pt x="1970" y="1092"/>
                      </a:lnTo>
                      <a:lnTo>
                        <a:pt x="1973" y="1094"/>
                      </a:lnTo>
                      <a:lnTo>
                        <a:pt x="1970" y="1100"/>
                      </a:lnTo>
                      <a:lnTo>
                        <a:pt x="1970" y="1104"/>
                      </a:lnTo>
                      <a:lnTo>
                        <a:pt x="1976" y="1109"/>
                      </a:lnTo>
                      <a:lnTo>
                        <a:pt x="1976" y="1114"/>
                      </a:lnTo>
                      <a:lnTo>
                        <a:pt x="1979" y="1117"/>
                      </a:lnTo>
                      <a:lnTo>
                        <a:pt x="1973" y="1117"/>
                      </a:lnTo>
                      <a:lnTo>
                        <a:pt x="1973" y="1122"/>
                      </a:lnTo>
                      <a:lnTo>
                        <a:pt x="1976" y="1122"/>
                      </a:lnTo>
                      <a:lnTo>
                        <a:pt x="1984" y="1128"/>
                      </a:lnTo>
                      <a:lnTo>
                        <a:pt x="1990" y="1133"/>
                      </a:lnTo>
                      <a:lnTo>
                        <a:pt x="1987" y="1139"/>
                      </a:lnTo>
                      <a:lnTo>
                        <a:pt x="1995" y="1150"/>
                      </a:lnTo>
                      <a:lnTo>
                        <a:pt x="1993" y="1153"/>
                      </a:lnTo>
                      <a:lnTo>
                        <a:pt x="1993" y="1158"/>
                      </a:lnTo>
                      <a:lnTo>
                        <a:pt x="1995" y="1161"/>
                      </a:lnTo>
                      <a:lnTo>
                        <a:pt x="1995" y="1164"/>
                      </a:lnTo>
                      <a:lnTo>
                        <a:pt x="2003" y="1169"/>
                      </a:lnTo>
                      <a:lnTo>
                        <a:pt x="2001" y="1175"/>
                      </a:lnTo>
                      <a:lnTo>
                        <a:pt x="2003" y="1178"/>
                      </a:lnTo>
                      <a:lnTo>
                        <a:pt x="2003" y="1181"/>
                      </a:lnTo>
                      <a:lnTo>
                        <a:pt x="2001" y="1189"/>
                      </a:lnTo>
                      <a:lnTo>
                        <a:pt x="2006" y="1194"/>
                      </a:lnTo>
                      <a:lnTo>
                        <a:pt x="2003" y="1194"/>
                      </a:lnTo>
                      <a:lnTo>
                        <a:pt x="2003" y="1199"/>
                      </a:lnTo>
                      <a:lnTo>
                        <a:pt x="1998" y="1205"/>
                      </a:lnTo>
                      <a:lnTo>
                        <a:pt x="1998" y="1208"/>
                      </a:lnTo>
                      <a:lnTo>
                        <a:pt x="2003" y="1219"/>
                      </a:lnTo>
                      <a:lnTo>
                        <a:pt x="2010" y="1224"/>
                      </a:lnTo>
                      <a:lnTo>
                        <a:pt x="2012" y="1219"/>
                      </a:lnTo>
                      <a:lnTo>
                        <a:pt x="2015" y="1224"/>
                      </a:lnTo>
                      <a:lnTo>
                        <a:pt x="2020" y="1230"/>
                      </a:lnTo>
                      <a:lnTo>
                        <a:pt x="2020" y="1233"/>
                      </a:lnTo>
                      <a:lnTo>
                        <a:pt x="2023" y="1233"/>
                      </a:lnTo>
                      <a:lnTo>
                        <a:pt x="2026" y="1238"/>
                      </a:lnTo>
                      <a:lnTo>
                        <a:pt x="2028" y="1235"/>
                      </a:lnTo>
                      <a:lnTo>
                        <a:pt x="2031" y="1233"/>
                      </a:lnTo>
                      <a:lnTo>
                        <a:pt x="2031" y="1238"/>
                      </a:lnTo>
                      <a:lnTo>
                        <a:pt x="2039" y="1241"/>
                      </a:lnTo>
                      <a:lnTo>
                        <a:pt x="2043" y="1247"/>
                      </a:lnTo>
                      <a:lnTo>
                        <a:pt x="2048" y="1252"/>
                      </a:lnTo>
                      <a:lnTo>
                        <a:pt x="2051" y="1252"/>
                      </a:lnTo>
                      <a:lnTo>
                        <a:pt x="2053" y="1250"/>
                      </a:lnTo>
                      <a:lnTo>
                        <a:pt x="2062" y="1250"/>
                      </a:lnTo>
                      <a:lnTo>
                        <a:pt x="2067" y="1250"/>
                      </a:lnTo>
                      <a:lnTo>
                        <a:pt x="2067" y="1252"/>
                      </a:lnTo>
                      <a:lnTo>
                        <a:pt x="2072" y="1255"/>
                      </a:lnTo>
                      <a:lnTo>
                        <a:pt x="2070" y="1260"/>
                      </a:lnTo>
                      <a:lnTo>
                        <a:pt x="2075" y="1266"/>
                      </a:lnTo>
                      <a:lnTo>
                        <a:pt x="2075" y="1271"/>
                      </a:lnTo>
                      <a:lnTo>
                        <a:pt x="2070" y="1274"/>
                      </a:lnTo>
                      <a:lnTo>
                        <a:pt x="2072" y="1285"/>
                      </a:lnTo>
                      <a:lnTo>
                        <a:pt x="2070" y="1285"/>
                      </a:lnTo>
                      <a:lnTo>
                        <a:pt x="2072" y="1288"/>
                      </a:lnTo>
                      <a:lnTo>
                        <a:pt x="2070" y="1293"/>
                      </a:lnTo>
                      <a:lnTo>
                        <a:pt x="2067" y="1296"/>
                      </a:lnTo>
                      <a:lnTo>
                        <a:pt x="2067" y="1299"/>
                      </a:lnTo>
                      <a:lnTo>
                        <a:pt x="2067" y="1302"/>
                      </a:lnTo>
                      <a:lnTo>
                        <a:pt x="2067" y="1304"/>
                      </a:lnTo>
                      <a:lnTo>
                        <a:pt x="2067" y="1310"/>
                      </a:lnTo>
                      <a:lnTo>
                        <a:pt x="2072" y="1316"/>
                      </a:lnTo>
                      <a:lnTo>
                        <a:pt x="2070" y="1319"/>
                      </a:lnTo>
                      <a:lnTo>
                        <a:pt x="2072" y="1321"/>
                      </a:lnTo>
                      <a:lnTo>
                        <a:pt x="2072" y="1324"/>
                      </a:lnTo>
                      <a:lnTo>
                        <a:pt x="2072" y="1329"/>
                      </a:lnTo>
                      <a:lnTo>
                        <a:pt x="2067" y="1332"/>
                      </a:lnTo>
                      <a:lnTo>
                        <a:pt x="2064" y="1340"/>
                      </a:lnTo>
                      <a:lnTo>
                        <a:pt x="2067" y="1352"/>
                      </a:lnTo>
                      <a:lnTo>
                        <a:pt x="2070" y="1352"/>
                      </a:lnTo>
                      <a:lnTo>
                        <a:pt x="2070" y="1354"/>
                      </a:lnTo>
                      <a:lnTo>
                        <a:pt x="2072" y="1357"/>
                      </a:lnTo>
                      <a:lnTo>
                        <a:pt x="2070" y="1360"/>
                      </a:lnTo>
                      <a:lnTo>
                        <a:pt x="2075" y="1360"/>
                      </a:lnTo>
                      <a:lnTo>
                        <a:pt x="2072" y="1362"/>
                      </a:lnTo>
                      <a:lnTo>
                        <a:pt x="2070" y="1362"/>
                      </a:lnTo>
                      <a:lnTo>
                        <a:pt x="2067" y="1365"/>
                      </a:lnTo>
                      <a:lnTo>
                        <a:pt x="2070" y="1365"/>
                      </a:lnTo>
                      <a:lnTo>
                        <a:pt x="2070" y="1368"/>
                      </a:lnTo>
                      <a:lnTo>
                        <a:pt x="2070" y="1370"/>
                      </a:lnTo>
                      <a:lnTo>
                        <a:pt x="2070" y="1379"/>
                      </a:lnTo>
                      <a:lnTo>
                        <a:pt x="2067" y="1379"/>
                      </a:lnTo>
                      <a:lnTo>
                        <a:pt x="2064" y="1382"/>
                      </a:lnTo>
                      <a:lnTo>
                        <a:pt x="2067" y="1385"/>
                      </a:lnTo>
                      <a:lnTo>
                        <a:pt x="2064" y="1393"/>
                      </a:lnTo>
                      <a:lnTo>
                        <a:pt x="2064" y="1401"/>
                      </a:lnTo>
                      <a:lnTo>
                        <a:pt x="2059" y="1404"/>
                      </a:lnTo>
                      <a:lnTo>
                        <a:pt x="2062" y="1409"/>
                      </a:lnTo>
                      <a:lnTo>
                        <a:pt x="2059" y="1412"/>
                      </a:lnTo>
                      <a:lnTo>
                        <a:pt x="2064" y="1421"/>
                      </a:lnTo>
                      <a:lnTo>
                        <a:pt x="2062" y="1429"/>
                      </a:lnTo>
                      <a:lnTo>
                        <a:pt x="2064" y="1434"/>
                      </a:lnTo>
                      <a:lnTo>
                        <a:pt x="2067" y="1434"/>
                      </a:lnTo>
                      <a:lnTo>
                        <a:pt x="2070" y="1434"/>
                      </a:lnTo>
                      <a:lnTo>
                        <a:pt x="2072" y="1434"/>
                      </a:lnTo>
                      <a:lnTo>
                        <a:pt x="2079" y="1431"/>
                      </a:lnTo>
                      <a:lnTo>
                        <a:pt x="2087" y="1431"/>
                      </a:lnTo>
                      <a:lnTo>
                        <a:pt x="2089" y="1437"/>
                      </a:lnTo>
                      <a:lnTo>
                        <a:pt x="2092" y="1439"/>
                      </a:lnTo>
                      <a:lnTo>
                        <a:pt x="2097" y="1434"/>
                      </a:lnTo>
                      <a:lnTo>
                        <a:pt x="2095" y="1429"/>
                      </a:lnTo>
                      <a:lnTo>
                        <a:pt x="2097" y="1426"/>
                      </a:lnTo>
                      <a:lnTo>
                        <a:pt x="2097" y="1429"/>
                      </a:lnTo>
                      <a:lnTo>
                        <a:pt x="2103" y="1437"/>
                      </a:lnTo>
                      <a:lnTo>
                        <a:pt x="2100" y="1445"/>
                      </a:lnTo>
                      <a:lnTo>
                        <a:pt x="2100" y="1448"/>
                      </a:lnTo>
                      <a:lnTo>
                        <a:pt x="2097" y="1450"/>
                      </a:lnTo>
                      <a:lnTo>
                        <a:pt x="2097" y="1448"/>
                      </a:lnTo>
                      <a:lnTo>
                        <a:pt x="2092" y="1450"/>
                      </a:lnTo>
                      <a:lnTo>
                        <a:pt x="2089" y="1457"/>
                      </a:lnTo>
                      <a:lnTo>
                        <a:pt x="2092" y="1459"/>
                      </a:lnTo>
                      <a:lnTo>
                        <a:pt x="2089" y="1459"/>
                      </a:lnTo>
                      <a:lnTo>
                        <a:pt x="2087" y="1465"/>
                      </a:lnTo>
                      <a:lnTo>
                        <a:pt x="2089" y="1467"/>
                      </a:lnTo>
                      <a:lnTo>
                        <a:pt x="2087" y="1470"/>
                      </a:lnTo>
                      <a:lnTo>
                        <a:pt x="2087" y="1473"/>
                      </a:lnTo>
                      <a:lnTo>
                        <a:pt x="2095" y="1473"/>
                      </a:lnTo>
                      <a:lnTo>
                        <a:pt x="2097" y="1478"/>
                      </a:lnTo>
                      <a:lnTo>
                        <a:pt x="2097" y="1481"/>
                      </a:lnTo>
                      <a:lnTo>
                        <a:pt x="2100" y="1478"/>
                      </a:lnTo>
                      <a:lnTo>
                        <a:pt x="2108" y="1481"/>
                      </a:lnTo>
                      <a:lnTo>
                        <a:pt x="2112" y="1483"/>
                      </a:lnTo>
                      <a:lnTo>
                        <a:pt x="2117" y="1490"/>
                      </a:lnTo>
                      <a:lnTo>
                        <a:pt x="2120" y="1487"/>
                      </a:lnTo>
                      <a:lnTo>
                        <a:pt x="2128" y="1487"/>
                      </a:lnTo>
                      <a:lnTo>
                        <a:pt x="2130" y="1483"/>
                      </a:lnTo>
                      <a:lnTo>
                        <a:pt x="2136" y="1481"/>
                      </a:lnTo>
                      <a:lnTo>
                        <a:pt x="2141" y="1487"/>
                      </a:lnTo>
                      <a:lnTo>
                        <a:pt x="2144" y="1483"/>
                      </a:lnTo>
                      <a:lnTo>
                        <a:pt x="2144" y="1487"/>
                      </a:lnTo>
                      <a:lnTo>
                        <a:pt x="2148" y="1487"/>
                      </a:lnTo>
                      <a:lnTo>
                        <a:pt x="2150" y="1490"/>
                      </a:lnTo>
                      <a:lnTo>
                        <a:pt x="2150" y="1492"/>
                      </a:lnTo>
                      <a:lnTo>
                        <a:pt x="2153" y="1495"/>
                      </a:lnTo>
                      <a:lnTo>
                        <a:pt x="2153" y="1500"/>
                      </a:lnTo>
                      <a:lnTo>
                        <a:pt x="2158" y="1506"/>
                      </a:lnTo>
                      <a:lnTo>
                        <a:pt x="2158" y="1511"/>
                      </a:lnTo>
                      <a:lnTo>
                        <a:pt x="2161" y="1511"/>
                      </a:lnTo>
                      <a:lnTo>
                        <a:pt x="2161" y="1508"/>
                      </a:lnTo>
                      <a:lnTo>
                        <a:pt x="2164" y="1506"/>
                      </a:lnTo>
                      <a:lnTo>
                        <a:pt x="2166" y="1508"/>
                      </a:lnTo>
                      <a:lnTo>
                        <a:pt x="2166" y="1519"/>
                      </a:lnTo>
                      <a:lnTo>
                        <a:pt x="2166" y="1523"/>
                      </a:lnTo>
                      <a:lnTo>
                        <a:pt x="2169" y="1528"/>
                      </a:lnTo>
                      <a:lnTo>
                        <a:pt x="2177" y="1531"/>
                      </a:lnTo>
                      <a:lnTo>
                        <a:pt x="2186" y="1531"/>
                      </a:lnTo>
                      <a:lnTo>
                        <a:pt x="2189" y="1542"/>
                      </a:lnTo>
                      <a:lnTo>
                        <a:pt x="2194" y="1544"/>
                      </a:lnTo>
                      <a:lnTo>
                        <a:pt x="2191" y="1552"/>
                      </a:lnTo>
                      <a:lnTo>
                        <a:pt x="2194" y="1559"/>
                      </a:lnTo>
                      <a:lnTo>
                        <a:pt x="2199" y="1559"/>
                      </a:lnTo>
                      <a:lnTo>
                        <a:pt x="2205" y="1555"/>
                      </a:lnTo>
                      <a:lnTo>
                        <a:pt x="2205" y="1559"/>
                      </a:lnTo>
                      <a:lnTo>
                        <a:pt x="2205" y="1564"/>
                      </a:lnTo>
                      <a:lnTo>
                        <a:pt x="2210" y="1569"/>
                      </a:lnTo>
                      <a:lnTo>
                        <a:pt x="2210" y="1572"/>
                      </a:lnTo>
                      <a:lnTo>
                        <a:pt x="2213" y="1572"/>
                      </a:lnTo>
                      <a:lnTo>
                        <a:pt x="2210" y="1577"/>
                      </a:lnTo>
                      <a:lnTo>
                        <a:pt x="2217" y="1577"/>
                      </a:lnTo>
                      <a:lnTo>
                        <a:pt x="2219" y="1577"/>
                      </a:lnTo>
                      <a:lnTo>
                        <a:pt x="2219" y="1580"/>
                      </a:lnTo>
                      <a:lnTo>
                        <a:pt x="2222" y="1577"/>
                      </a:lnTo>
                      <a:lnTo>
                        <a:pt x="2222" y="1572"/>
                      </a:lnTo>
                      <a:lnTo>
                        <a:pt x="2230" y="1572"/>
                      </a:lnTo>
                      <a:lnTo>
                        <a:pt x="2233" y="1575"/>
                      </a:lnTo>
                      <a:lnTo>
                        <a:pt x="2233" y="1577"/>
                      </a:lnTo>
                      <a:lnTo>
                        <a:pt x="2235" y="1588"/>
                      </a:lnTo>
                      <a:lnTo>
                        <a:pt x="2233" y="1592"/>
                      </a:lnTo>
                      <a:lnTo>
                        <a:pt x="2233" y="1597"/>
                      </a:lnTo>
                      <a:lnTo>
                        <a:pt x="2238" y="1597"/>
                      </a:lnTo>
                      <a:lnTo>
                        <a:pt x="2241" y="1595"/>
                      </a:lnTo>
                      <a:lnTo>
                        <a:pt x="2243" y="1595"/>
                      </a:lnTo>
                      <a:lnTo>
                        <a:pt x="2250" y="1600"/>
                      </a:lnTo>
                      <a:lnTo>
                        <a:pt x="2252" y="1603"/>
                      </a:lnTo>
                      <a:lnTo>
                        <a:pt x="2250" y="1605"/>
                      </a:lnTo>
                      <a:lnTo>
                        <a:pt x="2252" y="1608"/>
                      </a:lnTo>
                      <a:lnTo>
                        <a:pt x="2255" y="1616"/>
                      </a:lnTo>
                      <a:lnTo>
                        <a:pt x="2252" y="1619"/>
                      </a:lnTo>
                      <a:lnTo>
                        <a:pt x="2255" y="1619"/>
                      </a:lnTo>
                      <a:lnTo>
                        <a:pt x="2258" y="1621"/>
                      </a:lnTo>
                      <a:lnTo>
                        <a:pt x="2260" y="1624"/>
                      </a:lnTo>
                      <a:lnTo>
                        <a:pt x="2263" y="1628"/>
                      </a:lnTo>
                      <a:lnTo>
                        <a:pt x="2271" y="1628"/>
                      </a:lnTo>
                      <a:lnTo>
                        <a:pt x="2274" y="1633"/>
                      </a:lnTo>
                      <a:lnTo>
                        <a:pt x="2282" y="1636"/>
                      </a:lnTo>
                      <a:lnTo>
                        <a:pt x="2282" y="1633"/>
                      </a:lnTo>
                      <a:lnTo>
                        <a:pt x="2288" y="1633"/>
                      </a:lnTo>
                      <a:lnTo>
                        <a:pt x="2291" y="1633"/>
                      </a:lnTo>
                      <a:lnTo>
                        <a:pt x="2296" y="1638"/>
                      </a:lnTo>
                      <a:lnTo>
                        <a:pt x="2299" y="1641"/>
                      </a:lnTo>
                      <a:lnTo>
                        <a:pt x="2302" y="1641"/>
                      </a:lnTo>
                      <a:lnTo>
                        <a:pt x="2304" y="1644"/>
                      </a:lnTo>
                      <a:lnTo>
                        <a:pt x="2307" y="1644"/>
                      </a:lnTo>
                      <a:lnTo>
                        <a:pt x="2312" y="1644"/>
                      </a:lnTo>
                      <a:lnTo>
                        <a:pt x="2319" y="1647"/>
                      </a:lnTo>
                      <a:lnTo>
                        <a:pt x="2324" y="1644"/>
                      </a:lnTo>
                      <a:lnTo>
                        <a:pt x="2327" y="1647"/>
                      </a:lnTo>
                      <a:lnTo>
                        <a:pt x="2329" y="1644"/>
                      </a:lnTo>
                      <a:lnTo>
                        <a:pt x="2332" y="1649"/>
                      </a:lnTo>
                      <a:lnTo>
                        <a:pt x="2335" y="1652"/>
                      </a:lnTo>
                      <a:lnTo>
                        <a:pt x="2338" y="1652"/>
                      </a:lnTo>
                      <a:lnTo>
                        <a:pt x="2340" y="1649"/>
                      </a:lnTo>
                      <a:lnTo>
                        <a:pt x="2343" y="1649"/>
                      </a:lnTo>
                      <a:lnTo>
                        <a:pt x="2346" y="1655"/>
                      </a:lnTo>
                      <a:lnTo>
                        <a:pt x="2357" y="1652"/>
                      </a:lnTo>
                      <a:lnTo>
                        <a:pt x="2363" y="1655"/>
                      </a:lnTo>
                      <a:lnTo>
                        <a:pt x="2368" y="1655"/>
                      </a:lnTo>
                      <a:lnTo>
                        <a:pt x="2368" y="1652"/>
                      </a:lnTo>
                      <a:lnTo>
                        <a:pt x="2371" y="1655"/>
                      </a:lnTo>
                      <a:lnTo>
                        <a:pt x="2373" y="1661"/>
                      </a:lnTo>
                      <a:lnTo>
                        <a:pt x="2376" y="1664"/>
                      </a:lnTo>
                      <a:lnTo>
                        <a:pt x="2379" y="1661"/>
                      </a:lnTo>
                      <a:lnTo>
                        <a:pt x="2381" y="1661"/>
                      </a:lnTo>
                      <a:lnTo>
                        <a:pt x="2401" y="1657"/>
                      </a:lnTo>
                      <a:lnTo>
                        <a:pt x="2401" y="1664"/>
                      </a:lnTo>
                      <a:lnTo>
                        <a:pt x="2398" y="1666"/>
                      </a:lnTo>
                      <a:lnTo>
                        <a:pt x="2398" y="1669"/>
                      </a:lnTo>
                      <a:lnTo>
                        <a:pt x="2401" y="1672"/>
                      </a:lnTo>
                      <a:lnTo>
                        <a:pt x="2407" y="1674"/>
                      </a:lnTo>
                      <a:lnTo>
                        <a:pt x="2412" y="1682"/>
                      </a:lnTo>
                      <a:lnTo>
                        <a:pt x="2407" y="1685"/>
                      </a:lnTo>
                      <a:lnTo>
                        <a:pt x="2407" y="1688"/>
                      </a:lnTo>
                      <a:lnTo>
                        <a:pt x="2404" y="1690"/>
                      </a:lnTo>
                      <a:lnTo>
                        <a:pt x="2409" y="1693"/>
                      </a:lnTo>
                      <a:lnTo>
                        <a:pt x="2409" y="2099"/>
                      </a:lnTo>
                      <a:lnTo>
                        <a:pt x="2288" y="2099"/>
                      </a:lnTo>
                      <a:lnTo>
                        <a:pt x="2192" y="2099"/>
                      </a:lnTo>
                      <a:lnTo>
                        <a:pt x="1946" y="2099"/>
                      </a:lnTo>
                      <a:lnTo>
                        <a:pt x="1941" y="2112"/>
                      </a:lnTo>
                      <a:lnTo>
                        <a:pt x="1937" y="2140"/>
                      </a:lnTo>
                      <a:lnTo>
                        <a:pt x="1932" y="2146"/>
                      </a:lnTo>
                      <a:lnTo>
                        <a:pt x="1926" y="2148"/>
                      </a:lnTo>
                      <a:lnTo>
                        <a:pt x="1913" y="2155"/>
                      </a:lnTo>
                      <a:lnTo>
                        <a:pt x="1913" y="2157"/>
                      </a:lnTo>
                      <a:lnTo>
                        <a:pt x="1904" y="2165"/>
                      </a:lnTo>
                      <a:lnTo>
                        <a:pt x="1904" y="2171"/>
                      </a:lnTo>
                      <a:lnTo>
                        <a:pt x="1907" y="2173"/>
                      </a:lnTo>
                      <a:lnTo>
                        <a:pt x="1910" y="2176"/>
                      </a:lnTo>
                      <a:lnTo>
                        <a:pt x="1904" y="2181"/>
                      </a:lnTo>
                      <a:lnTo>
                        <a:pt x="1904" y="2188"/>
                      </a:lnTo>
                      <a:lnTo>
                        <a:pt x="1904" y="2190"/>
                      </a:lnTo>
                      <a:lnTo>
                        <a:pt x="1901" y="2193"/>
                      </a:lnTo>
                      <a:lnTo>
                        <a:pt x="1904" y="2199"/>
                      </a:lnTo>
                      <a:lnTo>
                        <a:pt x="1896" y="2201"/>
                      </a:lnTo>
                      <a:lnTo>
                        <a:pt x="1890" y="2209"/>
                      </a:lnTo>
                      <a:lnTo>
                        <a:pt x="1885" y="2209"/>
                      </a:lnTo>
                      <a:lnTo>
                        <a:pt x="1888" y="2212"/>
                      </a:lnTo>
                      <a:lnTo>
                        <a:pt x="1877" y="2224"/>
                      </a:lnTo>
                      <a:lnTo>
                        <a:pt x="1877" y="2234"/>
                      </a:lnTo>
                      <a:lnTo>
                        <a:pt x="1872" y="2245"/>
                      </a:lnTo>
                      <a:lnTo>
                        <a:pt x="1868" y="2250"/>
                      </a:lnTo>
                      <a:lnTo>
                        <a:pt x="1865" y="2257"/>
                      </a:lnTo>
                      <a:lnTo>
                        <a:pt x="1868" y="2259"/>
                      </a:lnTo>
                      <a:lnTo>
                        <a:pt x="1868" y="2262"/>
                      </a:lnTo>
                      <a:lnTo>
                        <a:pt x="1872" y="2265"/>
                      </a:lnTo>
                      <a:lnTo>
                        <a:pt x="1868" y="2270"/>
                      </a:lnTo>
                      <a:lnTo>
                        <a:pt x="1865" y="2270"/>
                      </a:lnTo>
                      <a:lnTo>
                        <a:pt x="1857" y="2278"/>
                      </a:lnTo>
                      <a:lnTo>
                        <a:pt x="1860" y="2284"/>
                      </a:lnTo>
                      <a:lnTo>
                        <a:pt x="1855" y="2281"/>
                      </a:lnTo>
                      <a:lnTo>
                        <a:pt x="1852" y="2284"/>
                      </a:lnTo>
                      <a:lnTo>
                        <a:pt x="1852" y="2290"/>
                      </a:lnTo>
                      <a:lnTo>
                        <a:pt x="1849" y="2295"/>
                      </a:lnTo>
                      <a:lnTo>
                        <a:pt x="1844" y="2298"/>
                      </a:lnTo>
                      <a:lnTo>
                        <a:pt x="1841" y="2295"/>
                      </a:lnTo>
                      <a:lnTo>
                        <a:pt x="1838" y="2298"/>
                      </a:lnTo>
                      <a:lnTo>
                        <a:pt x="1841" y="2306"/>
                      </a:lnTo>
                      <a:lnTo>
                        <a:pt x="1838" y="2317"/>
                      </a:lnTo>
                      <a:lnTo>
                        <a:pt x="1835" y="2319"/>
                      </a:lnTo>
                      <a:lnTo>
                        <a:pt x="1844" y="2331"/>
                      </a:lnTo>
                      <a:lnTo>
                        <a:pt x="1841" y="2334"/>
                      </a:lnTo>
                      <a:lnTo>
                        <a:pt x="1838" y="2336"/>
                      </a:lnTo>
                      <a:lnTo>
                        <a:pt x="1838" y="2347"/>
                      </a:lnTo>
                      <a:lnTo>
                        <a:pt x="1829" y="2347"/>
                      </a:lnTo>
                      <a:lnTo>
                        <a:pt x="1829" y="2350"/>
                      </a:lnTo>
                      <a:lnTo>
                        <a:pt x="1832" y="2359"/>
                      </a:lnTo>
                      <a:lnTo>
                        <a:pt x="1829" y="2364"/>
                      </a:lnTo>
                      <a:lnTo>
                        <a:pt x="1829" y="2367"/>
                      </a:lnTo>
                      <a:lnTo>
                        <a:pt x="1824" y="2370"/>
                      </a:lnTo>
                      <a:lnTo>
                        <a:pt x="1821" y="2378"/>
                      </a:lnTo>
                      <a:lnTo>
                        <a:pt x="1819" y="2380"/>
                      </a:lnTo>
                      <a:lnTo>
                        <a:pt x="1821" y="2383"/>
                      </a:lnTo>
                      <a:lnTo>
                        <a:pt x="1819" y="2386"/>
                      </a:lnTo>
                      <a:lnTo>
                        <a:pt x="1821" y="2388"/>
                      </a:lnTo>
                      <a:lnTo>
                        <a:pt x="1821" y="2395"/>
                      </a:lnTo>
                      <a:lnTo>
                        <a:pt x="1805" y="2405"/>
                      </a:lnTo>
                      <a:lnTo>
                        <a:pt x="1805" y="2411"/>
                      </a:lnTo>
                      <a:lnTo>
                        <a:pt x="1803" y="2416"/>
                      </a:lnTo>
                      <a:lnTo>
                        <a:pt x="1803" y="2419"/>
                      </a:lnTo>
                      <a:lnTo>
                        <a:pt x="1796" y="2422"/>
                      </a:lnTo>
                      <a:lnTo>
                        <a:pt x="1799" y="2439"/>
                      </a:lnTo>
                      <a:lnTo>
                        <a:pt x="1799" y="2441"/>
                      </a:lnTo>
                      <a:lnTo>
                        <a:pt x="1805" y="2444"/>
                      </a:lnTo>
                      <a:lnTo>
                        <a:pt x="1805" y="2449"/>
                      </a:lnTo>
                      <a:lnTo>
                        <a:pt x="1803" y="2452"/>
                      </a:lnTo>
                      <a:lnTo>
                        <a:pt x="1805" y="2457"/>
                      </a:lnTo>
                      <a:lnTo>
                        <a:pt x="1811" y="2455"/>
                      </a:lnTo>
                      <a:lnTo>
                        <a:pt x="1811" y="2460"/>
                      </a:lnTo>
                      <a:lnTo>
                        <a:pt x="1816" y="2464"/>
                      </a:lnTo>
                      <a:lnTo>
                        <a:pt x="1819" y="2469"/>
                      </a:lnTo>
                      <a:lnTo>
                        <a:pt x="1821" y="2472"/>
                      </a:lnTo>
                      <a:lnTo>
                        <a:pt x="1827" y="2477"/>
                      </a:lnTo>
                      <a:lnTo>
                        <a:pt x="1829" y="2477"/>
                      </a:lnTo>
                      <a:lnTo>
                        <a:pt x="1832" y="2477"/>
                      </a:lnTo>
                      <a:lnTo>
                        <a:pt x="1832" y="2485"/>
                      </a:lnTo>
                      <a:lnTo>
                        <a:pt x="1838" y="2491"/>
                      </a:lnTo>
                      <a:lnTo>
                        <a:pt x="1835" y="2500"/>
                      </a:lnTo>
                      <a:lnTo>
                        <a:pt x="1838" y="2500"/>
                      </a:lnTo>
                      <a:lnTo>
                        <a:pt x="1838" y="2508"/>
                      </a:lnTo>
                      <a:lnTo>
                        <a:pt x="1835" y="2513"/>
                      </a:lnTo>
                      <a:lnTo>
                        <a:pt x="1832" y="2513"/>
                      </a:lnTo>
                      <a:lnTo>
                        <a:pt x="1821" y="2518"/>
                      </a:lnTo>
                      <a:lnTo>
                        <a:pt x="1819" y="2521"/>
                      </a:lnTo>
                      <a:lnTo>
                        <a:pt x="1816" y="2521"/>
                      </a:lnTo>
                      <a:lnTo>
                        <a:pt x="1808" y="2521"/>
                      </a:lnTo>
                      <a:lnTo>
                        <a:pt x="1805" y="2526"/>
                      </a:lnTo>
                      <a:lnTo>
                        <a:pt x="1796" y="2526"/>
                      </a:lnTo>
                      <a:lnTo>
                        <a:pt x="1791" y="2529"/>
                      </a:lnTo>
                      <a:lnTo>
                        <a:pt x="1788" y="2532"/>
                      </a:lnTo>
                      <a:lnTo>
                        <a:pt x="1786" y="2535"/>
                      </a:lnTo>
                      <a:lnTo>
                        <a:pt x="1783" y="2532"/>
                      </a:lnTo>
                      <a:lnTo>
                        <a:pt x="1775" y="2532"/>
                      </a:lnTo>
                      <a:lnTo>
                        <a:pt x="1769" y="2532"/>
                      </a:lnTo>
                      <a:lnTo>
                        <a:pt x="1766" y="2532"/>
                      </a:lnTo>
                      <a:lnTo>
                        <a:pt x="1760" y="2538"/>
                      </a:lnTo>
                      <a:lnTo>
                        <a:pt x="1758" y="2541"/>
                      </a:lnTo>
                      <a:lnTo>
                        <a:pt x="1760" y="2543"/>
                      </a:lnTo>
                      <a:lnTo>
                        <a:pt x="1758" y="2546"/>
                      </a:lnTo>
                      <a:lnTo>
                        <a:pt x="1760" y="2549"/>
                      </a:lnTo>
                      <a:lnTo>
                        <a:pt x="1758" y="2554"/>
                      </a:lnTo>
                      <a:lnTo>
                        <a:pt x="1755" y="2554"/>
                      </a:lnTo>
                      <a:lnTo>
                        <a:pt x="1750" y="2560"/>
                      </a:lnTo>
                      <a:lnTo>
                        <a:pt x="1755" y="2562"/>
                      </a:lnTo>
                      <a:lnTo>
                        <a:pt x="1755" y="2565"/>
                      </a:lnTo>
                      <a:lnTo>
                        <a:pt x="1744" y="2577"/>
                      </a:lnTo>
                      <a:lnTo>
                        <a:pt x="1742" y="2577"/>
                      </a:lnTo>
                      <a:lnTo>
                        <a:pt x="1739" y="2574"/>
                      </a:lnTo>
                      <a:lnTo>
                        <a:pt x="1734" y="2574"/>
                      </a:lnTo>
                      <a:lnTo>
                        <a:pt x="1734" y="2571"/>
                      </a:lnTo>
                      <a:lnTo>
                        <a:pt x="1719" y="2565"/>
                      </a:lnTo>
                      <a:lnTo>
                        <a:pt x="1719" y="2574"/>
                      </a:lnTo>
                      <a:lnTo>
                        <a:pt x="1711" y="2571"/>
                      </a:lnTo>
                      <a:lnTo>
                        <a:pt x="1709" y="2571"/>
                      </a:lnTo>
                      <a:lnTo>
                        <a:pt x="1706" y="2574"/>
                      </a:lnTo>
                      <a:lnTo>
                        <a:pt x="1703" y="2574"/>
                      </a:lnTo>
                      <a:lnTo>
                        <a:pt x="1703" y="2577"/>
                      </a:lnTo>
                      <a:lnTo>
                        <a:pt x="1694" y="2579"/>
                      </a:lnTo>
                      <a:lnTo>
                        <a:pt x="1689" y="2585"/>
                      </a:lnTo>
                      <a:lnTo>
                        <a:pt x="1686" y="2582"/>
                      </a:lnTo>
                      <a:lnTo>
                        <a:pt x="1689" y="2577"/>
                      </a:lnTo>
                      <a:lnTo>
                        <a:pt x="1686" y="2577"/>
                      </a:lnTo>
                      <a:lnTo>
                        <a:pt x="1673" y="2571"/>
                      </a:lnTo>
                      <a:lnTo>
                        <a:pt x="1670" y="2574"/>
                      </a:lnTo>
                      <a:lnTo>
                        <a:pt x="1661" y="2569"/>
                      </a:lnTo>
                      <a:lnTo>
                        <a:pt x="1653" y="2571"/>
                      </a:lnTo>
                      <a:lnTo>
                        <a:pt x="1656" y="2565"/>
                      </a:lnTo>
                      <a:lnTo>
                        <a:pt x="1653" y="2562"/>
                      </a:lnTo>
                      <a:lnTo>
                        <a:pt x="1650" y="2557"/>
                      </a:lnTo>
                      <a:lnTo>
                        <a:pt x="1653" y="2551"/>
                      </a:lnTo>
                      <a:lnTo>
                        <a:pt x="1650" y="2549"/>
                      </a:lnTo>
                      <a:lnTo>
                        <a:pt x="1653" y="2543"/>
                      </a:lnTo>
                      <a:lnTo>
                        <a:pt x="1645" y="2541"/>
                      </a:lnTo>
                      <a:lnTo>
                        <a:pt x="1645" y="2538"/>
                      </a:lnTo>
                      <a:lnTo>
                        <a:pt x="1648" y="2535"/>
                      </a:lnTo>
                      <a:lnTo>
                        <a:pt x="1650" y="2529"/>
                      </a:lnTo>
                      <a:lnTo>
                        <a:pt x="1648" y="2524"/>
                      </a:lnTo>
                      <a:lnTo>
                        <a:pt x="1645" y="2526"/>
                      </a:lnTo>
                      <a:lnTo>
                        <a:pt x="1642" y="2524"/>
                      </a:lnTo>
                      <a:lnTo>
                        <a:pt x="1639" y="2521"/>
                      </a:lnTo>
                      <a:lnTo>
                        <a:pt x="1637" y="2521"/>
                      </a:lnTo>
                      <a:lnTo>
                        <a:pt x="1637" y="2518"/>
                      </a:lnTo>
                      <a:lnTo>
                        <a:pt x="1637" y="2516"/>
                      </a:lnTo>
                      <a:lnTo>
                        <a:pt x="1637" y="2502"/>
                      </a:lnTo>
                      <a:lnTo>
                        <a:pt x="1631" y="2500"/>
                      </a:lnTo>
                      <a:lnTo>
                        <a:pt x="1617" y="2500"/>
                      </a:lnTo>
                      <a:lnTo>
                        <a:pt x="1614" y="2491"/>
                      </a:lnTo>
                      <a:lnTo>
                        <a:pt x="1614" y="2488"/>
                      </a:lnTo>
                      <a:lnTo>
                        <a:pt x="1614" y="2482"/>
                      </a:lnTo>
                      <a:lnTo>
                        <a:pt x="1612" y="2480"/>
                      </a:lnTo>
                      <a:lnTo>
                        <a:pt x="1609" y="2477"/>
                      </a:lnTo>
                      <a:lnTo>
                        <a:pt x="1601" y="2482"/>
                      </a:lnTo>
                      <a:lnTo>
                        <a:pt x="1589" y="2472"/>
                      </a:lnTo>
                      <a:lnTo>
                        <a:pt x="1589" y="2466"/>
                      </a:lnTo>
                      <a:lnTo>
                        <a:pt x="1587" y="2466"/>
                      </a:lnTo>
                      <a:lnTo>
                        <a:pt x="1587" y="2455"/>
                      </a:lnTo>
                      <a:lnTo>
                        <a:pt x="1589" y="2452"/>
                      </a:lnTo>
                      <a:lnTo>
                        <a:pt x="1587" y="2441"/>
                      </a:lnTo>
                      <a:lnTo>
                        <a:pt x="1581" y="2441"/>
                      </a:lnTo>
                      <a:lnTo>
                        <a:pt x="1579" y="2444"/>
                      </a:lnTo>
                      <a:lnTo>
                        <a:pt x="1576" y="2444"/>
                      </a:lnTo>
                      <a:lnTo>
                        <a:pt x="1573" y="2441"/>
                      </a:lnTo>
                      <a:lnTo>
                        <a:pt x="1570" y="2444"/>
                      </a:lnTo>
                      <a:lnTo>
                        <a:pt x="1565" y="2444"/>
                      </a:lnTo>
                      <a:lnTo>
                        <a:pt x="1553" y="2444"/>
                      </a:lnTo>
                      <a:lnTo>
                        <a:pt x="1543" y="2439"/>
                      </a:lnTo>
                      <a:lnTo>
                        <a:pt x="1540" y="2439"/>
                      </a:lnTo>
                      <a:lnTo>
                        <a:pt x="1535" y="2439"/>
                      </a:lnTo>
                      <a:lnTo>
                        <a:pt x="1532" y="2436"/>
                      </a:lnTo>
                      <a:lnTo>
                        <a:pt x="1529" y="2424"/>
                      </a:lnTo>
                      <a:lnTo>
                        <a:pt x="1518" y="2419"/>
                      </a:lnTo>
                      <a:lnTo>
                        <a:pt x="1515" y="2419"/>
                      </a:lnTo>
                      <a:lnTo>
                        <a:pt x="1507" y="2422"/>
                      </a:lnTo>
                      <a:lnTo>
                        <a:pt x="1504" y="2419"/>
                      </a:lnTo>
                      <a:lnTo>
                        <a:pt x="1501" y="2416"/>
                      </a:lnTo>
                      <a:lnTo>
                        <a:pt x="1493" y="2419"/>
                      </a:lnTo>
                      <a:lnTo>
                        <a:pt x="1490" y="2422"/>
                      </a:lnTo>
                      <a:lnTo>
                        <a:pt x="1490" y="2424"/>
                      </a:lnTo>
                      <a:lnTo>
                        <a:pt x="1482" y="2422"/>
                      </a:lnTo>
                      <a:lnTo>
                        <a:pt x="1474" y="2422"/>
                      </a:lnTo>
                      <a:lnTo>
                        <a:pt x="1468" y="2419"/>
                      </a:lnTo>
                      <a:lnTo>
                        <a:pt x="1466" y="2419"/>
                      </a:lnTo>
                      <a:lnTo>
                        <a:pt x="1463" y="2422"/>
                      </a:lnTo>
                      <a:lnTo>
                        <a:pt x="1463" y="2427"/>
                      </a:lnTo>
                      <a:lnTo>
                        <a:pt x="1466" y="2433"/>
                      </a:lnTo>
                      <a:lnTo>
                        <a:pt x="1463" y="2436"/>
                      </a:lnTo>
                      <a:lnTo>
                        <a:pt x="1463" y="2444"/>
                      </a:lnTo>
                      <a:lnTo>
                        <a:pt x="1460" y="2447"/>
                      </a:lnTo>
                      <a:lnTo>
                        <a:pt x="1441" y="2449"/>
                      </a:lnTo>
                      <a:lnTo>
                        <a:pt x="1438" y="2449"/>
                      </a:lnTo>
                      <a:lnTo>
                        <a:pt x="1433" y="2449"/>
                      </a:lnTo>
                      <a:lnTo>
                        <a:pt x="1421" y="2460"/>
                      </a:lnTo>
                      <a:lnTo>
                        <a:pt x="1413" y="2457"/>
                      </a:lnTo>
                      <a:lnTo>
                        <a:pt x="1407" y="2460"/>
                      </a:lnTo>
                      <a:lnTo>
                        <a:pt x="1405" y="2464"/>
                      </a:lnTo>
                      <a:lnTo>
                        <a:pt x="1394" y="2469"/>
                      </a:lnTo>
                      <a:lnTo>
                        <a:pt x="1388" y="2474"/>
                      </a:lnTo>
                      <a:lnTo>
                        <a:pt x="1380" y="2474"/>
                      </a:lnTo>
                      <a:lnTo>
                        <a:pt x="1380" y="2480"/>
                      </a:lnTo>
                      <a:lnTo>
                        <a:pt x="1380" y="2482"/>
                      </a:lnTo>
                      <a:lnTo>
                        <a:pt x="1377" y="2485"/>
                      </a:lnTo>
                      <a:lnTo>
                        <a:pt x="1369" y="2485"/>
                      </a:lnTo>
                      <a:lnTo>
                        <a:pt x="1366" y="2488"/>
                      </a:lnTo>
                      <a:lnTo>
                        <a:pt x="1361" y="2496"/>
                      </a:lnTo>
                      <a:lnTo>
                        <a:pt x="1361" y="2505"/>
                      </a:lnTo>
                      <a:lnTo>
                        <a:pt x="1358" y="2510"/>
                      </a:lnTo>
                      <a:lnTo>
                        <a:pt x="1344" y="2521"/>
                      </a:lnTo>
                      <a:lnTo>
                        <a:pt x="1336" y="2526"/>
                      </a:lnTo>
                      <a:lnTo>
                        <a:pt x="1330" y="2541"/>
                      </a:lnTo>
                      <a:lnTo>
                        <a:pt x="1330" y="2549"/>
                      </a:lnTo>
                      <a:lnTo>
                        <a:pt x="1330" y="2560"/>
                      </a:lnTo>
                      <a:lnTo>
                        <a:pt x="1333" y="2562"/>
                      </a:lnTo>
                      <a:lnTo>
                        <a:pt x="1333" y="2565"/>
                      </a:lnTo>
                      <a:lnTo>
                        <a:pt x="1328" y="2571"/>
                      </a:lnTo>
                      <a:lnTo>
                        <a:pt x="1328" y="2585"/>
                      </a:lnTo>
                      <a:lnTo>
                        <a:pt x="1319" y="2590"/>
                      </a:lnTo>
                      <a:lnTo>
                        <a:pt x="1319" y="2598"/>
                      </a:lnTo>
                      <a:lnTo>
                        <a:pt x="1316" y="2601"/>
                      </a:lnTo>
                      <a:lnTo>
                        <a:pt x="1319" y="2610"/>
                      </a:lnTo>
                      <a:lnTo>
                        <a:pt x="1316" y="2621"/>
                      </a:lnTo>
                      <a:lnTo>
                        <a:pt x="1319" y="2623"/>
                      </a:lnTo>
                      <a:lnTo>
                        <a:pt x="1325" y="2623"/>
                      </a:lnTo>
                      <a:lnTo>
                        <a:pt x="1325" y="2629"/>
                      </a:lnTo>
                      <a:lnTo>
                        <a:pt x="1325" y="2631"/>
                      </a:lnTo>
                      <a:lnTo>
                        <a:pt x="1330" y="2637"/>
                      </a:lnTo>
                      <a:lnTo>
                        <a:pt x="1333" y="2643"/>
                      </a:lnTo>
                      <a:lnTo>
                        <a:pt x="1333" y="2654"/>
                      </a:lnTo>
                      <a:lnTo>
                        <a:pt x="1330" y="2659"/>
                      </a:lnTo>
                      <a:lnTo>
                        <a:pt x="1322" y="2659"/>
                      </a:lnTo>
                      <a:lnTo>
                        <a:pt x="1319" y="2662"/>
                      </a:lnTo>
                      <a:lnTo>
                        <a:pt x="1319" y="2664"/>
                      </a:lnTo>
                      <a:lnTo>
                        <a:pt x="1325" y="2670"/>
                      </a:lnTo>
                      <a:lnTo>
                        <a:pt x="1319" y="2673"/>
                      </a:lnTo>
                      <a:lnTo>
                        <a:pt x="1319" y="2676"/>
                      </a:lnTo>
                      <a:lnTo>
                        <a:pt x="1322" y="2679"/>
                      </a:lnTo>
                      <a:lnTo>
                        <a:pt x="1325" y="2684"/>
                      </a:lnTo>
                      <a:lnTo>
                        <a:pt x="1322" y="2687"/>
                      </a:lnTo>
                      <a:lnTo>
                        <a:pt x="1319" y="2692"/>
                      </a:lnTo>
                      <a:lnTo>
                        <a:pt x="1316" y="2698"/>
                      </a:lnTo>
                      <a:lnTo>
                        <a:pt x="1319" y="2706"/>
                      </a:lnTo>
                      <a:lnTo>
                        <a:pt x="1316" y="2709"/>
                      </a:lnTo>
                      <a:lnTo>
                        <a:pt x="1313" y="2712"/>
                      </a:lnTo>
                      <a:lnTo>
                        <a:pt x="1311" y="2723"/>
                      </a:lnTo>
                      <a:lnTo>
                        <a:pt x="1308" y="2731"/>
                      </a:lnTo>
                      <a:lnTo>
                        <a:pt x="1305" y="2745"/>
                      </a:lnTo>
                      <a:lnTo>
                        <a:pt x="1300" y="2750"/>
                      </a:lnTo>
                      <a:lnTo>
                        <a:pt x="1297" y="2756"/>
                      </a:lnTo>
                      <a:lnTo>
                        <a:pt x="1305" y="2759"/>
                      </a:lnTo>
                      <a:lnTo>
                        <a:pt x="1316" y="2769"/>
                      </a:lnTo>
                      <a:lnTo>
                        <a:pt x="1316" y="2775"/>
                      </a:lnTo>
                      <a:lnTo>
                        <a:pt x="1313" y="2781"/>
                      </a:lnTo>
                      <a:lnTo>
                        <a:pt x="1311" y="2784"/>
                      </a:lnTo>
                      <a:lnTo>
                        <a:pt x="1303" y="2794"/>
                      </a:lnTo>
                      <a:lnTo>
                        <a:pt x="1303" y="2797"/>
                      </a:lnTo>
                      <a:lnTo>
                        <a:pt x="1305" y="2797"/>
                      </a:lnTo>
                      <a:lnTo>
                        <a:pt x="1316" y="2800"/>
                      </a:lnTo>
                      <a:lnTo>
                        <a:pt x="1319" y="2808"/>
                      </a:lnTo>
                      <a:lnTo>
                        <a:pt x="1330" y="2808"/>
                      </a:lnTo>
                      <a:lnTo>
                        <a:pt x="1336" y="2810"/>
                      </a:lnTo>
                      <a:lnTo>
                        <a:pt x="1336" y="2814"/>
                      </a:lnTo>
                      <a:lnTo>
                        <a:pt x="1336" y="2822"/>
                      </a:lnTo>
                      <a:lnTo>
                        <a:pt x="1344" y="2838"/>
                      </a:lnTo>
                      <a:lnTo>
                        <a:pt x="1358" y="2844"/>
                      </a:lnTo>
                      <a:lnTo>
                        <a:pt x="1361" y="2850"/>
                      </a:lnTo>
                      <a:lnTo>
                        <a:pt x="1364" y="2853"/>
                      </a:lnTo>
                      <a:lnTo>
                        <a:pt x="1364" y="2858"/>
                      </a:lnTo>
                      <a:lnTo>
                        <a:pt x="1361" y="2861"/>
                      </a:lnTo>
                      <a:lnTo>
                        <a:pt x="1361" y="2871"/>
                      </a:lnTo>
                      <a:lnTo>
                        <a:pt x="1358" y="2871"/>
                      </a:lnTo>
                      <a:lnTo>
                        <a:pt x="1354" y="2869"/>
                      </a:lnTo>
                      <a:lnTo>
                        <a:pt x="1333" y="2850"/>
                      </a:lnTo>
                      <a:lnTo>
                        <a:pt x="1328" y="2836"/>
                      </a:lnTo>
                      <a:lnTo>
                        <a:pt x="1322" y="2827"/>
                      </a:lnTo>
                      <a:lnTo>
                        <a:pt x="1308" y="2817"/>
                      </a:lnTo>
                      <a:lnTo>
                        <a:pt x="1295" y="2810"/>
                      </a:lnTo>
                      <a:lnTo>
                        <a:pt x="1285" y="2808"/>
                      </a:lnTo>
                      <a:lnTo>
                        <a:pt x="1261" y="2800"/>
                      </a:lnTo>
                      <a:lnTo>
                        <a:pt x="1253" y="2792"/>
                      </a:lnTo>
                      <a:lnTo>
                        <a:pt x="1242" y="2789"/>
                      </a:lnTo>
                      <a:lnTo>
                        <a:pt x="1234" y="2786"/>
                      </a:lnTo>
                      <a:lnTo>
                        <a:pt x="1228" y="2789"/>
                      </a:lnTo>
                      <a:lnTo>
                        <a:pt x="1223" y="2794"/>
                      </a:lnTo>
                      <a:lnTo>
                        <a:pt x="1217" y="2797"/>
                      </a:lnTo>
                      <a:lnTo>
                        <a:pt x="1211" y="2797"/>
                      </a:lnTo>
                      <a:lnTo>
                        <a:pt x="1200" y="2797"/>
                      </a:lnTo>
                      <a:lnTo>
                        <a:pt x="1190" y="2794"/>
                      </a:lnTo>
                      <a:lnTo>
                        <a:pt x="1187" y="2786"/>
                      </a:lnTo>
                      <a:lnTo>
                        <a:pt x="1184" y="2775"/>
                      </a:lnTo>
                      <a:lnTo>
                        <a:pt x="1178" y="2767"/>
                      </a:lnTo>
                      <a:lnTo>
                        <a:pt x="1167" y="2753"/>
                      </a:lnTo>
                      <a:lnTo>
                        <a:pt x="1165" y="2739"/>
                      </a:lnTo>
                      <a:lnTo>
                        <a:pt x="1162" y="2731"/>
                      </a:lnTo>
                      <a:lnTo>
                        <a:pt x="1151" y="2720"/>
                      </a:lnTo>
                      <a:lnTo>
                        <a:pt x="1151" y="2712"/>
                      </a:lnTo>
                      <a:lnTo>
                        <a:pt x="1142" y="2692"/>
                      </a:lnTo>
                      <a:lnTo>
                        <a:pt x="1139" y="2687"/>
                      </a:lnTo>
                      <a:lnTo>
                        <a:pt x="1131" y="2679"/>
                      </a:lnTo>
                      <a:lnTo>
                        <a:pt x="1123" y="2670"/>
                      </a:lnTo>
                      <a:lnTo>
                        <a:pt x="1118" y="2670"/>
                      </a:lnTo>
                      <a:lnTo>
                        <a:pt x="1112" y="2670"/>
                      </a:lnTo>
                      <a:lnTo>
                        <a:pt x="1106" y="2667"/>
                      </a:lnTo>
                      <a:lnTo>
                        <a:pt x="1104" y="2664"/>
                      </a:lnTo>
                      <a:lnTo>
                        <a:pt x="1101" y="2662"/>
                      </a:lnTo>
                      <a:lnTo>
                        <a:pt x="1098" y="2659"/>
                      </a:lnTo>
                      <a:lnTo>
                        <a:pt x="1101" y="2654"/>
                      </a:lnTo>
                      <a:lnTo>
                        <a:pt x="1096" y="2643"/>
                      </a:lnTo>
                      <a:lnTo>
                        <a:pt x="1090" y="2643"/>
                      </a:lnTo>
                      <a:lnTo>
                        <a:pt x="1087" y="2640"/>
                      </a:lnTo>
                      <a:lnTo>
                        <a:pt x="1085" y="2640"/>
                      </a:lnTo>
                      <a:lnTo>
                        <a:pt x="1078" y="2634"/>
                      </a:lnTo>
                      <a:lnTo>
                        <a:pt x="1076" y="2631"/>
                      </a:lnTo>
                      <a:lnTo>
                        <a:pt x="1065" y="2629"/>
                      </a:lnTo>
                      <a:lnTo>
                        <a:pt x="1065" y="2621"/>
                      </a:lnTo>
                      <a:lnTo>
                        <a:pt x="1060" y="2621"/>
                      </a:lnTo>
                      <a:lnTo>
                        <a:pt x="1054" y="2618"/>
                      </a:lnTo>
                      <a:lnTo>
                        <a:pt x="1043" y="2618"/>
                      </a:lnTo>
                      <a:lnTo>
                        <a:pt x="1037" y="2610"/>
                      </a:lnTo>
                      <a:lnTo>
                        <a:pt x="1032" y="2604"/>
                      </a:lnTo>
                      <a:lnTo>
                        <a:pt x="1027" y="2607"/>
                      </a:lnTo>
                      <a:lnTo>
                        <a:pt x="1027" y="2604"/>
                      </a:lnTo>
                      <a:lnTo>
                        <a:pt x="1021" y="2598"/>
                      </a:lnTo>
                      <a:lnTo>
                        <a:pt x="1019" y="2593"/>
                      </a:lnTo>
                      <a:lnTo>
                        <a:pt x="1013" y="2593"/>
                      </a:lnTo>
                      <a:lnTo>
                        <a:pt x="1009" y="2587"/>
                      </a:lnTo>
                      <a:lnTo>
                        <a:pt x="1001" y="2577"/>
                      </a:lnTo>
                      <a:lnTo>
                        <a:pt x="999" y="2577"/>
                      </a:lnTo>
                      <a:lnTo>
                        <a:pt x="999" y="2574"/>
                      </a:lnTo>
                      <a:lnTo>
                        <a:pt x="993" y="2571"/>
                      </a:lnTo>
                      <a:lnTo>
                        <a:pt x="996" y="2569"/>
                      </a:lnTo>
                      <a:lnTo>
                        <a:pt x="996" y="2565"/>
                      </a:lnTo>
                      <a:lnTo>
                        <a:pt x="993" y="2562"/>
                      </a:lnTo>
                      <a:lnTo>
                        <a:pt x="993" y="2560"/>
                      </a:lnTo>
                      <a:lnTo>
                        <a:pt x="988" y="2557"/>
                      </a:lnTo>
                      <a:lnTo>
                        <a:pt x="985" y="2551"/>
                      </a:lnTo>
                      <a:lnTo>
                        <a:pt x="974" y="2549"/>
                      </a:lnTo>
                      <a:lnTo>
                        <a:pt x="971" y="2546"/>
                      </a:lnTo>
                      <a:lnTo>
                        <a:pt x="966" y="2546"/>
                      </a:lnTo>
                      <a:lnTo>
                        <a:pt x="966" y="2549"/>
                      </a:lnTo>
                      <a:lnTo>
                        <a:pt x="963" y="2546"/>
                      </a:lnTo>
                      <a:lnTo>
                        <a:pt x="960" y="2546"/>
                      </a:lnTo>
                      <a:lnTo>
                        <a:pt x="958" y="2541"/>
                      </a:lnTo>
                      <a:lnTo>
                        <a:pt x="952" y="2543"/>
                      </a:lnTo>
                      <a:lnTo>
                        <a:pt x="944" y="2538"/>
                      </a:lnTo>
                      <a:lnTo>
                        <a:pt x="940" y="2529"/>
                      </a:lnTo>
                      <a:lnTo>
                        <a:pt x="940" y="2526"/>
                      </a:lnTo>
                      <a:lnTo>
                        <a:pt x="947" y="2524"/>
                      </a:lnTo>
                      <a:lnTo>
                        <a:pt x="944" y="2516"/>
                      </a:lnTo>
                      <a:lnTo>
                        <a:pt x="940" y="2516"/>
                      </a:lnTo>
                      <a:lnTo>
                        <a:pt x="940" y="2508"/>
                      </a:lnTo>
                      <a:lnTo>
                        <a:pt x="947" y="2505"/>
                      </a:lnTo>
                      <a:lnTo>
                        <a:pt x="947" y="2496"/>
                      </a:lnTo>
                      <a:lnTo>
                        <a:pt x="950" y="2493"/>
                      </a:lnTo>
                      <a:lnTo>
                        <a:pt x="958" y="2500"/>
                      </a:lnTo>
                      <a:lnTo>
                        <a:pt x="958" y="2496"/>
                      </a:lnTo>
                      <a:lnTo>
                        <a:pt x="963" y="2500"/>
                      </a:lnTo>
                      <a:lnTo>
                        <a:pt x="974" y="2500"/>
                      </a:lnTo>
                      <a:lnTo>
                        <a:pt x="974" y="2502"/>
                      </a:lnTo>
                      <a:lnTo>
                        <a:pt x="976" y="2505"/>
                      </a:lnTo>
                      <a:lnTo>
                        <a:pt x="980" y="2508"/>
                      </a:lnTo>
                      <a:lnTo>
                        <a:pt x="983" y="2513"/>
                      </a:lnTo>
                      <a:lnTo>
                        <a:pt x="988" y="2510"/>
                      </a:lnTo>
                      <a:lnTo>
                        <a:pt x="988" y="2508"/>
                      </a:lnTo>
                      <a:lnTo>
                        <a:pt x="991" y="2505"/>
                      </a:lnTo>
                      <a:lnTo>
                        <a:pt x="999" y="2508"/>
                      </a:lnTo>
                      <a:lnTo>
                        <a:pt x="1001" y="2505"/>
                      </a:lnTo>
                      <a:lnTo>
                        <a:pt x="999" y="2502"/>
                      </a:lnTo>
                      <a:lnTo>
                        <a:pt x="996" y="2502"/>
                      </a:lnTo>
                      <a:lnTo>
                        <a:pt x="996" y="2496"/>
                      </a:lnTo>
                      <a:lnTo>
                        <a:pt x="996" y="2493"/>
                      </a:lnTo>
                      <a:lnTo>
                        <a:pt x="1004" y="2493"/>
                      </a:lnTo>
                      <a:lnTo>
                        <a:pt x="1004" y="2491"/>
                      </a:lnTo>
                      <a:lnTo>
                        <a:pt x="1007" y="2493"/>
                      </a:lnTo>
                      <a:lnTo>
                        <a:pt x="1013" y="2491"/>
                      </a:lnTo>
                      <a:lnTo>
                        <a:pt x="1013" y="2485"/>
                      </a:lnTo>
                      <a:lnTo>
                        <a:pt x="1016" y="2485"/>
                      </a:lnTo>
                      <a:lnTo>
                        <a:pt x="1019" y="2485"/>
                      </a:lnTo>
                      <a:lnTo>
                        <a:pt x="1021" y="2485"/>
                      </a:lnTo>
                      <a:lnTo>
                        <a:pt x="1024" y="2482"/>
                      </a:lnTo>
                      <a:lnTo>
                        <a:pt x="1027" y="2482"/>
                      </a:lnTo>
                      <a:lnTo>
                        <a:pt x="1029" y="2480"/>
                      </a:lnTo>
                      <a:lnTo>
                        <a:pt x="1029" y="2477"/>
                      </a:lnTo>
                      <a:lnTo>
                        <a:pt x="1027" y="2472"/>
                      </a:lnTo>
                      <a:lnTo>
                        <a:pt x="1024" y="2469"/>
                      </a:lnTo>
                      <a:lnTo>
                        <a:pt x="1024" y="2466"/>
                      </a:lnTo>
                      <a:lnTo>
                        <a:pt x="1029" y="2466"/>
                      </a:lnTo>
                      <a:lnTo>
                        <a:pt x="1029" y="2460"/>
                      </a:lnTo>
                      <a:lnTo>
                        <a:pt x="1024" y="2455"/>
                      </a:lnTo>
                      <a:lnTo>
                        <a:pt x="1021" y="2452"/>
                      </a:lnTo>
                      <a:lnTo>
                        <a:pt x="1021" y="2447"/>
                      </a:lnTo>
                      <a:lnTo>
                        <a:pt x="1019" y="2441"/>
                      </a:lnTo>
                      <a:lnTo>
                        <a:pt x="1021" y="2439"/>
                      </a:lnTo>
                      <a:lnTo>
                        <a:pt x="1021" y="2436"/>
                      </a:lnTo>
                      <a:lnTo>
                        <a:pt x="1024" y="2433"/>
                      </a:lnTo>
                      <a:lnTo>
                        <a:pt x="1021" y="2424"/>
                      </a:lnTo>
                      <a:lnTo>
                        <a:pt x="1024" y="2422"/>
                      </a:lnTo>
                      <a:lnTo>
                        <a:pt x="1027" y="2422"/>
                      </a:lnTo>
                      <a:lnTo>
                        <a:pt x="1029" y="2416"/>
                      </a:lnTo>
                      <a:lnTo>
                        <a:pt x="1029" y="2411"/>
                      </a:lnTo>
                      <a:lnTo>
                        <a:pt x="1032" y="2408"/>
                      </a:lnTo>
                      <a:lnTo>
                        <a:pt x="1035" y="2411"/>
                      </a:lnTo>
                      <a:lnTo>
                        <a:pt x="1037" y="2405"/>
                      </a:lnTo>
                      <a:lnTo>
                        <a:pt x="1035" y="2405"/>
                      </a:lnTo>
                      <a:lnTo>
                        <a:pt x="1035" y="2400"/>
                      </a:lnTo>
                      <a:lnTo>
                        <a:pt x="1045" y="2395"/>
                      </a:lnTo>
                      <a:lnTo>
                        <a:pt x="1049" y="2391"/>
                      </a:lnTo>
                      <a:lnTo>
                        <a:pt x="1054" y="2388"/>
                      </a:lnTo>
                      <a:lnTo>
                        <a:pt x="1057" y="2380"/>
                      </a:lnTo>
                      <a:lnTo>
                        <a:pt x="1060" y="2380"/>
                      </a:lnTo>
                      <a:lnTo>
                        <a:pt x="1060" y="2378"/>
                      </a:lnTo>
                      <a:lnTo>
                        <a:pt x="1065" y="2375"/>
                      </a:lnTo>
                      <a:lnTo>
                        <a:pt x="1062" y="2367"/>
                      </a:lnTo>
                      <a:lnTo>
                        <a:pt x="1065" y="2364"/>
                      </a:lnTo>
                      <a:lnTo>
                        <a:pt x="1068" y="2362"/>
                      </a:lnTo>
                      <a:lnTo>
                        <a:pt x="1068" y="2350"/>
                      </a:lnTo>
                      <a:lnTo>
                        <a:pt x="1070" y="2347"/>
                      </a:lnTo>
                      <a:lnTo>
                        <a:pt x="1057" y="2339"/>
                      </a:lnTo>
                      <a:lnTo>
                        <a:pt x="1054" y="2342"/>
                      </a:lnTo>
                      <a:lnTo>
                        <a:pt x="1052" y="2342"/>
                      </a:lnTo>
                      <a:lnTo>
                        <a:pt x="1049" y="2339"/>
                      </a:lnTo>
                      <a:lnTo>
                        <a:pt x="1045" y="2336"/>
                      </a:lnTo>
                      <a:lnTo>
                        <a:pt x="1049" y="2334"/>
                      </a:lnTo>
                      <a:lnTo>
                        <a:pt x="1043" y="2326"/>
                      </a:lnTo>
                      <a:lnTo>
                        <a:pt x="1043" y="2322"/>
                      </a:lnTo>
                      <a:lnTo>
                        <a:pt x="1049" y="2319"/>
                      </a:lnTo>
                      <a:lnTo>
                        <a:pt x="1052" y="2314"/>
                      </a:lnTo>
                      <a:lnTo>
                        <a:pt x="1045" y="2314"/>
                      </a:lnTo>
                      <a:lnTo>
                        <a:pt x="1043" y="2309"/>
                      </a:lnTo>
                      <a:lnTo>
                        <a:pt x="1043" y="2301"/>
                      </a:lnTo>
                      <a:lnTo>
                        <a:pt x="1049" y="2298"/>
                      </a:lnTo>
                      <a:lnTo>
                        <a:pt x="1045" y="2290"/>
                      </a:lnTo>
                      <a:lnTo>
                        <a:pt x="1049" y="2284"/>
                      </a:lnTo>
                      <a:lnTo>
                        <a:pt x="1049" y="2281"/>
                      </a:lnTo>
                      <a:lnTo>
                        <a:pt x="1043" y="2278"/>
                      </a:lnTo>
                      <a:lnTo>
                        <a:pt x="1037" y="2278"/>
                      </a:lnTo>
                      <a:lnTo>
                        <a:pt x="1032" y="2273"/>
                      </a:lnTo>
                      <a:lnTo>
                        <a:pt x="1029" y="2267"/>
                      </a:lnTo>
                      <a:lnTo>
                        <a:pt x="1027" y="2262"/>
                      </a:lnTo>
                      <a:lnTo>
                        <a:pt x="1019" y="2250"/>
                      </a:lnTo>
                      <a:lnTo>
                        <a:pt x="1019" y="2245"/>
                      </a:lnTo>
                      <a:lnTo>
                        <a:pt x="1016" y="2240"/>
                      </a:lnTo>
                      <a:lnTo>
                        <a:pt x="1013" y="2237"/>
                      </a:lnTo>
                      <a:lnTo>
                        <a:pt x="1013" y="2234"/>
                      </a:lnTo>
                      <a:lnTo>
                        <a:pt x="1016" y="2234"/>
                      </a:lnTo>
                      <a:lnTo>
                        <a:pt x="1016" y="2226"/>
                      </a:lnTo>
                      <a:lnTo>
                        <a:pt x="1016" y="2224"/>
                      </a:lnTo>
                      <a:lnTo>
                        <a:pt x="1016" y="2221"/>
                      </a:lnTo>
                      <a:lnTo>
                        <a:pt x="1007" y="2196"/>
                      </a:lnTo>
                      <a:lnTo>
                        <a:pt x="999" y="2193"/>
                      </a:lnTo>
                      <a:lnTo>
                        <a:pt x="996" y="2188"/>
                      </a:lnTo>
                      <a:lnTo>
                        <a:pt x="988" y="2185"/>
                      </a:lnTo>
                      <a:lnTo>
                        <a:pt x="980" y="2179"/>
                      </a:lnTo>
                      <a:lnTo>
                        <a:pt x="974" y="2171"/>
                      </a:lnTo>
                      <a:lnTo>
                        <a:pt x="974" y="2160"/>
                      </a:lnTo>
                      <a:lnTo>
                        <a:pt x="974" y="2148"/>
                      </a:lnTo>
                      <a:lnTo>
                        <a:pt x="974" y="2137"/>
                      </a:lnTo>
                      <a:lnTo>
                        <a:pt x="968" y="2127"/>
                      </a:lnTo>
                      <a:lnTo>
                        <a:pt x="963" y="2121"/>
                      </a:lnTo>
                      <a:lnTo>
                        <a:pt x="963" y="2107"/>
                      </a:lnTo>
                      <a:lnTo>
                        <a:pt x="958" y="2094"/>
                      </a:lnTo>
                      <a:lnTo>
                        <a:pt x="960" y="2077"/>
                      </a:lnTo>
                      <a:lnTo>
                        <a:pt x="958" y="2068"/>
                      </a:lnTo>
                      <a:lnTo>
                        <a:pt x="960" y="2060"/>
                      </a:lnTo>
                      <a:lnTo>
                        <a:pt x="963" y="2055"/>
                      </a:lnTo>
                      <a:lnTo>
                        <a:pt x="963" y="2052"/>
                      </a:lnTo>
                      <a:lnTo>
                        <a:pt x="966" y="2050"/>
                      </a:lnTo>
                      <a:lnTo>
                        <a:pt x="963" y="2043"/>
                      </a:lnTo>
                      <a:lnTo>
                        <a:pt x="960" y="2033"/>
                      </a:lnTo>
                      <a:lnTo>
                        <a:pt x="958" y="2030"/>
                      </a:lnTo>
                      <a:lnTo>
                        <a:pt x="950" y="2019"/>
                      </a:lnTo>
                      <a:lnTo>
                        <a:pt x="940" y="2025"/>
                      </a:lnTo>
                      <a:lnTo>
                        <a:pt x="935" y="2025"/>
                      </a:lnTo>
                      <a:lnTo>
                        <a:pt x="935" y="2005"/>
                      </a:lnTo>
                      <a:lnTo>
                        <a:pt x="930" y="1997"/>
                      </a:lnTo>
                      <a:lnTo>
                        <a:pt x="932" y="1981"/>
                      </a:lnTo>
                      <a:lnTo>
                        <a:pt x="935" y="1964"/>
                      </a:lnTo>
                      <a:lnTo>
                        <a:pt x="927" y="1925"/>
                      </a:lnTo>
                      <a:lnTo>
                        <a:pt x="930" y="1920"/>
                      </a:lnTo>
                      <a:lnTo>
                        <a:pt x="932" y="1912"/>
                      </a:lnTo>
                      <a:lnTo>
                        <a:pt x="944" y="1895"/>
                      </a:lnTo>
                      <a:lnTo>
                        <a:pt x="958" y="1884"/>
                      </a:lnTo>
                      <a:lnTo>
                        <a:pt x="960" y="1881"/>
                      </a:lnTo>
                      <a:lnTo>
                        <a:pt x="960" y="1864"/>
                      </a:lnTo>
                      <a:lnTo>
                        <a:pt x="958" y="1862"/>
                      </a:lnTo>
                      <a:lnTo>
                        <a:pt x="952" y="1856"/>
                      </a:lnTo>
                      <a:lnTo>
                        <a:pt x="950" y="1845"/>
                      </a:lnTo>
                      <a:lnTo>
                        <a:pt x="955" y="1826"/>
                      </a:lnTo>
                      <a:lnTo>
                        <a:pt x="963" y="1818"/>
                      </a:lnTo>
                      <a:lnTo>
                        <a:pt x="966" y="1807"/>
                      </a:lnTo>
                      <a:lnTo>
                        <a:pt x="966" y="1802"/>
                      </a:lnTo>
                      <a:lnTo>
                        <a:pt x="960" y="1793"/>
                      </a:lnTo>
                      <a:lnTo>
                        <a:pt x="955" y="1784"/>
                      </a:lnTo>
                      <a:lnTo>
                        <a:pt x="952" y="1779"/>
                      </a:lnTo>
                      <a:lnTo>
                        <a:pt x="955" y="1774"/>
                      </a:lnTo>
                      <a:lnTo>
                        <a:pt x="952" y="1771"/>
                      </a:lnTo>
                      <a:lnTo>
                        <a:pt x="952" y="1766"/>
                      </a:lnTo>
                      <a:lnTo>
                        <a:pt x="955" y="1757"/>
                      </a:lnTo>
                      <a:lnTo>
                        <a:pt x="955" y="1754"/>
                      </a:lnTo>
                      <a:lnTo>
                        <a:pt x="952" y="1754"/>
                      </a:lnTo>
                      <a:lnTo>
                        <a:pt x="950" y="1754"/>
                      </a:lnTo>
                      <a:lnTo>
                        <a:pt x="935" y="1754"/>
                      </a:lnTo>
                      <a:lnTo>
                        <a:pt x="932" y="1754"/>
                      </a:lnTo>
                      <a:lnTo>
                        <a:pt x="924" y="1738"/>
                      </a:lnTo>
                      <a:lnTo>
                        <a:pt x="922" y="1716"/>
                      </a:lnTo>
                      <a:lnTo>
                        <a:pt x="907" y="1682"/>
                      </a:lnTo>
                      <a:lnTo>
                        <a:pt x="899" y="1641"/>
                      </a:lnTo>
                      <a:lnTo>
                        <a:pt x="894" y="1638"/>
                      </a:lnTo>
                      <a:lnTo>
                        <a:pt x="891" y="1630"/>
                      </a:lnTo>
                      <a:lnTo>
                        <a:pt x="894" y="1624"/>
                      </a:lnTo>
                      <a:lnTo>
                        <a:pt x="894" y="1621"/>
                      </a:lnTo>
                      <a:lnTo>
                        <a:pt x="889" y="1608"/>
                      </a:lnTo>
                      <a:lnTo>
                        <a:pt x="886" y="1605"/>
                      </a:lnTo>
                      <a:lnTo>
                        <a:pt x="883" y="1605"/>
                      </a:lnTo>
                      <a:lnTo>
                        <a:pt x="871" y="1600"/>
                      </a:lnTo>
                      <a:lnTo>
                        <a:pt x="863" y="1592"/>
                      </a:lnTo>
                      <a:lnTo>
                        <a:pt x="855" y="1585"/>
                      </a:lnTo>
                      <a:lnTo>
                        <a:pt x="850" y="1580"/>
                      </a:lnTo>
                      <a:lnTo>
                        <a:pt x="847" y="1569"/>
                      </a:lnTo>
                      <a:lnTo>
                        <a:pt x="842" y="1567"/>
                      </a:lnTo>
                      <a:lnTo>
                        <a:pt x="838" y="1561"/>
                      </a:lnTo>
                      <a:lnTo>
                        <a:pt x="830" y="1550"/>
                      </a:lnTo>
                      <a:lnTo>
                        <a:pt x="820" y="1544"/>
                      </a:lnTo>
                      <a:lnTo>
                        <a:pt x="820" y="1542"/>
                      </a:lnTo>
                      <a:lnTo>
                        <a:pt x="820" y="1536"/>
                      </a:lnTo>
                      <a:lnTo>
                        <a:pt x="822" y="1526"/>
                      </a:lnTo>
                      <a:lnTo>
                        <a:pt x="833" y="1514"/>
                      </a:lnTo>
                      <a:lnTo>
                        <a:pt x="836" y="1508"/>
                      </a:lnTo>
                      <a:lnTo>
                        <a:pt x="838" y="1506"/>
                      </a:lnTo>
                      <a:lnTo>
                        <a:pt x="850" y="1498"/>
                      </a:lnTo>
                      <a:lnTo>
                        <a:pt x="853" y="1492"/>
                      </a:lnTo>
                      <a:lnTo>
                        <a:pt x="850" y="1448"/>
                      </a:lnTo>
                      <a:lnTo>
                        <a:pt x="861" y="1423"/>
                      </a:lnTo>
                      <a:lnTo>
                        <a:pt x="863" y="1409"/>
                      </a:lnTo>
                      <a:lnTo>
                        <a:pt x="861" y="1396"/>
                      </a:lnTo>
                      <a:lnTo>
                        <a:pt x="855" y="1390"/>
                      </a:lnTo>
                      <a:lnTo>
                        <a:pt x="853" y="1390"/>
                      </a:lnTo>
                      <a:lnTo>
                        <a:pt x="845" y="1385"/>
                      </a:lnTo>
                      <a:lnTo>
                        <a:pt x="817" y="1376"/>
                      </a:lnTo>
                      <a:lnTo>
                        <a:pt x="817" y="1373"/>
                      </a:lnTo>
                      <a:lnTo>
                        <a:pt x="812" y="1365"/>
                      </a:lnTo>
                      <a:lnTo>
                        <a:pt x="806" y="1365"/>
                      </a:lnTo>
                      <a:lnTo>
                        <a:pt x="773" y="1360"/>
                      </a:lnTo>
                      <a:lnTo>
                        <a:pt x="761" y="1357"/>
                      </a:lnTo>
                      <a:lnTo>
                        <a:pt x="748" y="1362"/>
                      </a:lnTo>
                      <a:lnTo>
                        <a:pt x="731" y="1365"/>
                      </a:lnTo>
                      <a:lnTo>
                        <a:pt x="712" y="1354"/>
                      </a:lnTo>
                      <a:lnTo>
                        <a:pt x="707" y="1345"/>
                      </a:lnTo>
                      <a:lnTo>
                        <a:pt x="698" y="1337"/>
                      </a:lnTo>
                      <a:lnTo>
                        <a:pt x="692" y="1332"/>
                      </a:lnTo>
                      <a:lnTo>
                        <a:pt x="687" y="1321"/>
                      </a:lnTo>
                      <a:lnTo>
                        <a:pt x="684" y="1313"/>
                      </a:lnTo>
                      <a:lnTo>
                        <a:pt x="684" y="1304"/>
                      </a:lnTo>
                      <a:lnTo>
                        <a:pt x="684" y="1299"/>
                      </a:lnTo>
                      <a:lnTo>
                        <a:pt x="676" y="1299"/>
                      </a:lnTo>
                      <a:lnTo>
                        <a:pt x="673" y="1296"/>
                      </a:lnTo>
                      <a:lnTo>
                        <a:pt x="662" y="1296"/>
                      </a:lnTo>
                      <a:lnTo>
                        <a:pt x="635" y="1304"/>
                      </a:lnTo>
                      <a:lnTo>
                        <a:pt x="626" y="1307"/>
                      </a:lnTo>
                      <a:lnTo>
                        <a:pt x="615" y="1302"/>
                      </a:lnTo>
                      <a:lnTo>
                        <a:pt x="593" y="1288"/>
                      </a:lnTo>
                      <a:lnTo>
                        <a:pt x="590" y="1283"/>
                      </a:lnTo>
                      <a:lnTo>
                        <a:pt x="577" y="1268"/>
                      </a:lnTo>
                      <a:lnTo>
                        <a:pt x="577" y="1266"/>
                      </a:lnTo>
                      <a:lnTo>
                        <a:pt x="579" y="1258"/>
                      </a:lnTo>
                      <a:lnTo>
                        <a:pt x="577" y="1247"/>
                      </a:lnTo>
                      <a:lnTo>
                        <a:pt x="569" y="1219"/>
                      </a:lnTo>
                      <a:lnTo>
                        <a:pt x="569" y="1214"/>
                      </a:lnTo>
                      <a:lnTo>
                        <a:pt x="579" y="1199"/>
                      </a:lnTo>
                      <a:lnTo>
                        <a:pt x="579" y="1191"/>
                      </a:lnTo>
                      <a:lnTo>
                        <a:pt x="574" y="1189"/>
                      </a:lnTo>
                      <a:lnTo>
                        <a:pt x="560" y="1186"/>
                      </a:lnTo>
                      <a:lnTo>
                        <a:pt x="538" y="1189"/>
                      </a:lnTo>
                      <a:lnTo>
                        <a:pt x="500" y="1197"/>
                      </a:lnTo>
                      <a:lnTo>
                        <a:pt x="475" y="1205"/>
                      </a:lnTo>
                      <a:lnTo>
                        <a:pt x="460" y="1208"/>
                      </a:lnTo>
                      <a:lnTo>
                        <a:pt x="444" y="1208"/>
                      </a:lnTo>
                      <a:lnTo>
                        <a:pt x="422" y="1208"/>
                      </a:lnTo>
                      <a:lnTo>
                        <a:pt x="403" y="1199"/>
                      </a:lnTo>
                      <a:lnTo>
                        <a:pt x="389" y="1194"/>
                      </a:lnTo>
                      <a:lnTo>
                        <a:pt x="378" y="1191"/>
                      </a:lnTo>
                      <a:lnTo>
                        <a:pt x="350" y="1181"/>
                      </a:lnTo>
                      <a:lnTo>
                        <a:pt x="342" y="1175"/>
                      </a:lnTo>
                      <a:lnTo>
                        <a:pt x="339" y="1178"/>
                      </a:lnTo>
                      <a:lnTo>
                        <a:pt x="334" y="1173"/>
                      </a:lnTo>
                      <a:lnTo>
                        <a:pt x="331" y="1173"/>
                      </a:lnTo>
                      <a:lnTo>
                        <a:pt x="329" y="1175"/>
                      </a:lnTo>
                      <a:lnTo>
                        <a:pt x="326" y="1175"/>
                      </a:lnTo>
                      <a:lnTo>
                        <a:pt x="322" y="1175"/>
                      </a:lnTo>
                      <a:lnTo>
                        <a:pt x="320" y="1173"/>
                      </a:lnTo>
                      <a:lnTo>
                        <a:pt x="322" y="1169"/>
                      </a:lnTo>
                      <a:lnTo>
                        <a:pt x="317" y="1166"/>
                      </a:lnTo>
                      <a:lnTo>
                        <a:pt x="317" y="1163"/>
                      </a:lnTo>
                      <a:lnTo>
                        <a:pt x="311" y="1163"/>
                      </a:lnTo>
                      <a:lnTo>
                        <a:pt x="309" y="1161"/>
                      </a:lnTo>
                      <a:lnTo>
                        <a:pt x="311" y="1155"/>
                      </a:lnTo>
                      <a:lnTo>
                        <a:pt x="314" y="1147"/>
                      </a:lnTo>
                      <a:lnTo>
                        <a:pt x="314" y="1142"/>
                      </a:lnTo>
                      <a:lnTo>
                        <a:pt x="317" y="1136"/>
                      </a:lnTo>
                      <a:lnTo>
                        <a:pt x="317" y="1130"/>
                      </a:lnTo>
                      <a:lnTo>
                        <a:pt x="317" y="1128"/>
                      </a:lnTo>
                      <a:lnTo>
                        <a:pt x="320" y="1130"/>
                      </a:lnTo>
                      <a:lnTo>
                        <a:pt x="322" y="1130"/>
                      </a:lnTo>
                      <a:lnTo>
                        <a:pt x="322" y="1122"/>
                      </a:lnTo>
                      <a:lnTo>
                        <a:pt x="331" y="1117"/>
                      </a:lnTo>
                      <a:lnTo>
                        <a:pt x="331" y="1112"/>
                      </a:lnTo>
                      <a:lnTo>
                        <a:pt x="337" y="1106"/>
                      </a:lnTo>
                      <a:lnTo>
                        <a:pt x="339" y="1100"/>
                      </a:lnTo>
                      <a:lnTo>
                        <a:pt x="339" y="1094"/>
                      </a:lnTo>
                      <a:lnTo>
                        <a:pt x="337" y="1089"/>
                      </a:lnTo>
                      <a:lnTo>
                        <a:pt x="339" y="1089"/>
                      </a:lnTo>
                      <a:lnTo>
                        <a:pt x="339" y="1084"/>
                      </a:lnTo>
                      <a:lnTo>
                        <a:pt x="334" y="1078"/>
                      </a:lnTo>
                      <a:lnTo>
                        <a:pt x="334" y="1076"/>
                      </a:lnTo>
                      <a:lnTo>
                        <a:pt x="339" y="1070"/>
                      </a:lnTo>
                      <a:lnTo>
                        <a:pt x="342" y="1070"/>
                      </a:lnTo>
                      <a:lnTo>
                        <a:pt x="339" y="1064"/>
                      </a:lnTo>
                      <a:lnTo>
                        <a:pt x="334" y="1061"/>
                      </a:lnTo>
                      <a:lnTo>
                        <a:pt x="334" y="1053"/>
                      </a:lnTo>
                      <a:lnTo>
                        <a:pt x="337" y="1051"/>
                      </a:lnTo>
                      <a:lnTo>
                        <a:pt x="337" y="1048"/>
                      </a:lnTo>
                      <a:lnTo>
                        <a:pt x="331" y="1048"/>
                      </a:lnTo>
                      <a:lnTo>
                        <a:pt x="331" y="1045"/>
                      </a:lnTo>
                      <a:lnTo>
                        <a:pt x="331" y="1043"/>
                      </a:lnTo>
                      <a:lnTo>
                        <a:pt x="329" y="1037"/>
                      </a:lnTo>
                      <a:lnTo>
                        <a:pt x="329" y="1035"/>
                      </a:lnTo>
                      <a:lnTo>
                        <a:pt x="331" y="1031"/>
                      </a:lnTo>
                      <a:lnTo>
                        <a:pt x="329" y="1028"/>
                      </a:lnTo>
                      <a:lnTo>
                        <a:pt x="314" y="1020"/>
                      </a:lnTo>
                      <a:lnTo>
                        <a:pt x="311" y="1015"/>
                      </a:lnTo>
                      <a:lnTo>
                        <a:pt x="306" y="1004"/>
                      </a:lnTo>
                      <a:lnTo>
                        <a:pt x="306" y="979"/>
                      </a:lnTo>
                      <a:lnTo>
                        <a:pt x="293" y="974"/>
                      </a:lnTo>
                      <a:lnTo>
                        <a:pt x="289" y="968"/>
                      </a:lnTo>
                      <a:lnTo>
                        <a:pt x="284" y="959"/>
                      </a:lnTo>
                      <a:lnTo>
                        <a:pt x="281" y="951"/>
                      </a:lnTo>
                      <a:lnTo>
                        <a:pt x="268" y="938"/>
                      </a:lnTo>
                      <a:lnTo>
                        <a:pt x="262" y="926"/>
                      </a:lnTo>
                      <a:lnTo>
                        <a:pt x="245" y="913"/>
                      </a:lnTo>
                      <a:lnTo>
                        <a:pt x="237" y="905"/>
                      </a:lnTo>
                      <a:lnTo>
                        <a:pt x="240" y="899"/>
                      </a:lnTo>
                      <a:lnTo>
                        <a:pt x="245" y="888"/>
                      </a:lnTo>
                      <a:lnTo>
                        <a:pt x="248" y="879"/>
                      </a:lnTo>
                      <a:lnTo>
                        <a:pt x="248" y="874"/>
                      </a:lnTo>
                      <a:lnTo>
                        <a:pt x="248" y="857"/>
                      </a:lnTo>
                      <a:lnTo>
                        <a:pt x="248" y="849"/>
                      </a:lnTo>
                      <a:lnTo>
                        <a:pt x="237" y="819"/>
                      </a:lnTo>
                      <a:lnTo>
                        <a:pt x="240" y="792"/>
                      </a:lnTo>
                      <a:lnTo>
                        <a:pt x="232" y="785"/>
                      </a:lnTo>
                      <a:lnTo>
                        <a:pt x="229" y="780"/>
                      </a:lnTo>
                      <a:lnTo>
                        <a:pt x="232" y="772"/>
                      </a:lnTo>
                      <a:lnTo>
                        <a:pt x="237" y="767"/>
                      </a:lnTo>
                      <a:lnTo>
                        <a:pt x="250" y="752"/>
                      </a:lnTo>
                      <a:lnTo>
                        <a:pt x="257" y="744"/>
                      </a:lnTo>
                      <a:lnTo>
                        <a:pt x="259" y="747"/>
                      </a:lnTo>
                      <a:lnTo>
                        <a:pt x="259" y="747"/>
                      </a:lnTo>
                      <a:close/>
                    </a:path>
                  </a:pathLst>
                </a:custGeom>
                <a:grpFill/>
                <a:ln w="12700" cap="flat" cmpd="sng" algn="ctr">
                  <a:solidFill>
                    <a:schemeClr val="bg1">
                      <a:lumMod val="85000"/>
                    </a:schemeClr>
                  </a:solidFill>
                  <a:prstDash val="solid"/>
                  <a:round/>
                  <a:headEnd type="none" w="med" len="med"/>
                  <a:tailEnd type="none" w="med" len="med"/>
                </a:ln>
              </p:spPr>
            </p:sp>
            <p:sp>
              <p:nvSpPr>
                <p:cNvPr id="60" name="ee4p_BR_21"/>
                <p:cNvSpPr>
                  <a:spLocks noEditPoints="1"/>
                </p:cNvSpPr>
                <p:nvPr>
                  <p:custDataLst>
                    <p:tags r:id="rId22"/>
                  </p:custDataLst>
                </p:nvPr>
              </p:nvSpPr>
              <p:spPr bwMode="auto">
                <a:xfrm>
                  <a:off x="4628201" y="5211099"/>
                  <a:ext cx="577000" cy="397780"/>
                </a:xfrm>
                <a:custGeom>
                  <a:avLst/>
                  <a:gdLst/>
                  <a:ahLst/>
                  <a:cxnLst>
                    <a:cxn ang="0">
                      <a:pos x="30" y="455"/>
                    </a:cxn>
                    <a:cxn ang="0">
                      <a:pos x="71" y="378"/>
                    </a:cxn>
                    <a:cxn ang="0">
                      <a:pos x="38" y="306"/>
                    </a:cxn>
                    <a:cxn ang="0">
                      <a:pos x="46" y="245"/>
                    </a:cxn>
                    <a:cxn ang="0">
                      <a:pos x="58" y="176"/>
                    </a:cxn>
                    <a:cxn ang="0">
                      <a:pos x="196" y="121"/>
                    </a:cxn>
                    <a:cxn ang="0">
                      <a:pos x="328" y="174"/>
                    </a:cxn>
                    <a:cxn ang="0">
                      <a:pos x="496" y="190"/>
                    </a:cxn>
                    <a:cxn ang="0">
                      <a:pos x="656" y="212"/>
                    </a:cxn>
                    <a:cxn ang="0">
                      <a:pos x="827" y="264"/>
                    </a:cxn>
                    <a:cxn ang="0">
                      <a:pos x="1021" y="292"/>
                    </a:cxn>
                    <a:cxn ang="0">
                      <a:pos x="1040" y="210"/>
                    </a:cxn>
                    <a:cxn ang="0">
                      <a:pos x="1112" y="130"/>
                    </a:cxn>
                    <a:cxn ang="0">
                      <a:pos x="1261" y="121"/>
                    </a:cxn>
                    <a:cxn ang="0">
                      <a:pos x="1354" y="30"/>
                    </a:cxn>
                    <a:cxn ang="0">
                      <a:pos x="1427" y="66"/>
                    </a:cxn>
                    <a:cxn ang="0">
                      <a:pos x="1499" y="38"/>
                    </a:cxn>
                    <a:cxn ang="0">
                      <a:pos x="1601" y="33"/>
                    </a:cxn>
                    <a:cxn ang="0">
                      <a:pos x="1673" y="88"/>
                    </a:cxn>
                    <a:cxn ang="0">
                      <a:pos x="1742" y="113"/>
                    </a:cxn>
                    <a:cxn ang="0">
                      <a:pos x="1805" y="82"/>
                    </a:cxn>
                    <a:cxn ang="0">
                      <a:pos x="1863" y="46"/>
                    </a:cxn>
                    <a:cxn ang="0">
                      <a:pos x="1949" y="25"/>
                    </a:cxn>
                    <a:cxn ang="0">
                      <a:pos x="2130" y="16"/>
                    </a:cxn>
                    <a:cxn ang="0">
                      <a:pos x="2100" y="337"/>
                    </a:cxn>
                    <a:cxn ang="0">
                      <a:pos x="2133" y="435"/>
                    </a:cxn>
                    <a:cxn ang="0">
                      <a:pos x="2177" y="499"/>
                    </a:cxn>
                    <a:cxn ang="0">
                      <a:pos x="2136" y="571"/>
                    </a:cxn>
                    <a:cxn ang="0">
                      <a:pos x="2128" y="616"/>
                    </a:cxn>
                    <a:cxn ang="0">
                      <a:pos x="2130" y="734"/>
                    </a:cxn>
                    <a:cxn ang="0">
                      <a:pos x="2128" y="869"/>
                    </a:cxn>
                    <a:cxn ang="0">
                      <a:pos x="2087" y="995"/>
                    </a:cxn>
                    <a:cxn ang="0">
                      <a:pos x="1890" y="1192"/>
                    </a:cxn>
                    <a:cxn ang="0">
                      <a:pos x="1620" y="1379"/>
                    </a:cxn>
                    <a:cxn ang="0">
                      <a:pos x="1535" y="1417"/>
                    </a:cxn>
                    <a:cxn ang="0">
                      <a:pos x="1507" y="1365"/>
                    </a:cxn>
                    <a:cxn ang="0">
                      <a:pos x="1529" y="1349"/>
                    </a:cxn>
                    <a:cxn ang="0">
                      <a:pos x="1578" y="1304"/>
                    </a:cxn>
                    <a:cxn ang="0">
                      <a:pos x="1581" y="1244"/>
                    </a:cxn>
                    <a:cxn ang="0">
                      <a:pos x="1578" y="1176"/>
                    </a:cxn>
                    <a:cxn ang="0">
                      <a:pos x="1628" y="1145"/>
                    </a:cxn>
                    <a:cxn ang="0">
                      <a:pos x="1663" y="1084"/>
                    </a:cxn>
                    <a:cxn ang="0">
                      <a:pos x="1620" y="1043"/>
                    </a:cxn>
                    <a:cxn ang="0">
                      <a:pos x="1512" y="1046"/>
                    </a:cxn>
                    <a:cxn ang="0">
                      <a:pos x="1423" y="1040"/>
                    </a:cxn>
                    <a:cxn ang="0">
                      <a:pos x="1289" y="998"/>
                    </a:cxn>
                    <a:cxn ang="0">
                      <a:pos x="1200" y="885"/>
                    </a:cxn>
                    <a:cxn ang="0">
                      <a:pos x="1098" y="775"/>
                    </a:cxn>
                    <a:cxn ang="0">
                      <a:pos x="968" y="695"/>
                    </a:cxn>
                    <a:cxn ang="0">
                      <a:pos x="878" y="648"/>
                    </a:cxn>
                    <a:cxn ang="0">
                      <a:pos x="781" y="629"/>
                    </a:cxn>
                    <a:cxn ang="0">
                      <a:pos x="704" y="573"/>
                    </a:cxn>
                    <a:cxn ang="0">
                      <a:pos x="626" y="568"/>
                    </a:cxn>
                    <a:cxn ang="0">
                      <a:pos x="518" y="540"/>
                    </a:cxn>
                    <a:cxn ang="0">
                      <a:pos x="408" y="524"/>
                    </a:cxn>
                    <a:cxn ang="0">
                      <a:pos x="328" y="471"/>
                    </a:cxn>
                    <a:cxn ang="0">
                      <a:pos x="217" y="491"/>
                    </a:cxn>
                    <a:cxn ang="0">
                      <a:pos x="91" y="516"/>
                    </a:cxn>
                    <a:cxn ang="0">
                      <a:pos x="2153" y="706"/>
                    </a:cxn>
                    <a:cxn ang="0">
                      <a:pos x="2158" y="624"/>
                    </a:cxn>
                    <a:cxn ang="0">
                      <a:pos x="2202" y="683"/>
                    </a:cxn>
                    <a:cxn ang="0">
                      <a:pos x="2141" y="786"/>
                    </a:cxn>
                  </a:cxnLst>
                  <a:rect l="0" t="0" r="r" b="b"/>
                  <a:pathLst>
                    <a:path w="2227" h="1421">
                      <a:moveTo>
                        <a:pt x="2" y="507"/>
                      </a:moveTo>
                      <a:lnTo>
                        <a:pt x="2" y="504"/>
                      </a:lnTo>
                      <a:lnTo>
                        <a:pt x="0" y="502"/>
                      </a:lnTo>
                      <a:lnTo>
                        <a:pt x="2" y="499"/>
                      </a:lnTo>
                      <a:lnTo>
                        <a:pt x="17" y="496"/>
                      </a:lnTo>
                      <a:lnTo>
                        <a:pt x="17" y="494"/>
                      </a:lnTo>
                      <a:lnTo>
                        <a:pt x="8" y="496"/>
                      </a:lnTo>
                      <a:lnTo>
                        <a:pt x="5" y="491"/>
                      </a:lnTo>
                      <a:lnTo>
                        <a:pt x="8" y="491"/>
                      </a:lnTo>
                      <a:lnTo>
                        <a:pt x="13" y="488"/>
                      </a:lnTo>
                      <a:lnTo>
                        <a:pt x="13" y="486"/>
                      </a:lnTo>
                      <a:lnTo>
                        <a:pt x="13" y="483"/>
                      </a:lnTo>
                      <a:lnTo>
                        <a:pt x="8" y="480"/>
                      </a:lnTo>
                      <a:lnTo>
                        <a:pt x="8" y="478"/>
                      </a:lnTo>
                      <a:lnTo>
                        <a:pt x="10" y="478"/>
                      </a:lnTo>
                      <a:lnTo>
                        <a:pt x="13" y="483"/>
                      </a:lnTo>
                      <a:lnTo>
                        <a:pt x="17" y="483"/>
                      </a:lnTo>
                      <a:lnTo>
                        <a:pt x="25" y="480"/>
                      </a:lnTo>
                      <a:lnTo>
                        <a:pt x="13" y="471"/>
                      </a:lnTo>
                      <a:lnTo>
                        <a:pt x="13" y="468"/>
                      </a:lnTo>
                      <a:lnTo>
                        <a:pt x="17" y="463"/>
                      </a:lnTo>
                      <a:lnTo>
                        <a:pt x="22" y="468"/>
                      </a:lnTo>
                      <a:lnTo>
                        <a:pt x="27" y="468"/>
                      </a:lnTo>
                      <a:lnTo>
                        <a:pt x="25" y="466"/>
                      </a:lnTo>
                      <a:lnTo>
                        <a:pt x="22" y="466"/>
                      </a:lnTo>
                      <a:lnTo>
                        <a:pt x="17" y="460"/>
                      </a:lnTo>
                      <a:lnTo>
                        <a:pt x="13" y="455"/>
                      </a:lnTo>
                      <a:lnTo>
                        <a:pt x="19" y="455"/>
                      </a:lnTo>
                      <a:lnTo>
                        <a:pt x="25" y="460"/>
                      </a:lnTo>
                      <a:lnTo>
                        <a:pt x="27" y="466"/>
                      </a:lnTo>
                      <a:lnTo>
                        <a:pt x="33" y="463"/>
                      </a:lnTo>
                      <a:lnTo>
                        <a:pt x="30" y="460"/>
                      </a:lnTo>
                      <a:lnTo>
                        <a:pt x="25" y="458"/>
                      </a:lnTo>
                      <a:lnTo>
                        <a:pt x="22" y="447"/>
                      </a:lnTo>
                      <a:lnTo>
                        <a:pt x="25" y="450"/>
                      </a:lnTo>
                      <a:lnTo>
                        <a:pt x="30" y="455"/>
                      </a:lnTo>
                      <a:lnTo>
                        <a:pt x="33" y="452"/>
                      </a:lnTo>
                      <a:lnTo>
                        <a:pt x="35" y="450"/>
                      </a:lnTo>
                      <a:lnTo>
                        <a:pt x="35" y="447"/>
                      </a:lnTo>
                      <a:lnTo>
                        <a:pt x="33" y="444"/>
                      </a:lnTo>
                      <a:lnTo>
                        <a:pt x="30" y="438"/>
                      </a:lnTo>
                      <a:lnTo>
                        <a:pt x="35" y="438"/>
                      </a:lnTo>
                      <a:lnTo>
                        <a:pt x="38" y="444"/>
                      </a:lnTo>
                      <a:lnTo>
                        <a:pt x="43" y="438"/>
                      </a:lnTo>
                      <a:lnTo>
                        <a:pt x="38" y="433"/>
                      </a:lnTo>
                      <a:lnTo>
                        <a:pt x="46" y="433"/>
                      </a:lnTo>
                      <a:lnTo>
                        <a:pt x="49" y="433"/>
                      </a:lnTo>
                      <a:lnTo>
                        <a:pt x="49" y="430"/>
                      </a:lnTo>
                      <a:lnTo>
                        <a:pt x="41" y="425"/>
                      </a:lnTo>
                      <a:lnTo>
                        <a:pt x="43" y="425"/>
                      </a:lnTo>
                      <a:lnTo>
                        <a:pt x="43" y="419"/>
                      </a:lnTo>
                      <a:lnTo>
                        <a:pt x="49" y="422"/>
                      </a:lnTo>
                      <a:lnTo>
                        <a:pt x="55" y="419"/>
                      </a:lnTo>
                      <a:lnTo>
                        <a:pt x="55" y="417"/>
                      </a:lnTo>
                      <a:lnTo>
                        <a:pt x="52" y="411"/>
                      </a:lnTo>
                      <a:lnTo>
                        <a:pt x="52" y="409"/>
                      </a:lnTo>
                      <a:lnTo>
                        <a:pt x="63" y="414"/>
                      </a:lnTo>
                      <a:lnTo>
                        <a:pt x="66" y="414"/>
                      </a:lnTo>
                      <a:lnTo>
                        <a:pt x="69" y="414"/>
                      </a:lnTo>
                      <a:lnTo>
                        <a:pt x="63" y="411"/>
                      </a:lnTo>
                      <a:lnTo>
                        <a:pt x="58" y="405"/>
                      </a:lnTo>
                      <a:lnTo>
                        <a:pt x="63" y="402"/>
                      </a:lnTo>
                      <a:lnTo>
                        <a:pt x="66" y="399"/>
                      </a:lnTo>
                      <a:lnTo>
                        <a:pt x="63" y="397"/>
                      </a:lnTo>
                      <a:lnTo>
                        <a:pt x="66" y="391"/>
                      </a:lnTo>
                      <a:lnTo>
                        <a:pt x="58" y="389"/>
                      </a:lnTo>
                      <a:lnTo>
                        <a:pt x="60" y="386"/>
                      </a:lnTo>
                      <a:lnTo>
                        <a:pt x="63" y="381"/>
                      </a:lnTo>
                      <a:lnTo>
                        <a:pt x="58" y="381"/>
                      </a:lnTo>
                      <a:lnTo>
                        <a:pt x="58" y="378"/>
                      </a:lnTo>
                      <a:lnTo>
                        <a:pt x="71" y="381"/>
                      </a:lnTo>
                      <a:lnTo>
                        <a:pt x="71" y="378"/>
                      </a:lnTo>
                      <a:lnTo>
                        <a:pt x="69" y="375"/>
                      </a:lnTo>
                      <a:lnTo>
                        <a:pt x="66" y="373"/>
                      </a:lnTo>
                      <a:lnTo>
                        <a:pt x="58" y="373"/>
                      </a:lnTo>
                      <a:lnTo>
                        <a:pt x="58" y="369"/>
                      </a:lnTo>
                      <a:lnTo>
                        <a:pt x="60" y="369"/>
                      </a:lnTo>
                      <a:lnTo>
                        <a:pt x="58" y="366"/>
                      </a:lnTo>
                      <a:lnTo>
                        <a:pt x="55" y="361"/>
                      </a:lnTo>
                      <a:lnTo>
                        <a:pt x="52" y="358"/>
                      </a:lnTo>
                      <a:lnTo>
                        <a:pt x="52" y="356"/>
                      </a:lnTo>
                      <a:lnTo>
                        <a:pt x="55" y="358"/>
                      </a:lnTo>
                      <a:lnTo>
                        <a:pt x="58" y="358"/>
                      </a:lnTo>
                      <a:lnTo>
                        <a:pt x="55" y="353"/>
                      </a:lnTo>
                      <a:lnTo>
                        <a:pt x="52" y="353"/>
                      </a:lnTo>
                      <a:lnTo>
                        <a:pt x="49" y="348"/>
                      </a:lnTo>
                      <a:lnTo>
                        <a:pt x="49" y="345"/>
                      </a:lnTo>
                      <a:lnTo>
                        <a:pt x="55" y="342"/>
                      </a:lnTo>
                      <a:lnTo>
                        <a:pt x="55" y="339"/>
                      </a:lnTo>
                      <a:lnTo>
                        <a:pt x="49" y="339"/>
                      </a:lnTo>
                      <a:lnTo>
                        <a:pt x="49" y="342"/>
                      </a:lnTo>
                      <a:lnTo>
                        <a:pt x="43" y="342"/>
                      </a:lnTo>
                      <a:lnTo>
                        <a:pt x="38" y="337"/>
                      </a:lnTo>
                      <a:lnTo>
                        <a:pt x="43" y="339"/>
                      </a:lnTo>
                      <a:lnTo>
                        <a:pt x="46" y="337"/>
                      </a:lnTo>
                      <a:lnTo>
                        <a:pt x="49" y="337"/>
                      </a:lnTo>
                      <a:lnTo>
                        <a:pt x="49" y="330"/>
                      </a:lnTo>
                      <a:lnTo>
                        <a:pt x="46" y="328"/>
                      </a:lnTo>
                      <a:lnTo>
                        <a:pt x="43" y="322"/>
                      </a:lnTo>
                      <a:lnTo>
                        <a:pt x="41" y="328"/>
                      </a:lnTo>
                      <a:lnTo>
                        <a:pt x="35" y="328"/>
                      </a:lnTo>
                      <a:lnTo>
                        <a:pt x="38" y="322"/>
                      </a:lnTo>
                      <a:lnTo>
                        <a:pt x="33" y="320"/>
                      </a:lnTo>
                      <a:lnTo>
                        <a:pt x="33" y="314"/>
                      </a:lnTo>
                      <a:lnTo>
                        <a:pt x="35" y="320"/>
                      </a:lnTo>
                      <a:lnTo>
                        <a:pt x="41" y="317"/>
                      </a:lnTo>
                      <a:lnTo>
                        <a:pt x="43" y="312"/>
                      </a:lnTo>
                      <a:lnTo>
                        <a:pt x="38" y="306"/>
                      </a:lnTo>
                      <a:lnTo>
                        <a:pt x="38" y="304"/>
                      </a:lnTo>
                      <a:lnTo>
                        <a:pt x="41" y="304"/>
                      </a:lnTo>
                      <a:lnTo>
                        <a:pt x="43" y="309"/>
                      </a:lnTo>
                      <a:lnTo>
                        <a:pt x="49" y="304"/>
                      </a:lnTo>
                      <a:lnTo>
                        <a:pt x="43" y="300"/>
                      </a:lnTo>
                      <a:lnTo>
                        <a:pt x="43" y="297"/>
                      </a:lnTo>
                      <a:lnTo>
                        <a:pt x="49" y="297"/>
                      </a:lnTo>
                      <a:lnTo>
                        <a:pt x="46" y="292"/>
                      </a:lnTo>
                      <a:lnTo>
                        <a:pt x="46" y="289"/>
                      </a:lnTo>
                      <a:lnTo>
                        <a:pt x="46" y="292"/>
                      </a:lnTo>
                      <a:lnTo>
                        <a:pt x="41" y="292"/>
                      </a:lnTo>
                      <a:lnTo>
                        <a:pt x="41" y="289"/>
                      </a:lnTo>
                      <a:lnTo>
                        <a:pt x="38" y="289"/>
                      </a:lnTo>
                      <a:lnTo>
                        <a:pt x="33" y="287"/>
                      </a:lnTo>
                      <a:lnTo>
                        <a:pt x="35" y="284"/>
                      </a:lnTo>
                      <a:lnTo>
                        <a:pt x="38" y="287"/>
                      </a:lnTo>
                      <a:lnTo>
                        <a:pt x="38" y="281"/>
                      </a:lnTo>
                      <a:lnTo>
                        <a:pt x="41" y="281"/>
                      </a:lnTo>
                      <a:lnTo>
                        <a:pt x="43" y="276"/>
                      </a:lnTo>
                      <a:lnTo>
                        <a:pt x="41" y="273"/>
                      </a:lnTo>
                      <a:lnTo>
                        <a:pt x="43" y="273"/>
                      </a:lnTo>
                      <a:lnTo>
                        <a:pt x="43" y="270"/>
                      </a:lnTo>
                      <a:lnTo>
                        <a:pt x="43" y="268"/>
                      </a:lnTo>
                      <a:lnTo>
                        <a:pt x="43" y="264"/>
                      </a:lnTo>
                      <a:lnTo>
                        <a:pt x="46" y="264"/>
                      </a:lnTo>
                      <a:lnTo>
                        <a:pt x="46" y="253"/>
                      </a:lnTo>
                      <a:lnTo>
                        <a:pt x="52" y="253"/>
                      </a:lnTo>
                      <a:lnTo>
                        <a:pt x="52" y="251"/>
                      </a:lnTo>
                      <a:lnTo>
                        <a:pt x="49" y="251"/>
                      </a:lnTo>
                      <a:lnTo>
                        <a:pt x="43" y="253"/>
                      </a:lnTo>
                      <a:lnTo>
                        <a:pt x="41" y="253"/>
                      </a:lnTo>
                      <a:lnTo>
                        <a:pt x="46" y="251"/>
                      </a:lnTo>
                      <a:lnTo>
                        <a:pt x="43" y="248"/>
                      </a:lnTo>
                      <a:lnTo>
                        <a:pt x="38" y="245"/>
                      </a:lnTo>
                      <a:lnTo>
                        <a:pt x="43" y="243"/>
                      </a:lnTo>
                      <a:lnTo>
                        <a:pt x="46" y="245"/>
                      </a:lnTo>
                      <a:lnTo>
                        <a:pt x="46" y="243"/>
                      </a:lnTo>
                      <a:lnTo>
                        <a:pt x="49" y="237"/>
                      </a:lnTo>
                      <a:lnTo>
                        <a:pt x="43" y="237"/>
                      </a:lnTo>
                      <a:lnTo>
                        <a:pt x="43" y="228"/>
                      </a:lnTo>
                      <a:lnTo>
                        <a:pt x="46" y="228"/>
                      </a:lnTo>
                      <a:lnTo>
                        <a:pt x="46" y="232"/>
                      </a:lnTo>
                      <a:lnTo>
                        <a:pt x="49" y="228"/>
                      </a:lnTo>
                      <a:lnTo>
                        <a:pt x="55" y="232"/>
                      </a:lnTo>
                      <a:lnTo>
                        <a:pt x="52" y="226"/>
                      </a:lnTo>
                      <a:lnTo>
                        <a:pt x="55" y="223"/>
                      </a:lnTo>
                      <a:lnTo>
                        <a:pt x="58" y="223"/>
                      </a:lnTo>
                      <a:lnTo>
                        <a:pt x="55" y="218"/>
                      </a:lnTo>
                      <a:lnTo>
                        <a:pt x="58" y="218"/>
                      </a:lnTo>
                      <a:lnTo>
                        <a:pt x="55" y="215"/>
                      </a:lnTo>
                      <a:lnTo>
                        <a:pt x="52" y="220"/>
                      </a:lnTo>
                      <a:lnTo>
                        <a:pt x="52" y="215"/>
                      </a:lnTo>
                      <a:lnTo>
                        <a:pt x="49" y="215"/>
                      </a:lnTo>
                      <a:lnTo>
                        <a:pt x="55" y="212"/>
                      </a:lnTo>
                      <a:lnTo>
                        <a:pt x="58" y="215"/>
                      </a:lnTo>
                      <a:lnTo>
                        <a:pt x="58" y="210"/>
                      </a:lnTo>
                      <a:lnTo>
                        <a:pt x="55" y="207"/>
                      </a:lnTo>
                      <a:lnTo>
                        <a:pt x="55" y="204"/>
                      </a:lnTo>
                      <a:lnTo>
                        <a:pt x="58" y="202"/>
                      </a:lnTo>
                      <a:lnTo>
                        <a:pt x="58" y="204"/>
                      </a:lnTo>
                      <a:lnTo>
                        <a:pt x="60" y="204"/>
                      </a:lnTo>
                      <a:lnTo>
                        <a:pt x="60" y="199"/>
                      </a:lnTo>
                      <a:lnTo>
                        <a:pt x="58" y="199"/>
                      </a:lnTo>
                      <a:lnTo>
                        <a:pt x="58" y="192"/>
                      </a:lnTo>
                      <a:lnTo>
                        <a:pt x="55" y="192"/>
                      </a:lnTo>
                      <a:lnTo>
                        <a:pt x="52" y="190"/>
                      </a:lnTo>
                      <a:lnTo>
                        <a:pt x="55" y="190"/>
                      </a:lnTo>
                      <a:lnTo>
                        <a:pt x="58" y="187"/>
                      </a:lnTo>
                      <a:lnTo>
                        <a:pt x="52" y="184"/>
                      </a:lnTo>
                      <a:lnTo>
                        <a:pt x="52" y="179"/>
                      </a:lnTo>
                      <a:lnTo>
                        <a:pt x="55" y="179"/>
                      </a:lnTo>
                      <a:lnTo>
                        <a:pt x="58" y="176"/>
                      </a:lnTo>
                      <a:lnTo>
                        <a:pt x="55" y="174"/>
                      </a:lnTo>
                      <a:lnTo>
                        <a:pt x="55" y="171"/>
                      </a:lnTo>
                      <a:lnTo>
                        <a:pt x="60" y="168"/>
                      </a:lnTo>
                      <a:lnTo>
                        <a:pt x="58" y="166"/>
                      </a:lnTo>
                      <a:lnTo>
                        <a:pt x="60" y="166"/>
                      </a:lnTo>
                      <a:lnTo>
                        <a:pt x="60" y="159"/>
                      </a:lnTo>
                      <a:lnTo>
                        <a:pt x="66" y="157"/>
                      </a:lnTo>
                      <a:lnTo>
                        <a:pt x="69" y="157"/>
                      </a:lnTo>
                      <a:lnTo>
                        <a:pt x="66" y="154"/>
                      </a:lnTo>
                      <a:lnTo>
                        <a:pt x="69" y="154"/>
                      </a:lnTo>
                      <a:lnTo>
                        <a:pt x="69" y="151"/>
                      </a:lnTo>
                      <a:lnTo>
                        <a:pt x="74" y="143"/>
                      </a:lnTo>
                      <a:lnTo>
                        <a:pt x="77" y="138"/>
                      </a:lnTo>
                      <a:lnTo>
                        <a:pt x="79" y="133"/>
                      </a:lnTo>
                      <a:lnTo>
                        <a:pt x="79" y="126"/>
                      </a:lnTo>
                      <a:lnTo>
                        <a:pt x="79" y="123"/>
                      </a:lnTo>
                      <a:lnTo>
                        <a:pt x="86" y="126"/>
                      </a:lnTo>
                      <a:lnTo>
                        <a:pt x="88" y="126"/>
                      </a:lnTo>
                      <a:lnTo>
                        <a:pt x="94" y="126"/>
                      </a:lnTo>
                      <a:lnTo>
                        <a:pt x="102" y="123"/>
                      </a:lnTo>
                      <a:lnTo>
                        <a:pt x="104" y="133"/>
                      </a:lnTo>
                      <a:lnTo>
                        <a:pt x="107" y="133"/>
                      </a:lnTo>
                      <a:lnTo>
                        <a:pt x="115" y="138"/>
                      </a:lnTo>
                      <a:lnTo>
                        <a:pt x="115" y="141"/>
                      </a:lnTo>
                      <a:lnTo>
                        <a:pt x="127" y="141"/>
                      </a:lnTo>
                      <a:lnTo>
                        <a:pt x="138" y="143"/>
                      </a:lnTo>
                      <a:lnTo>
                        <a:pt x="146" y="141"/>
                      </a:lnTo>
                      <a:lnTo>
                        <a:pt x="148" y="141"/>
                      </a:lnTo>
                      <a:lnTo>
                        <a:pt x="151" y="141"/>
                      </a:lnTo>
                      <a:lnTo>
                        <a:pt x="160" y="135"/>
                      </a:lnTo>
                      <a:lnTo>
                        <a:pt x="165" y="135"/>
                      </a:lnTo>
                      <a:lnTo>
                        <a:pt x="168" y="133"/>
                      </a:lnTo>
                      <a:lnTo>
                        <a:pt x="184" y="121"/>
                      </a:lnTo>
                      <a:lnTo>
                        <a:pt x="187" y="118"/>
                      </a:lnTo>
                      <a:lnTo>
                        <a:pt x="193" y="123"/>
                      </a:lnTo>
                      <a:lnTo>
                        <a:pt x="196" y="121"/>
                      </a:lnTo>
                      <a:lnTo>
                        <a:pt x="198" y="123"/>
                      </a:lnTo>
                      <a:lnTo>
                        <a:pt x="198" y="121"/>
                      </a:lnTo>
                      <a:lnTo>
                        <a:pt x="201" y="121"/>
                      </a:lnTo>
                      <a:lnTo>
                        <a:pt x="204" y="121"/>
                      </a:lnTo>
                      <a:lnTo>
                        <a:pt x="204" y="123"/>
                      </a:lnTo>
                      <a:lnTo>
                        <a:pt x="209" y="123"/>
                      </a:lnTo>
                      <a:lnTo>
                        <a:pt x="212" y="126"/>
                      </a:lnTo>
                      <a:lnTo>
                        <a:pt x="215" y="126"/>
                      </a:lnTo>
                      <a:lnTo>
                        <a:pt x="226" y="121"/>
                      </a:lnTo>
                      <a:lnTo>
                        <a:pt x="226" y="126"/>
                      </a:lnTo>
                      <a:lnTo>
                        <a:pt x="229" y="126"/>
                      </a:lnTo>
                      <a:lnTo>
                        <a:pt x="234" y="135"/>
                      </a:lnTo>
                      <a:lnTo>
                        <a:pt x="234" y="138"/>
                      </a:lnTo>
                      <a:lnTo>
                        <a:pt x="237" y="141"/>
                      </a:lnTo>
                      <a:lnTo>
                        <a:pt x="237" y="143"/>
                      </a:lnTo>
                      <a:lnTo>
                        <a:pt x="240" y="143"/>
                      </a:lnTo>
                      <a:lnTo>
                        <a:pt x="245" y="149"/>
                      </a:lnTo>
                      <a:lnTo>
                        <a:pt x="256" y="154"/>
                      </a:lnTo>
                      <a:lnTo>
                        <a:pt x="256" y="157"/>
                      </a:lnTo>
                      <a:lnTo>
                        <a:pt x="259" y="157"/>
                      </a:lnTo>
                      <a:lnTo>
                        <a:pt x="265" y="163"/>
                      </a:lnTo>
                      <a:lnTo>
                        <a:pt x="270" y="163"/>
                      </a:lnTo>
                      <a:lnTo>
                        <a:pt x="273" y="166"/>
                      </a:lnTo>
                      <a:lnTo>
                        <a:pt x="275" y="166"/>
                      </a:lnTo>
                      <a:lnTo>
                        <a:pt x="278" y="163"/>
                      </a:lnTo>
                      <a:lnTo>
                        <a:pt x="281" y="163"/>
                      </a:lnTo>
                      <a:lnTo>
                        <a:pt x="284" y="168"/>
                      </a:lnTo>
                      <a:lnTo>
                        <a:pt x="286" y="171"/>
                      </a:lnTo>
                      <a:lnTo>
                        <a:pt x="289" y="174"/>
                      </a:lnTo>
                      <a:lnTo>
                        <a:pt x="295" y="176"/>
                      </a:lnTo>
                      <a:lnTo>
                        <a:pt x="298" y="176"/>
                      </a:lnTo>
                      <a:lnTo>
                        <a:pt x="301" y="179"/>
                      </a:lnTo>
                      <a:lnTo>
                        <a:pt x="303" y="182"/>
                      </a:lnTo>
                      <a:lnTo>
                        <a:pt x="309" y="182"/>
                      </a:lnTo>
                      <a:lnTo>
                        <a:pt x="319" y="176"/>
                      </a:lnTo>
                      <a:lnTo>
                        <a:pt x="328" y="174"/>
                      </a:lnTo>
                      <a:lnTo>
                        <a:pt x="344" y="163"/>
                      </a:lnTo>
                      <a:lnTo>
                        <a:pt x="362" y="171"/>
                      </a:lnTo>
                      <a:lnTo>
                        <a:pt x="367" y="168"/>
                      </a:lnTo>
                      <a:lnTo>
                        <a:pt x="370" y="168"/>
                      </a:lnTo>
                      <a:lnTo>
                        <a:pt x="375" y="166"/>
                      </a:lnTo>
                      <a:lnTo>
                        <a:pt x="378" y="168"/>
                      </a:lnTo>
                      <a:lnTo>
                        <a:pt x="383" y="168"/>
                      </a:lnTo>
                      <a:lnTo>
                        <a:pt x="386" y="168"/>
                      </a:lnTo>
                      <a:lnTo>
                        <a:pt x="388" y="168"/>
                      </a:lnTo>
                      <a:lnTo>
                        <a:pt x="391" y="168"/>
                      </a:lnTo>
                      <a:lnTo>
                        <a:pt x="403" y="163"/>
                      </a:lnTo>
                      <a:lnTo>
                        <a:pt x="405" y="163"/>
                      </a:lnTo>
                      <a:lnTo>
                        <a:pt x="411" y="163"/>
                      </a:lnTo>
                      <a:lnTo>
                        <a:pt x="416" y="163"/>
                      </a:lnTo>
                      <a:lnTo>
                        <a:pt x="419" y="163"/>
                      </a:lnTo>
                      <a:lnTo>
                        <a:pt x="422" y="166"/>
                      </a:lnTo>
                      <a:lnTo>
                        <a:pt x="424" y="166"/>
                      </a:lnTo>
                      <a:lnTo>
                        <a:pt x="431" y="163"/>
                      </a:lnTo>
                      <a:lnTo>
                        <a:pt x="436" y="166"/>
                      </a:lnTo>
                      <a:lnTo>
                        <a:pt x="439" y="166"/>
                      </a:lnTo>
                      <a:lnTo>
                        <a:pt x="441" y="163"/>
                      </a:lnTo>
                      <a:lnTo>
                        <a:pt x="444" y="163"/>
                      </a:lnTo>
                      <a:lnTo>
                        <a:pt x="447" y="159"/>
                      </a:lnTo>
                      <a:lnTo>
                        <a:pt x="452" y="163"/>
                      </a:lnTo>
                      <a:lnTo>
                        <a:pt x="455" y="168"/>
                      </a:lnTo>
                      <a:lnTo>
                        <a:pt x="457" y="166"/>
                      </a:lnTo>
                      <a:lnTo>
                        <a:pt x="460" y="168"/>
                      </a:lnTo>
                      <a:lnTo>
                        <a:pt x="464" y="168"/>
                      </a:lnTo>
                      <a:lnTo>
                        <a:pt x="472" y="166"/>
                      </a:lnTo>
                      <a:lnTo>
                        <a:pt x="480" y="174"/>
                      </a:lnTo>
                      <a:lnTo>
                        <a:pt x="485" y="176"/>
                      </a:lnTo>
                      <a:lnTo>
                        <a:pt x="488" y="179"/>
                      </a:lnTo>
                      <a:lnTo>
                        <a:pt x="488" y="182"/>
                      </a:lnTo>
                      <a:lnTo>
                        <a:pt x="493" y="184"/>
                      </a:lnTo>
                      <a:lnTo>
                        <a:pt x="496" y="187"/>
                      </a:lnTo>
                      <a:lnTo>
                        <a:pt x="496" y="190"/>
                      </a:lnTo>
                      <a:lnTo>
                        <a:pt x="500" y="190"/>
                      </a:lnTo>
                      <a:lnTo>
                        <a:pt x="502" y="190"/>
                      </a:lnTo>
                      <a:lnTo>
                        <a:pt x="505" y="192"/>
                      </a:lnTo>
                      <a:lnTo>
                        <a:pt x="510" y="187"/>
                      </a:lnTo>
                      <a:lnTo>
                        <a:pt x="516" y="190"/>
                      </a:lnTo>
                      <a:lnTo>
                        <a:pt x="518" y="187"/>
                      </a:lnTo>
                      <a:lnTo>
                        <a:pt x="521" y="190"/>
                      </a:lnTo>
                      <a:lnTo>
                        <a:pt x="526" y="187"/>
                      </a:lnTo>
                      <a:lnTo>
                        <a:pt x="535" y="184"/>
                      </a:lnTo>
                      <a:lnTo>
                        <a:pt x="546" y="192"/>
                      </a:lnTo>
                      <a:lnTo>
                        <a:pt x="552" y="192"/>
                      </a:lnTo>
                      <a:lnTo>
                        <a:pt x="557" y="202"/>
                      </a:lnTo>
                      <a:lnTo>
                        <a:pt x="560" y="202"/>
                      </a:lnTo>
                      <a:lnTo>
                        <a:pt x="562" y="202"/>
                      </a:lnTo>
                      <a:lnTo>
                        <a:pt x="565" y="202"/>
                      </a:lnTo>
                      <a:lnTo>
                        <a:pt x="574" y="202"/>
                      </a:lnTo>
                      <a:lnTo>
                        <a:pt x="577" y="202"/>
                      </a:lnTo>
                      <a:lnTo>
                        <a:pt x="582" y="199"/>
                      </a:lnTo>
                      <a:lnTo>
                        <a:pt x="585" y="195"/>
                      </a:lnTo>
                      <a:lnTo>
                        <a:pt x="587" y="199"/>
                      </a:lnTo>
                      <a:lnTo>
                        <a:pt x="590" y="202"/>
                      </a:lnTo>
                      <a:lnTo>
                        <a:pt x="593" y="202"/>
                      </a:lnTo>
                      <a:lnTo>
                        <a:pt x="598" y="199"/>
                      </a:lnTo>
                      <a:lnTo>
                        <a:pt x="604" y="204"/>
                      </a:lnTo>
                      <a:lnTo>
                        <a:pt x="607" y="199"/>
                      </a:lnTo>
                      <a:lnTo>
                        <a:pt x="610" y="204"/>
                      </a:lnTo>
                      <a:lnTo>
                        <a:pt x="615" y="202"/>
                      </a:lnTo>
                      <a:lnTo>
                        <a:pt x="623" y="202"/>
                      </a:lnTo>
                      <a:lnTo>
                        <a:pt x="631" y="210"/>
                      </a:lnTo>
                      <a:lnTo>
                        <a:pt x="631" y="212"/>
                      </a:lnTo>
                      <a:lnTo>
                        <a:pt x="634" y="212"/>
                      </a:lnTo>
                      <a:lnTo>
                        <a:pt x="640" y="210"/>
                      </a:lnTo>
                      <a:lnTo>
                        <a:pt x="643" y="210"/>
                      </a:lnTo>
                      <a:lnTo>
                        <a:pt x="646" y="210"/>
                      </a:lnTo>
                      <a:lnTo>
                        <a:pt x="648" y="212"/>
                      </a:lnTo>
                      <a:lnTo>
                        <a:pt x="656" y="212"/>
                      </a:lnTo>
                      <a:lnTo>
                        <a:pt x="664" y="210"/>
                      </a:lnTo>
                      <a:lnTo>
                        <a:pt x="671" y="204"/>
                      </a:lnTo>
                      <a:lnTo>
                        <a:pt x="681" y="215"/>
                      </a:lnTo>
                      <a:lnTo>
                        <a:pt x="687" y="215"/>
                      </a:lnTo>
                      <a:lnTo>
                        <a:pt x="692" y="215"/>
                      </a:lnTo>
                      <a:lnTo>
                        <a:pt x="695" y="218"/>
                      </a:lnTo>
                      <a:lnTo>
                        <a:pt x="700" y="218"/>
                      </a:lnTo>
                      <a:lnTo>
                        <a:pt x="707" y="220"/>
                      </a:lnTo>
                      <a:lnTo>
                        <a:pt x="707" y="228"/>
                      </a:lnTo>
                      <a:lnTo>
                        <a:pt x="709" y="232"/>
                      </a:lnTo>
                      <a:lnTo>
                        <a:pt x="712" y="232"/>
                      </a:lnTo>
                      <a:lnTo>
                        <a:pt x="715" y="237"/>
                      </a:lnTo>
                      <a:lnTo>
                        <a:pt x="720" y="237"/>
                      </a:lnTo>
                      <a:lnTo>
                        <a:pt x="723" y="240"/>
                      </a:lnTo>
                      <a:lnTo>
                        <a:pt x="725" y="240"/>
                      </a:lnTo>
                      <a:lnTo>
                        <a:pt x="728" y="243"/>
                      </a:lnTo>
                      <a:lnTo>
                        <a:pt x="733" y="245"/>
                      </a:lnTo>
                      <a:lnTo>
                        <a:pt x="733" y="248"/>
                      </a:lnTo>
                      <a:lnTo>
                        <a:pt x="740" y="248"/>
                      </a:lnTo>
                      <a:lnTo>
                        <a:pt x="740" y="251"/>
                      </a:lnTo>
                      <a:lnTo>
                        <a:pt x="742" y="256"/>
                      </a:lnTo>
                      <a:lnTo>
                        <a:pt x="753" y="253"/>
                      </a:lnTo>
                      <a:lnTo>
                        <a:pt x="753" y="256"/>
                      </a:lnTo>
                      <a:lnTo>
                        <a:pt x="758" y="256"/>
                      </a:lnTo>
                      <a:lnTo>
                        <a:pt x="764" y="259"/>
                      </a:lnTo>
                      <a:lnTo>
                        <a:pt x="767" y="256"/>
                      </a:lnTo>
                      <a:lnTo>
                        <a:pt x="776" y="261"/>
                      </a:lnTo>
                      <a:lnTo>
                        <a:pt x="786" y="261"/>
                      </a:lnTo>
                      <a:lnTo>
                        <a:pt x="794" y="264"/>
                      </a:lnTo>
                      <a:lnTo>
                        <a:pt x="794" y="268"/>
                      </a:lnTo>
                      <a:lnTo>
                        <a:pt x="797" y="270"/>
                      </a:lnTo>
                      <a:lnTo>
                        <a:pt x="800" y="270"/>
                      </a:lnTo>
                      <a:lnTo>
                        <a:pt x="805" y="264"/>
                      </a:lnTo>
                      <a:lnTo>
                        <a:pt x="811" y="268"/>
                      </a:lnTo>
                      <a:lnTo>
                        <a:pt x="819" y="261"/>
                      </a:lnTo>
                      <a:lnTo>
                        <a:pt x="827" y="264"/>
                      </a:lnTo>
                      <a:lnTo>
                        <a:pt x="833" y="264"/>
                      </a:lnTo>
                      <a:lnTo>
                        <a:pt x="855" y="259"/>
                      </a:lnTo>
                      <a:lnTo>
                        <a:pt x="866" y="261"/>
                      </a:lnTo>
                      <a:lnTo>
                        <a:pt x="871" y="261"/>
                      </a:lnTo>
                      <a:lnTo>
                        <a:pt x="883" y="253"/>
                      </a:lnTo>
                      <a:lnTo>
                        <a:pt x="891" y="259"/>
                      </a:lnTo>
                      <a:lnTo>
                        <a:pt x="897" y="264"/>
                      </a:lnTo>
                      <a:lnTo>
                        <a:pt x="902" y="264"/>
                      </a:lnTo>
                      <a:lnTo>
                        <a:pt x="911" y="264"/>
                      </a:lnTo>
                      <a:lnTo>
                        <a:pt x="916" y="264"/>
                      </a:lnTo>
                      <a:lnTo>
                        <a:pt x="938" y="264"/>
                      </a:lnTo>
                      <a:lnTo>
                        <a:pt x="947" y="261"/>
                      </a:lnTo>
                      <a:lnTo>
                        <a:pt x="952" y="264"/>
                      </a:lnTo>
                      <a:lnTo>
                        <a:pt x="955" y="270"/>
                      </a:lnTo>
                      <a:lnTo>
                        <a:pt x="957" y="273"/>
                      </a:lnTo>
                      <a:lnTo>
                        <a:pt x="955" y="279"/>
                      </a:lnTo>
                      <a:lnTo>
                        <a:pt x="960" y="279"/>
                      </a:lnTo>
                      <a:lnTo>
                        <a:pt x="963" y="279"/>
                      </a:lnTo>
                      <a:lnTo>
                        <a:pt x="966" y="281"/>
                      </a:lnTo>
                      <a:lnTo>
                        <a:pt x="968" y="287"/>
                      </a:lnTo>
                      <a:lnTo>
                        <a:pt x="968" y="292"/>
                      </a:lnTo>
                      <a:lnTo>
                        <a:pt x="974" y="297"/>
                      </a:lnTo>
                      <a:lnTo>
                        <a:pt x="976" y="306"/>
                      </a:lnTo>
                      <a:lnTo>
                        <a:pt x="988" y="312"/>
                      </a:lnTo>
                      <a:lnTo>
                        <a:pt x="985" y="317"/>
                      </a:lnTo>
                      <a:lnTo>
                        <a:pt x="991" y="314"/>
                      </a:lnTo>
                      <a:lnTo>
                        <a:pt x="993" y="312"/>
                      </a:lnTo>
                      <a:lnTo>
                        <a:pt x="993" y="306"/>
                      </a:lnTo>
                      <a:lnTo>
                        <a:pt x="988" y="300"/>
                      </a:lnTo>
                      <a:lnTo>
                        <a:pt x="993" y="295"/>
                      </a:lnTo>
                      <a:lnTo>
                        <a:pt x="999" y="295"/>
                      </a:lnTo>
                      <a:lnTo>
                        <a:pt x="1004" y="292"/>
                      </a:lnTo>
                      <a:lnTo>
                        <a:pt x="1009" y="292"/>
                      </a:lnTo>
                      <a:lnTo>
                        <a:pt x="1018" y="289"/>
                      </a:lnTo>
                      <a:lnTo>
                        <a:pt x="1021" y="289"/>
                      </a:lnTo>
                      <a:lnTo>
                        <a:pt x="1021" y="292"/>
                      </a:lnTo>
                      <a:lnTo>
                        <a:pt x="1026" y="289"/>
                      </a:lnTo>
                      <a:lnTo>
                        <a:pt x="1029" y="292"/>
                      </a:lnTo>
                      <a:lnTo>
                        <a:pt x="1037" y="292"/>
                      </a:lnTo>
                      <a:lnTo>
                        <a:pt x="1037" y="287"/>
                      </a:lnTo>
                      <a:lnTo>
                        <a:pt x="1040" y="287"/>
                      </a:lnTo>
                      <a:lnTo>
                        <a:pt x="1040" y="284"/>
                      </a:lnTo>
                      <a:lnTo>
                        <a:pt x="1045" y="284"/>
                      </a:lnTo>
                      <a:lnTo>
                        <a:pt x="1049" y="281"/>
                      </a:lnTo>
                      <a:lnTo>
                        <a:pt x="1057" y="281"/>
                      </a:lnTo>
                      <a:lnTo>
                        <a:pt x="1057" y="279"/>
                      </a:lnTo>
                      <a:lnTo>
                        <a:pt x="1060" y="276"/>
                      </a:lnTo>
                      <a:lnTo>
                        <a:pt x="1057" y="270"/>
                      </a:lnTo>
                      <a:lnTo>
                        <a:pt x="1062" y="268"/>
                      </a:lnTo>
                      <a:lnTo>
                        <a:pt x="1062" y="261"/>
                      </a:lnTo>
                      <a:lnTo>
                        <a:pt x="1062" y="259"/>
                      </a:lnTo>
                      <a:lnTo>
                        <a:pt x="1065" y="256"/>
                      </a:lnTo>
                      <a:lnTo>
                        <a:pt x="1060" y="253"/>
                      </a:lnTo>
                      <a:lnTo>
                        <a:pt x="1060" y="251"/>
                      </a:lnTo>
                      <a:lnTo>
                        <a:pt x="1062" y="248"/>
                      </a:lnTo>
                      <a:lnTo>
                        <a:pt x="1057" y="245"/>
                      </a:lnTo>
                      <a:lnTo>
                        <a:pt x="1057" y="243"/>
                      </a:lnTo>
                      <a:lnTo>
                        <a:pt x="1054" y="243"/>
                      </a:lnTo>
                      <a:lnTo>
                        <a:pt x="1052" y="237"/>
                      </a:lnTo>
                      <a:lnTo>
                        <a:pt x="1049" y="237"/>
                      </a:lnTo>
                      <a:lnTo>
                        <a:pt x="1045" y="232"/>
                      </a:lnTo>
                      <a:lnTo>
                        <a:pt x="1043" y="228"/>
                      </a:lnTo>
                      <a:lnTo>
                        <a:pt x="1043" y="226"/>
                      </a:lnTo>
                      <a:lnTo>
                        <a:pt x="1043" y="223"/>
                      </a:lnTo>
                      <a:lnTo>
                        <a:pt x="1045" y="223"/>
                      </a:lnTo>
                      <a:lnTo>
                        <a:pt x="1045" y="220"/>
                      </a:lnTo>
                      <a:lnTo>
                        <a:pt x="1052" y="218"/>
                      </a:lnTo>
                      <a:lnTo>
                        <a:pt x="1049" y="215"/>
                      </a:lnTo>
                      <a:lnTo>
                        <a:pt x="1052" y="212"/>
                      </a:lnTo>
                      <a:lnTo>
                        <a:pt x="1045" y="210"/>
                      </a:lnTo>
                      <a:lnTo>
                        <a:pt x="1043" y="210"/>
                      </a:lnTo>
                      <a:lnTo>
                        <a:pt x="1040" y="210"/>
                      </a:lnTo>
                      <a:lnTo>
                        <a:pt x="1040" y="207"/>
                      </a:lnTo>
                      <a:lnTo>
                        <a:pt x="1043" y="204"/>
                      </a:lnTo>
                      <a:lnTo>
                        <a:pt x="1035" y="202"/>
                      </a:lnTo>
                      <a:lnTo>
                        <a:pt x="1032" y="195"/>
                      </a:lnTo>
                      <a:lnTo>
                        <a:pt x="1032" y="192"/>
                      </a:lnTo>
                      <a:lnTo>
                        <a:pt x="1037" y="190"/>
                      </a:lnTo>
                      <a:lnTo>
                        <a:pt x="1035" y="187"/>
                      </a:lnTo>
                      <a:lnTo>
                        <a:pt x="1035" y="184"/>
                      </a:lnTo>
                      <a:lnTo>
                        <a:pt x="1040" y="187"/>
                      </a:lnTo>
                      <a:lnTo>
                        <a:pt x="1040" y="182"/>
                      </a:lnTo>
                      <a:lnTo>
                        <a:pt x="1043" y="179"/>
                      </a:lnTo>
                      <a:lnTo>
                        <a:pt x="1052" y="176"/>
                      </a:lnTo>
                      <a:lnTo>
                        <a:pt x="1049" y="174"/>
                      </a:lnTo>
                      <a:lnTo>
                        <a:pt x="1045" y="171"/>
                      </a:lnTo>
                      <a:lnTo>
                        <a:pt x="1052" y="166"/>
                      </a:lnTo>
                      <a:lnTo>
                        <a:pt x="1052" y="163"/>
                      </a:lnTo>
                      <a:lnTo>
                        <a:pt x="1049" y="163"/>
                      </a:lnTo>
                      <a:lnTo>
                        <a:pt x="1052" y="157"/>
                      </a:lnTo>
                      <a:lnTo>
                        <a:pt x="1054" y="157"/>
                      </a:lnTo>
                      <a:lnTo>
                        <a:pt x="1054" y="154"/>
                      </a:lnTo>
                      <a:lnTo>
                        <a:pt x="1062" y="151"/>
                      </a:lnTo>
                      <a:lnTo>
                        <a:pt x="1065" y="149"/>
                      </a:lnTo>
                      <a:lnTo>
                        <a:pt x="1068" y="143"/>
                      </a:lnTo>
                      <a:lnTo>
                        <a:pt x="1070" y="143"/>
                      </a:lnTo>
                      <a:lnTo>
                        <a:pt x="1073" y="143"/>
                      </a:lnTo>
                      <a:lnTo>
                        <a:pt x="1078" y="143"/>
                      </a:lnTo>
                      <a:lnTo>
                        <a:pt x="1085" y="141"/>
                      </a:lnTo>
                      <a:lnTo>
                        <a:pt x="1087" y="141"/>
                      </a:lnTo>
                      <a:lnTo>
                        <a:pt x="1087" y="138"/>
                      </a:lnTo>
                      <a:lnTo>
                        <a:pt x="1093" y="135"/>
                      </a:lnTo>
                      <a:lnTo>
                        <a:pt x="1095" y="138"/>
                      </a:lnTo>
                      <a:lnTo>
                        <a:pt x="1098" y="138"/>
                      </a:lnTo>
                      <a:lnTo>
                        <a:pt x="1098" y="135"/>
                      </a:lnTo>
                      <a:lnTo>
                        <a:pt x="1103" y="135"/>
                      </a:lnTo>
                      <a:lnTo>
                        <a:pt x="1109" y="133"/>
                      </a:lnTo>
                      <a:lnTo>
                        <a:pt x="1112" y="130"/>
                      </a:lnTo>
                      <a:lnTo>
                        <a:pt x="1114" y="126"/>
                      </a:lnTo>
                      <a:lnTo>
                        <a:pt x="1114" y="121"/>
                      </a:lnTo>
                      <a:lnTo>
                        <a:pt x="1118" y="121"/>
                      </a:lnTo>
                      <a:lnTo>
                        <a:pt x="1121" y="113"/>
                      </a:lnTo>
                      <a:lnTo>
                        <a:pt x="1129" y="118"/>
                      </a:lnTo>
                      <a:lnTo>
                        <a:pt x="1131" y="121"/>
                      </a:lnTo>
                      <a:lnTo>
                        <a:pt x="1154" y="113"/>
                      </a:lnTo>
                      <a:lnTo>
                        <a:pt x="1156" y="115"/>
                      </a:lnTo>
                      <a:lnTo>
                        <a:pt x="1164" y="121"/>
                      </a:lnTo>
                      <a:lnTo>
                        <a:pt x="1164" y="130"/>
                      </a:lnTo>
                      <a:lnTo>
                        <a:pt x="1172" y="130"/>
                      </a:lnTo>
                      <a:lnTo>
                        <a:pt x="1175" y="135"/>
                      </a:lnTo>
                      <a:lnTo>
                        <a:pt x="1178" y="135"/>
                      </a:lnTo>
                      <a:lnTo>
                        <a:pt x="1181" y="130"/>
                      </a:lnTo>
                      <a:lnTo>
                        <a:pt x="1175" y="118"/>
                      </a:lnTo>
                      <a:lnTo>
                        <a:pt x="1178" y="115"/>
                      </a:lnTo>
                      <a:lnTo>
                        <a:pt x="1181" y="115"/>
                      </a:lnTo>
                      <a:lnTo>
                        <a:pt x="1190" y="123"/>
                      </a:lnTo>
                      <a:lnTo>
                        <a:pt x="1190" y="138"/>
                      </a:lnTo>
                      <a:lnTo>
                        <a:pt x="1195" y="138"/>
                      </a:lnTo>
                      <a:lnTo>
                        <a:pt x="1198" y="138"/>
                      </a:lnTo>
                      <a:lnTo>
                        <a:pt x="1200" y="135"/>
                      </a:lnTo>
                      <a:lnTo>
                        <a:pt x="1203" y="126"/>
                      </a:lnTo>
                      <a:lnTo>
                        <a:pt x="1206" y="118"/>
                      </a:lnTo>
                      <a:lnTo>
                        <a:pt x="1208" y="118"/>
                      </a:lnTo>
                      <a:lnTo>
                        <a:pt x="1216" y="130"/>
                      </a:lnTo>
                      <a:lnTo>
                        <a:pt x="1220" y="133"/>
                      </a:lnTo>
                      <a:lnTo>
                        <a:pt x="1223" y="130"/>
                      </a:lnTo>
                      <a:lnTo>
                        <a:pt x="1225" y="121"/>
                      </a:lnTo>
                      <a:lnTo>
                        <a:pt x="1231" y="118"/>
                      </a:lnTo>
                      <a:lnTo>
                        <a:pt x="1233" y="115"/>
                      </a:lnTo>
                      <a:lnTo>
                        <a:pt x="1236" y="113"/>
                      </a:lnTo>
                      <a:lnTo>
                        <a:pt x="1252" y="110"/>
                      </a:lnTo>
                      <a:lnTo>
                        <a:pt x="1256" y="113"/>
                      </a:lnTo>
                      <a:lnTo>
                        <a:pt x="1256" y="121"/>
                      </a:lnTo>
                      <a:lnTo>
                        <a:pt x="1261" y="121"/>
                      </a:lnTo>
                      <a:lnTo>
                        <a:pt x="1267" y="121"/>
                      </a:lnTo>
                      <a:lnTo>
                        <a:pt x="1269" y="118"/>
                      </a:lnTo>
                      <a:lnTo>
                        <a:pt x="1261" y="102"/>
                      </a:lnTo>
                      <a:lnTo>
                        <a:pt x="1272" y="97"/>
                      </a:lnTo>
                      <a:lnTo>
                        <a:pt x="1275" y="94"/>
                      </a:lnTo>
                      <a:lnTo>
                        <a:pt x="1280" y="85"/>
                      </a:lnTo>
                      <a:lnTo>
                        <a:pt x="1283" y="80"/>
                      </a:lnTo>
                      <a:lnTo>
                        <a:pt x="1285" y="77"/>
                      </a:lnTo>
                      <a:lnTo>
                        <a:pt x="1292" y="74"/>
                      </a:lnTo>
                      <a:lnTo>
                        <a:pt x="1294" y="72"/>
                      </a:lnTo>
                      <a:lnTo>
                        <a:pt x="1297" y="72"/>
                      </a:lnTo>
                      <a:lnTo>
                        <a:pt x="1292" y="61"/>
                      </a:lnTo>
                      <a:lnTo>
                        <a:pt x="1297" y="54"/>
                      </a:lnTo>
                      <a:lnTo>
                        <a:pt x="1300" y="49"/>
                      </a:lnTo>
                      <a:lnTo>
                        <a:pt x="1305" y="44"/>
                      </a:lnTo>
                      <a:lnTo>
                        <a:pt x="1316" y="46"/>
                      </a:lnTo>
                      <a:lnTo>
                        <a:pt x="1321" y="46"/>
                      </a:lnTo>
                      <a:lnTo>
                        <a:pt x="1330" y="44"/>
                      </a:lnTo>
                      <a:lnTo>
                        <a:pt x="1333" y="44"/>
                      </a:lnTo>
                      <a:lnTo>
                        <a:pt x="1336" y="41"/>
                      </a:lnTo>
                      <a:lnTo>
                        <a:pt x="1336" y="36"/>
                      </a:lnTo>
                      <a:lnTo>
                        <a:pt x="1333" y="36"/>
                      </a:lnTo>
                      <a:lnTo>
                        <a:pt x="1330" y="36"/>
                      </a:lnTo>
                      <a:lnTo>
                        <a:pt x="1325" y="38"/>
                      </a:lnTo>
                      <a:lnTo>
                        <a:pt x="1321" y="38"/>
                      </a:lnTo>
                      <a:lnTo>
                        <a:pt x="1319" y="36"/>
                      </a:lnTo>
                      <a:lnTo>
                        <a:pt x="1319" y="28"/>
                      </a:lnTo>
                      <a:lnTo>
                        <a:pt x="1328" y="19"/>
                      </a:lnTo>
                      <a:lnTo>
                        <a:pt x="1330" y="19"/>
                      </a:lnTo>
                      <a:lnTo>
                        <a:pt x="1333" y="28"/>
                      </a:lnTo>
                      <a:lnTo>
                        <a:pt x="1336" y="28"/>
                      </a:lnTo>
                      <a:lnTo>
                        <a:pt x="1336" y="33"/>
                      </a:lnTo>
                      <a:lnTo>
                        <a:pt x="1336" y="36"/>
                      </a:lnTo>
                      <a:lnTo>
                        <a:pt x="1346" y="30"/>
                      </a:lnTo>
                      <a:lnTo>
                        <a:pt x="1352" y="28"/>
                      </a:lnTo>
                      <a:lnTo>
                        <a:pt x="1354" y="30"/>
                      </a:lnTo>
                      <a:lnTo>
                        <a:pt x="1358" y="28"/>
                      </a:lnTo>
                      <a:lnTo>
                        <a:pt x="1361" y="30"/>
                      </a:lnTo>
                      <a:lnTo>
                        <a:pt x="1366" y="30"/>
                      </a:lnTo>
                      <a:lnTo>
                        <a:pt x="1363" y="30"/>
                      </a:lnTo>
                      <a:lnTo>
                        <a:pt x="1366" y="33"/>
                      </a:lnTo>
                      <a:lnTo>
                        <a:pt x="1366" y="28"/>
                      </a:lnTo>
                      <a:lnTo>
                        <a:pt x="1369" y="28"/>
                      </a:lnTo>
                      <a:lnTo>
                        <a:pt x="1369" y="30"/>
                      </a:lnTo>
                      <a:lnTo>
                        <a:pt x="1374" y="30"/>
                      </a:lnTo>
                      <a:lnTo>
                        <a:pt x="1374" y="33"/>
                      </a:lnTo>
                      <a:lnTo>
                        <a:pt x="1374" y="30"/>
                      </a:lnTo>
                      <a:lnTo>
                        <a:pt x="1380" y="33"/>
                      </a:lnTo>
                      <a:lnTo>
                        <a:pt x="1377" y="36"/>
                      </a:lnTo>
                      <a:lnTo>
                        <a:pt x="1380" y="38"/>
                      </a:lnTo>
                      <a:lnTo>
                        <a:pt x="1382" y="44"/>
                      </a:lnTo>
                      <a:lnTo>
                        <a:pt x="1388" y="44"/>
                      </a:lnTo>
                      <a:lnTo>
                        <a:pt x="1390" y="44"/>
                      </a:lnTo>
                      <a:lnTo>
                        <a:pt x="1394" y="44"/>
                      </a:lnTo>
                      <a:lnTo>
                        <a:pt x="1397" y="41"/>
                      </a:lnTo>
                      <a:lnTo>
                        <a:pt x="1397" y="44"/>
                      </a:lnTo>
                      <a:lnTo>
                        <a:pt x="1410" y="52"/>
                      </a:lnTo>
                      <a:lnTo>
                        <a:pt x="1413" y="58"/>
                      </a:lnTo>
                      <a:lnTo>
                        <a:pt x="1410" y="64"/>
                      </a:lnTo>
                      <a:lnTo>
                        <a:pt x="1410" y="66"/>
                      </a:lnTo>
                      <a:lnTo>
                        <a:pt x="1413" y="64"/>
                      </a:lnTo>
                      <a:lnTo>
                        <a:pt x="1413" y="66"/>
                      </a:lnTo>
                      <a:lnTo>
                        <a:pt x="1415" y="69"/>
                      </a:lnTo>
                      <a:lnTo>
                        <a:pt x="1421" y="72"/>
                      </a:lnTo>
                      <a:lnTo>
                        <a:pt x="1423" y="74"/>
                      </a:lnTo>
                      <a:lnTo>
                        <a:pt x="1427" y="72"/>
                      </a:lnTo>
                      <a:lnTo>
                        <a:pt x="1430" y="74"/>
                      </a:lnTo>
                      <a:lnTo>
                        <a:pt x="1430" y="72"/>
                      </a:lnTo>
                      <a:lnTo>
                        <a:pt x="1423" y="72"/>
                      </a:lnTo>
                      <a:lnTo>
                        <a:pt x="1423" y="69"/>
                      </a:lnTo>
                      <a:lnTo>
                        <a:pt x="1427" y="69"/>
                      </a:lnTo>
                      <a:lnTo>
                        <a:pt x="1427" y="66"/>
                      </a:lnTo>
                      <a:lnTo>
                        <a:pt x="1423" y="64"/>
                      </a:lnTo>
                      <a:lnTo>
                        <a:pt x="1427" y="61"/>
                      </a:lnTo>
                      <a:lnTo>
                        <a:pt x="1427" y="58"/>
                      </a:lnTo>
                      <a:lnTo>
                        <a:pt x="1423" y="52"/>
                      </a:lnTo>
                      <a:lnTo>
                        <a:pt x="1430" y="52"/>
                      </a:lnTo>
                      <a:lnTo>
                        <a:pt x="1430" y="46"/>
                      </a:lnTo>
                      <a:lnTo>
                        <a:pt x="1438" y="41"/>
                      </a:lnTo>
                      <a:lnTo>
                        <a:pt x="1446" y="38"/>
                      </a:lnTo>
                      <a:lnTo>
                        <a:pt x="1451" y="36"/>
                      </a:lnTo>
                      <a:lnTo>
                        <a:pt x="1457" y="38"/>
                      </a:lnTo>
                      <a:lnTo>
                        <a:pt x="1457" y="33"/>
                      </a:lnTo>
                      <a:lnTo>
                        <a:pt x="1457" y="30"/>
                      </a:lnTo>
                      <a:lnTo>
                        <a:pt x="1466" y="33"/>
                      </a:lnTo>
                      <a:lnTo>
                        <a:pt x="1466" y="38"/>
                      </a:lnTo>
                      <a:lnTo>
                        <a:pt x="1468" y="44"/>
                      </a:lnTo>
                      <a:lnTo>
                        <a:pt x="1471" y="41"/>
                      </a:lnTo>
                      <a:lnTo>
                        <a:pt x="1474" y="41"/>
                      </a:lnTo>
                      <a:lnTo>
                        <a:pt x="1476" y="44"/>
                      </a:lnTo>
                      <a:lnTo>
                        <a:pt x="1482" y="44"/>
                      </a:lnTo>
                      <a:lnTo>
                        <a:pt x="1482" y="46"/>
                      </a:lnTo>
                      <a:lnTo>
                        <a:pt x="1484" y="49"/>
                      </a:lnTo>
                      <a:lnTo>
                        <a:pt x="1487" y="46"/>
                      </a:lnTo>
                      <a:lnTo>
                        <a:pt x="1490" y="44"/>
                      </a:lnTo>
                      <a:lnTo>
                        <a:pt x="1492" y="41"/>
                      </a:lnTo>
                      <a:lnTo>
                        <a:pt x="1496" y="36"/>
                      </a:lnTo>
                      <a:lnTo>
                        <a:pt x="1492" y="33"/>
                      </a:lnTo>
                      <a:lnTo>
                        <a:pt x="1492" y="36"/>
                      </a:lnTo>
                      <a:lnTo>
                        <a:pt x="1490" y="36"/>
                      </a:lnTo>
                      <a:lnTo>
                        <a:pt x="1487" y="33"/>
                      </a:lnTo>
                      <a:lnTo>
                        <a:pt x="1484" y="33"/>
                      </a:lnTo>
                      <a:lnTo>
                        <a:pt x="1487" y="30"/>
                      </a:lnTo>
                      <a:lnTo>
                        <a:pt x="1490" y="28"/>
                      </a:lnTo>
                      <a:lnTo>
                        <a:pt x="1492" y="30"/>
                      </a:lnTo>
                      <a:lnTo>
                        <a:pt x="1499" y="28"/>
                      </a:lnTo>
                      <a:lnTo>
                        <a:pt x="1501" y="30"/>
                      </a:lnTo>
                      <a:lnTo>
                        <a:pt x="1499" y="38"/>
                      </a:lnTo>
                      <a:lnTo>
                        <a:pt x="1499" y="41"/>
                      </a:lnTo>
                      <a:lnTo>
                        <a:pt x="1504" y="36"/>
                      </a:lnTo>
                      <a:lnTo>
                        <a:pt x="1509" y="44"/>
                      </a:lnTo>
                      <a:lnTo>
                        <a:pt x="1512" y="38"/>
                      </a:lnTo>
                      <a:lnTo>
                        <a:pt x="1515" y="41"/>
                      </a:lnTo>
                      <a:lnTo>
                        <a:pt x="1523" y="36"/>
                      </a:lnTo>
                      <a:lnTo>
                        <a:pt x="1526" y="28"/>
                      </a:lnTo>
                      <a:lnTo>
                        <a:pt x="1529" y="36"/>
                      </a:lnTo>
                      <a:lnTo>
                        <a:pt x="1529" y="38"/>
                      </a:lnTo>
                      <a:lnTo>
                        <a:pt x="1529" y="36"/>
                      </a:lnTo>
                      <a:lnTo>
                        <a:pt x="1532" y="33"/>
                      </a:lnTo>
                      <a:lnTo>
                        <a:pt x="1535" y="33"/>
                      </a:lnTo>
                      <a:lnTo>
                        <a:pt x="1537" y="33"/>
                      </a:lnTo>
                      <a:lnTo>
                        <a:pt x="1543" y="30"/>
                      </a:lnTo>
                      <a:lnTo>
                        <a:pt x="1545" y="30"/>
                      </a:lnTo>
                      <a:lnTo>
                        <a:pt x="1548" y="30"/>
                      </a:lnTo>
                      <a:lnTo>
                        <a:pt x="1556" y="36"/>
                      </a:lnTo>
                      <a:lnTo>
                        <a:pt x="1559" y="33"/>
                      </a:lnTo>
                      <a:lnTo>
                        <a:pt x="1556" y="28"/>
                      </a:lnTo>
                      <a:lnTo>
                        <a:pt x="1556" y="25"/>
                      </a:lnTo>
                      <a:lnTo>
                        <a:pt x="1561" y="25"/>
                      </a:lnTo>
                      <a:lnTo>
                        <a:pt x="1561" y="21"/>
                      </a:lnTo>
                      <a:lnTo>
                        <a:pt x="1570" y="25"/>
                      </a:lnTo>
                      <a:lnTo>
                        <a:pt x="1573" y="28"/>
                      </a:lnTo>
                      <a:lnTo>
                        <a:pt x="1573" y="36"/>
                      </a:lnTo>
                      <a:lnTo>
                        <a:pt x="1570" y="41"/>
                      </a:lnTo>
                      <a:lnTo>
                        <a:pt x="1581" y="30"/>
                      </a:lnTo>
                      <a:lnTo>
                        <a:pt x="1576" y="28"/>
                      </a:lnTo>
                      <a:lnTo>
                        <a:pt x="1578" y="25"/>
                      </a:lnTo>
                      <a:lnTo>
                        <a:pt x="1584" y="21"/>
                      </a:lnTo>
                      <a:lnTo>
                        <a:pt x="1586" y="25"/>
                      </a:lnTo>
                      <a:lnTo>
                        <a:pt x="1584" y="28"/>
                      </a:lnTo>
                      <a:lnTo>
                        <a:pt x="1586" y="30"/>
                      </a:lnTo>
                      <a:lnTo>
                        <a:pt x="1595" y="28"/>
                      </a:lnTo>
                      <a:lnTo>
                        <a:pt x="1598" y="30"/>
                      </a:lnTo>
                      <a:lnTo>
                        <a:pt x="1601" y="33"/>
                      </a:lnTo>
                      <a:lnTo>
                        <a:pt x="1604" y="30"/>
                      </a:lnTo>
                      <a:lnTo>
                        <a:pt x="1614" y="33"/>
                      </a:lnTo>
                      <a:lnTo>
                        <a:pt x="1612" y="36"/>
                      </a:lnTo>
                      <a:lnTo>
                        <a:pt x="1614" y="38"/>
                      </a:lnTo>
                      <a:lnTo>
                        <a:pt x="1617" y="41"/>
                      </a:lnTo>
                      <a:lnTo>
                        <a:pt x="1620" y="41"/>
                      </a:lnTo>
                      <a:lnTo>
                        <a:pt x="1622" y="44"/>
                      </a:lnTo>
                      <a:lnTo>
                        <a:pt x="1625" y="44"/>
                      </a:lnTo>
                      <a:lnTo>
                        <a:pt x="1625" y="38"/>
                      </a:lnTo>
                      <a:lnTo>
                        <a:pt x="1628" y="41"/>
                      </a:lnTo>
                      <a:lnTo>
                        <a:pt x="1628" y="46"/>
                      </a:lnTo>
                      <a:lnTo>
                        <a:pt x="1622" y="49"/>
                      </a:lnTo>
                      <a:lnTo>
                        <a:pt x="1625" y="49"/>
                      </a:lnTo>
                      <a:lnTo>
                        <a:pt x="1628" y="46"/>
                      </a:lnTo>
                      <a:lnTo>
                        <a:pt x="1628" y="52"/>
                      </a:lnTo>
                      <a:lnTo>
                        <a:pt x="1630" y="58"/>
                      </a:lnTo>
                      <a:lnTo>
                        <a:pt x="1634" y="58"/>
                      </a:lnTo>
                      <a:lnTo>
                        <a:pt x="1637" y="54"/>
                      </a:lnTo>
                      <a:lnTo>
                        <a:pt x="1639" y="64"/>
                      </a:lnTo>
                      <a:lnTo>
                        <a:pt x="1645" y="66"/>
                      </a:lnTo>
                      <a:lnTo>
                        <a:pt x="1645" y="64"/>
                      </a:lnTo>
                      <a:lnTo>
                        <a:pt x="1647" y="61"/>
                      </a:lnTo>
                      <a:lnTo>
                        <a:pt x="1650" y="69"/>
                      </a:lnTo>
                      <a:lnTo>
                        <a:pt x="1653" y="69"/>
                      </a:lnTo>
                      <a:lnTo>
                        <a:pt x="1653" y="64"/>
                      </a:lnTo>
                      <a:lnTo>
                        <a:pt x="1650" y="64"/>
                      </a:lnTo>
                      <a:lnTo>
                        <a:pt x="1650" y="61"/>
                      </a:lnTo>
                      <a:lnTo>
                        <a:pt x="1653" y="61"/>
                      </a:lnTo>
                      <a:lnTo>
                        <a:pt x="1655" y="66"/>
                      </a:lnTo>
                      <a:lnTo>
                        <a:pt x="1661" y="69"/>
                      </a:lnTo>
                      <a:lnTo>
                        <a:pt x="1661" y="77"/>
                      </a:lnTo>
                      <a:lnTo>
                        <a:pt x="1667" y="77"/>
                      </a:lnTo>
                      <a:lnTo>
                        <a:pt x="1673" y="77"/>
                      </a:lnTo>
                      <a:lnTo>
                        <a:pt x="1667" y="82"/>
                      </a:lnTo>
                      <a:lnTo>
                        <a:pt x="1670" y="88"/>
                      </a:lnTo>
                      <a:lnTo>
                        <a:pt x="1673" y="88"/>
                      </a:lnTo>
                      <a:lnTo>
                        <a:pt x="1678" y="82"/>
                      </a:lnTo>
                      <a:lnTo>
                        <a:pt x="1683" y="85"/>
                      </a:lnTo>
                      <a:lnTo>
                        <a:pt x="1686" y="90"/>
                      </a:lnTo>
                      <a:lnTo>
                        <a:pt x="1691" y="90"/>
                      </a:lnTo>
                      <a:lnTo>
                        <a:pt x="1686" y="97"/>
                      </a:lnTo>
                      <a:lnTo>
                        <a:pt x="1689" y="97"/>
                      </a:lnTo>
                      <a:lnTo>
                        <a:pt x="1691" y="99"/>
                      </a:lnTo>
                      <a:lnTo>
                        <a:pt x="1694" y="97"/>
                      </a:lnTo>
                      <a:lnTo>
                        <a:pt x="1697" y="99"/>
                      </a:lnTo>
                      <a:lnTo>
                        <a:pt x="1697" y="97"/>
                      </a:lnTo>
                      <a:lnTo>
                        <a:pt x="1699" y="97"/>
                      </a:lnTo>
                      <a:lnTo>
                        <a:pt x="1699" y="99"/>
                      </a:lnTo>
                      <a:lnTo>
                        <a:pt x="1703" y="99"/>
                      </a:lnTo>
                      <a:lnTo>
                        <a:pt x="1703" y="102"/>
                      </a:lnTo>
                      <a:lnTo>
                        <a:pt x="1703" y="105"/>
                      </a:lnTo>
                      <a:lnTo>
                        <a:pt x="1708" y="102"/>
                      </a:lnTo>
                      <a:lnTo>
                        <a:pt x="1708" y="97"/>
                      </a:lnTo>
                      <a:lnTo>
                        <a:pt x="1711" y="97"/>
                      </a:lnTo>
                      <a:lnTo>
                        <a:pt x="1711" y="102"/>
                      </a:lnTo>
                      <a:lnTo>
                        <a:pt x="1708" y="105"/>
                      </a:lnTo>
                      <a:lnTo>
                        <a:pt x="1714" y="107"/>
                      </a:lnTo>
                      <a:lnTo>
                        <a:pt x="1716" y="107"/>
                      </a:lnTo>
                      <a:lnTo>
                        <a:pt x="1716" y="105"/>
                      </a:lnTo>
                      <a:lnTo>
                        <a:pt x="1716" y="107"/>
                      </a:lnTo>
                      <a:lnTo>
                        <a:pt x="1719" y="107"/>
                      </a:lnTo>
                      <a:lnTo>
                        <a:pt x="1722" y="113"/>
                      </a:lnTo>
                      <a:lnTo>
                        <a:pt x="1722" y="110"/>
                      </a:lnTo>
                      <a:lnTo>
                        <a:pt x="1724" y="110"/>
                      </a:lnTo>
                      <a:lnTo>
                        <a:pt x="1727" y="110"/>
                      </a:lnTo>
                      <a:lnTo>
                        <a:pt x="1727" y="113"/>
                      </a:lnTo>
                      <a:lnTo>
                        <a:pt x="1730" y="113"/>
                      </a:lnTo>
                      <a:lnTo>
                        <a:pt x="1730" y="107"/>
                      </a:lnTo>
                      <a:lnTo>
                        <a:pt x="1736" y="115"/>
                      </a:lnTo>
                      <a:lnTo>
                        <a:pt x="1742" y="118"/>
                      </a:lnTo>
                      <a:lnTo>
                        <a:pt x="1744" y="113"/>
                      </a:lnTo>
                      <a:lnTo>
                        <a:pt x="1742" y="113"/>
                      </a:lnTo>
                      <a:lnTo>
                        <a:pt x="1744" y="113"/>
                      </a:lnTo>
                      <a:lnTo>
                        <a:pt x="1747" y="113"/>
                      </a:lnTo>
                      <a:lnTo>
                        <a:pt x="1750" y="113"/>
                      </a:lnTo>
                      <a:lnTo>
                        <a:pt x="1747" y="110"/>
                      </a:lnTo>
                      <a:lnTo>
                        <a:pt x="1747" y="107"/>
                      </a:lnTo>
                      <a:lnTo>
                        <a:pt x="1750" y="107"/>
                      </a:lnTo>
                      <a:lnTo>
                        <a:pt x="1752" y="113"/>
                      </a:lnTo>
                      <a:lnTo>
                        <a:pt x="1752" y="110"/>
                      </a:lnTo>
                      <a:lnTo>
                        <a:pt x="1755" y="113"/>
                      </a:lnTo>
                      <a:lnTo>
                        <a:pt x="1758" y="110"/>
                      </a:lnTo>
                      <a:lnTo>
                        <a:pt x="1760" y="113"/>
                      </a:lnTo>
                      <a:lnTo>
                        <a:pt x="1760" y="110"/>
                      </a:lnTo>
                      <a:lnTo>
                        <a:pt x="1763" y="110"/>
                      </a:lnTo>
                      <a:lnTo>
                        <a:pt x="1766" y="107"/>
                      </a:lnTo>
                      <a:lnTo>
                        <a:pt x="1766" y="105"/>
                      </a:lnTo>
                      <a:lnTo>
                        <a:pt x="1766" y="107"/>
                      </a:lnTo>
                      <a:lnTo>
                        <a:pt x="1763" y="102"/>
                      </a:lnTo>
                      <a:lnTo>
                        <a:pt x="1766" y="102"/>
                      </a:lnTo>
                      <a:lnTo>
                        <a:pt x="1768" y="99"/>
                      </a:lnTo>
                      <a:lnTo>
                        <a:pt x="1766" y="99"/>
                      </a:lnTo>
                      <a:lnTo>
                        <a:pt x="1768" y="97"/>
                      </a:lnTo>
                      <a:lnTo>
                        <a:pt x="1768" y="94"/>
                      </a:lnTo>
                      <a:lnTo>
                        <a:pt x="1772" y="97"/>
                      </a:lnTo>
                      <a:lnTo>
                        <a:pt x="1777" y="90"/>
                      </a:lnTo>
                      <a:lnTo>
                        <a:pt x="1780" y="85"/>
                      </a:lnTo>
                      <a:lnTo>
                        <a:pt x="1785" y="85"/>
                      </a:lnTo>
                      <a:lnTo>
                        <a:pt x="1788" y="85"/>
                      </a:lnTo>
                      <a:lnTo>
                        <a:pt x="1788" y="90"/>
                      </a:lnTo>
                      <a:lnTo>
                        <a:pt x="1791" y="88"/>
                      </a:lnTo>
                      <a:lnTo>
                        <a:pt x="1794" y="88"/>
                      </a:lnTo>
                      <a:lnTo>
                        <a:pt x="1796" y="85"/>
                      </a:lnTo>
                      <a:lnTo>
                        <a:pt x="1796" y="88"/>
                      </a:lnTo>
                      <a:lnTo>
                        <a:pt x="1796" y="82"/>
                      </a:lnTo>
                      <a:lnTo>
                        <a:pt x="1802" y="85"/>
                      </a:lnTo>
                      <a:lnTo>
                        <a:pt x="1805" y="80"/>
                      </a:lnTo>
                      <a:lnTo>
                        <a:pt x="1805" y="82"/>
                      </a:lnTo>
                      <a:lnTo>
                        <a:pt x="1808" y="85"/>
                      </a:lnTo>
                      <a:lnTo>
                        <a:pt x="1808" y="82"/>
                      </a:lnTo>
                      <a:lnTo>
                        <a:pt x="1811" y="82"/>
                      </a:lnTo>
                      <a:lnTo>
                        <a:pt x="1816" y="82"/>
                      </a:lnTo>
                      <a:lnTo>
                        <a:pt x="1816" y="80"/>
                      </a:lnTo>
                      <a:lnTo>
                        <a:pt x="1819" y="80"/>
                      </a:lnTo>
                      <a:lnTo>
                        <a:pt x="1819" y="77"/>
                      </a:lnTo>
                      <a:lnTo>
                        <a:pt x="1821" y="77"/>
                      </a:lnTo>
                      <a:lnTo>
                        <a:pt x="1819" y="74"/>
                      </a:lnTo>
                      <a:lnTo>
                        <a:pt x="1821" y="77"/>
                      </a:lnTo>
                      <a:lnTo>
                        <a:pt x="1821" y="74"/>
                      </a:lnTo>
                      <a:lnTo>
                        <a:pt x="1824" y="74"/>
                      </a:lnTo>
                      <a:lnTo>
                        <a:pt x="1824" y="72"/>
                      </a:lnTo>
                      <a:lnTo>
                        <a:pt x="1827" y="72"/>
                      </a:lnTo>
                      <a:lnTo>
                        <a:pt x="1829" y="69"/>
                      </a:lnTo>
                      <a:lnTo>
                        <a:pt x="1838" y="64"/>
                      </a:lnTo>
                      <a:lnTo>
                        <a:pt x="1841" y="64"/>
                      </a:lnTo>
                      <a:lnTo>
                        <a:pt x="1844" y="64"/>
                      </a:lnTo>
                      <a:lnTo>
                        <a:pt x="1844" y="66"/>
                      </a:lnTo>
                      <a:lnTo>
                        <a:pt x="1846" y="64"/>
                      </a:lnTo>
                      <a:lnTo>
                        <a:pt x="1844" y="61"/>
                      </a:lnTo>
                      <a:lnTo>
                        <a:pt x="1849" y="61"/>
                      </a:lnTo>
                      <a:lnTo>
                        <a:pt x="1849" y="58"/>
                      </a:lnTo>
                      <a:lnTo>
                        <a:pt x="1846" y="58"/>
                      </a:lnTo>
                      <a:lnTo>
                        <a:pt x="1849" y="58"/>
                      </a:lnTo>
                      <a:lnTo>
                        <a:pt x="1846" y="54"/>
                      </a:lnTo>
                      <a:lnTo>
                        <a:pt x="1846" y="52"/>
                      </a:lnTo>
                      <a:lnTo>
                        <a:pt x="1849" y="49"/>
                      </a:lnTo>
                      <a:lnTo>
                        <a:pt x="1852" y="49"/>
                      </a:lnTo>
                      <a:lnTo>
                        <a:pt x="1854" y="52"/>
                      </a:lnTo>
                      <a:lnTo>
                        <a:pt x="1854" y="49"/>
                      </a:lnTo>
                      <a:lnTo>
                        <a:pt x="1857" y="52"/>
                      </a:lnTo>
                      <a:lnTo>
                        <a:pt x="1857" y="49"/>
                      </a:lnTo>
                      <a:lnTo>
                        <a:pt x="1860" y="46"/>
                      </a:lnTo>
                      <a:lnTo>
                        <a:pt x="1857" y="46"/>
                      </a:lnTo>
                      <a:lnTo>
                        <a:pt x="1863" y="46"/>
                      </a:lnTo>
                      <a:lnTo>
                        <a:pt x="1863" y="44"/>
                      </a:lnTo>
                      <a:lnTo>
                        <a:pt x="1863" y="41"/>
                      </a:lnTo>
                      <a:lnTo>
                        <a:pt x="1863" y="38"/>
                      </a:lnTo>
                      <a:lnTo>
                        <a:pt x="1868" y="36"/>
                      </a:lnTo>
                      <a:lnTo>
                        <a:pt x="1871" y="33"/>
                      </a:lnTo>
                      <a:lnTo>
                        <a:pt x="1868" y="30"/>
                      </a:lnTo>
                      <a:lnTo>
                        <a:pt x="1871" y="30"/>
                      </a:lnTo>
                      <a:lnTo>
                        <a:pt x="1874" y="30"/>
                      </a:lnTo>
                      <a:lnTo>
                        <a:pt x="1880" y="28"/>
                      </a:lnTo>
                      <a:lnTo>
                        <a:pt x="1882" y="25"/>
                      </a:lnTo>
                      <a:lnTo>
                        <a:pt x="1888" y="25"/>
                      </a:lnTo>
                      <a:lnTo>
                        <a:pt x="1888" y="21"/>
                      </a:lnTo>
                      <a:lnTo>
                        <a:pt x="1893" y="21"/>
                      </a:lnTo>
                      <a:lnTo>
                        <a:pt x="1896" y="19"/>
                      </a:lnTo>
                      <a:lnTo>
                        <a:pt x="1898" y="19"/>
                      </a:lnTo>
                      <a:lnTo>
                        <a:pt x="1901" y="21"/>
                      </a:lnTo>
                      <a:lnTo>
                        <a:pt x="1904" y="21"/>
                      </a:lnTo>
                      <a:lnTo>
                        <a:pt x="1907" y="25"/>
                      </a:lnTo>
                      <a:lnTo>
                        <a:pt x="1907" y="21"/>
                      </a:lnTo>
                      <a:lnTo>
                        <a:pt x="1910" y="21"/>
                      </a:lnTo>
                      <a:lnTo>
                        <a:pt x="1910" y="25"/>
                      </a:lnTo>
                      <a:lnTo>
                        <a:pt x="1913" y="19"/>
                      </a:lnTo>
                      <a:lnTo>
                        <a:pt x="1915" y="19"/>
                      </a:lnTo>
                      <a:lnTo>
                        <a:pt x="1913" y="19"/>
                      </a:lnTo>
                      <a:lnTo>
                        <a:pt x="1915" y="16"/>
                      </a:lnTo>
                      <a:lnTo>
                        <a:pt x="1921" y="19"/>
                      </a:lnTo>
                      <a:lnTo>
                        <a:pt x="1923" y="16"/>
                      </a:lnTo>
                      <a:lnTo>
                        <a:pt x="1926" y="21"/>
                      </a:lnTo>
                      <a:lnTo>
                        <a:pt x="1929" y="21"/>
                      </a:lnTo>
                      <a:lnTo>
                        <a:pt x="1929" y="19"/>
                      </a:lnTo>
                      <a:lnTo>
                        <a:pt x="1934" y="19"/>
                      </a:lnTo>
                      <a:lnTo>
                        <a:pt x="1937" y="16"/>
                      </a:lnTo>
                      <a:lnTo>
                        <a:pt x="1937" y="21"/>
                      </a:lnTo>
                      <a:lnTo>
                        <a:pt x="1943" y="28"/>
                      </a:lnTo>
                      <a:lnTo>
                        <a:pt x="1946" y="25"/>
                      </a:lnTo>
                      <a:lnTo>
                        <a:pt x="1949" y="25"/>
                      </a:lnTo>
                      <a:lnTo>
                        <a:pt x="1951" y="19"/>
                      </a:lnTo>
                      <a:lnTo>
                        <a:pt x="1954" y="19"/>
                      </a:lnTo>
                      <a:lnTo>
                        <a:pt x="1957" y="25"/>
                      </a:lnTo>
                      <a:lnTo>
                        <a:pt x="1959" y="25"/>
                      </a:lnTo>
                      <a:lnTo>
                        <a:pt x="1965" y="25"/>
                      </a:lnTo>
                      <a:lnTo>
                        <a:pt x="1965" y="21"/>
                      </a:lnTo>
                      <a:lnTo>
                        <a:pt x="1967" y="21"/>
                      </a:lnTo>
                      <a:lnTo>
                        <a:pt x="1970" y="19"/>
                      </a:lnTo>
                      <a:lnTo>
                        <a:pt x="1973" y="19"/>
                      </a:lnTo>
                      <a:lnTo>
                        <a:pt x="1973" y="16"/>
                      </a:lnTo>
                      <a:lnTo>
                        <a:pt x="1976" y="13"/>
                      </a:lnTo>
                      <a:lnTo>
                        <a:pt x="1979" y="11"/>
                      </a:lnTo>
                      <a:lnTo>
                        <a:pt x="1982" y="11"/>
                      </a:lnTo>
                      <a:lnTo>
                        <a:pt x="1982" y="13"/>
                      </a:lnTo>
                      <a:lnTo>
                        <a:pt x="1984" y="13"/>
                      </a:lnTo>
                      <a:lnTo>
                        <a:pt x="1987" y="13"/>
                      </a:lnTo>
                      <a:lnTo>
                        <a:pt x="1982" y="11"/>
                      </a:lnTo>
                      <a:lnTo>
                        <a:pt x="2039" y="11"/>
                      </a:lnTo>
                      <a:lnTo>
                        <a:pt x="2084" y="11"/>
                      </a:lnTo>
                      <a:lnTo>
                        <a:pt x="2097" y="11"/>
                      </a:lnTo>
                      <a:lnTo>
                        <a:pt x="2097" y="8"/>
                      </a:lnTo>
                      <a:lnTo>
                        <a:pt x="2100" y="8"/>
                      </a:lnTo>
                      <a:lnTo>
                        <a:pt x="2103" y="8"/>
                      </a:lnTo>
                      <a:lnTo>
                        <a:pt x="2103" y="5"/>
                      </a:lnTo>
                      <a:lnTo>
                        <a:pt x="2111" y="0"/>
                      </a:lnTo>
                      <a:lnTo>
                        <a:pt x="2114" y="3"/>
                      </a:lnTo>
                      <a:lnTo>
                        <a:pt x="2117" y="5"/>
                      </a:lnTo>
                      <a:lnTo>
                        <a:pt x="2117" y="8"/>
                      </a:lnTo>
                      <a:lnTo>
                        <a:pt x="2120" y="8"/>
                      </a:lnTo>
                      <a:lnTo>
                        <a:pt x="2120" y="11"/>
                      </a:lnTo>
                      <a:lnTo>
                        <a:pt x="2122" y="11"/>
                      </a:lnTo>
                      <a:lnTo>
                        <a:pt x="2125" y="11"/>
                      </a:lnTo>
                      <a:lnTo>
                        <a:pt x="2125" y="8"/>
                      </a:lnTo>
                      <a:lnTo>
                        <a:pt x="2128" y="11"/>
                      </a:lnTo>
                      <a:lnTo>
                        <a:pt x="2130" y="8"/>
                      </a:lnTo>
                      <a:lnTo>
                        <a:pt x="2130" y="16"/>
                      </a:lnTo>
                      <a:lnTo>
                        <a:pt x="2125" y="41"/>
                      </a:lnTo>
                      <a:lnTo>
                        <a:pt x="2128" y="46"/>
                      </a:lnTo>
                      <a:lnTo>
                        <a:pt x="2130" y="49"/>
                      </a:lnTo>
                      <a:lnTo>
                        <a:pt x="2130" y="69"/>
                      </a:lnTo>
                      <a:lnTo>
                        <a:pt x="2136" y="88"/>
                      </a:lnTo>
                      <a:lnTo>
                        <a:pt x="2141" y="88"/>
                      </a:lnTo>
                      <a:lnTo>
                        <a:pt x="2144" y="88"/>
                      </a:lnTo>
                      <a:lnTo>
                        <a:pt x="2156" y="88"/>
                      </a:lnTo>
                      <a:lnTo>
                        <a:pt x="2158" y="85"/>
                      </a:lnTo>
                      <a:lnTo>
                        <a:pt x="2161" y="88"/>
                      </a:lnTo>
                      <a:lnTo>
                        <a:pt x="2158" y="102"/>
                      </a:lnTo>
                      <a:lnTo>
                        <a:pt x="2164" y="110"/>
                      </a:lnTo>
                      <a:lnTo>
                        <a:pt x="2169" y="113"/>
                      </a:lnTo>
                      <a:lnTo>
                        <a:pt x="2169" y="110"/>
                      </a:lnTo>
                      <a:lnTo>
                        <a:pt x="2172" y="107"/>
                      </a:lnTo>
                      <a:lnTo>
                        <a:pt x="2172" y="110"/>
                      </a:lnTo>
                      <a:lnTo>
                        <a:pt x="2169" y="115"/>
                      </a:lnTo>
                      <a:lnTo>
                        <a:pt x="2166" y="118"/>
                      </a:lnTo>
                      <a:lnTo>
                        <a:pt x="2156" y="138"/>
                      </a:lnTo>
                      <a:lnTo>
                        <a:pt x="2146" y="154"/>
                      </a:lnTo>
                      <a:lnTo>
                        <a:pt x="2144" y="168"/>
                      </a:lnTo>
                      <a:lnTo>
                        <a:pt x="2133" y="187"/>
                      </a:lnTo>
                      <a:lnTo>
                        <a:pt x="2130" y="199"/>
                      </a:lnTo>
                      <a:lnTo>
                        <a:pt x="2130" y="207"/>
                      </a:lnTo>
                      <a:lnTo>
                        <a:pt x="2122" y="218"/>
                      </a:lnTo>
                      <a:lnTo>
                        <a:pt x="2117" y="232"/>
                      </a:lnTo>
                      <a:lnTo>
                        <a:pt x="2108" y="248"/>
                      </a:lnTo>
                      <a:lnTo>
                        <a:pt x="2105" y="256"/>
                      </a:lnTo>
                      <a:lnTo>
                        <a:pt x="2103" y="259"/>
                      </a:lnTo>
                      <a:lnTo>
                        <a:pt x="2097" y="276"/>
                      </a:lnTo>
                      <a:lnTo>
                        <a:pt x="2095" y="297"/>
                      </a:lnTo>
                      <a:lnTo>
                        <a:pt x="2095" y="306"/>
                      </a:lnTo>
                      <a:lnTo>
                        <a:pt x="2097" y="312"/>
                      </a:lnTo>
                      <a:lnTo>
                        <a:pt x="2095" y="320"/>
                      </a:lnTo>
                      <a:lnTo>
                        <a:pt x="2097" y="333"/>
                      </a:lnTo>
                      <a:lnTo>
                        <a:pt x="2100" y="337"/>
                      </a:lnTo>
                      <a:lnTo>
                        <a:pt x="2103" y="339"/>
                      </a:lnTo>
                      <a:lnTo>
                        <a:pt x="2108" y="342"/>
                      </a:lnTo>
                      <a:lnTo>
                        <a:pt x="2108" y="337"/>
                      </a:lnTo>
                      <a:lnTo>
                        <a:pt x="2114" y="339"/>
                      </a:lnTo>
                      <a:lnTo>
                        <a:pt x="2117" y="345"/>
                      </a:lnTo>
                      <a:lnTo>
                        <a:pt x="2120" y="348"/>
                      </a:lnTo>
                      <a:lnTo>
                        <a:pt x="2128" y="348"/>
                      </a:lnTo>
                      <a:lnTo>
                        <a:pt x="2130" y="342"/>
                      </a:lnTo>
                      <a:lnTo>
                        <a:pt x="2130" y="345"/>
                      </a:lnTo>
                      <a:lnTo>
                        <a:pt x="2136" y="345"/>
                      </a:lnTo>
                      <a:lnTo>
                        <a:pt x="2133" y="350"/>
                      </a:lnTo>
                      <a:lnTo>
                        <a:pt x="2136" y="350"/>
                      </a:lnTo>
                      <a:lnTo>
                        <a:pt x="2133" y="350"/>
                      </a:lnTo>
                      <a:lnTo>
                        <a:pt x="2130" y="353"/>
                      </a:lnTo>
                      <a:lnTo>
                        <a:pt x="2128" y="364"/>
                      </a:lnTo>
                      <a:lnTo>
                        <a:pt x="2120" y="364"/>
                      </a:lnTo>
                      <a:lnTo>
                        <a:pt x="2117" y="366"/>
                      </a:lnTo>
                      <a:lnTo>
                        <a:pt x="2114" y="383"/>
                      </a:lnTo>
                      <a:lnTo>
                        <a:pt x="2111" y="394"/>
                      </a:lnTo>
                      <a:lnTo>
                        <a:pt x="2114" y="399"/>
                      </a:lnTo>
                      <a:lnTo>
                        <a:pt x="2111" y="402"/>
                      </a:lnTo>
                      <a:lnTo>
                        <a:pt x="2117" y="409"/>
                      </a:lnTo>
                      <a:lnTo>
                        <a:pt x="2120" y="405"/>
                      </a:lnTo>
                      <a:lnTo>
                        <a:pt x="2117" y="411"/>
                      </a:lnTo>
                      <a:lnTo>
                        <a:pt x="2117" y="419"/>
                      </a:lnTo>
                      <a:lnTo>
                        <a:pt x="2120" y="419"/>
                      </a:lnTo>
                      <a:lnTo>
                        <a:pt x="2117" y="422"/>
                      </a:lnTo>
                      <a:lnTo>
                        <a:pt x="2120" y="425"/>
                      </a:lnTo>
                      <a:lnTo>
                        <a:pt x="2117" y="425"/>
                      </a:lnTo>
                      <a:lnTo>
                        <a:pt x="2114" y="427"/>
                      </a:lnTo>
                      <a:lnTo>
                        <a:pt x="2120" y="435"/>
                      </a:lnTo>
                      <a:lnTo>
                        <a:pt x="2125" y="438"/>
                      </a:lnTo>
                      <a:lnTo>
                        <a:pt x="2128" y="438"/>
                      </a:lnTo>
                      <a:lnTo>
                        <a:pt x="2128" y="435"/>
                      </a:lnTo>
                      <a:lnTo>
                        <a:pt x="2130" y="433"/>
                      </a:lnTo>
                      <a:lnTo>
                        <a:pt x="2133" y="435"/>
                      </a:lnTo>
                      <a:lnTo>
                        <a:pt x="2133" y="433"/>
                      </a:lnTo>
                      <a:lnTo>
                        <a:pt x="2136" y="433"/>
                      </a:lnTo>
                      <a:lnTo>
                        <a:pt x="2136" y="435"/>
                      </a:lnTo>
                      <a:lnTo>
                        <a:pt x="2138" y="442"/>
                      </a:lnTo>
                      <a:lnTo>
                        <a:pt x="2141" y="442"/>
                      </a:lnTo>
                      <a:lnTo>
                        <a:pt x="2138" y="444"/>
                      </a:lnTo>
                      <a:lnTo>
                        <a:pt x="2141" y="447"/>
                      </a:lnTo>
                      <a:lnTo>
                        <a:pt x="2138" y="447"/>
                      </a:lnTo>
                      <a:lnTo>
                        <a:pt x="2138" y="452"/>
                      </a:lnTo>
                      <a:lnTo>
                        <a:pt x="2136" y="455"/>
                      </a:lnTo>
                      <a:lnTo>
                        <a:pt x="2133" y="463"/>
                      </a:lnTo>
                      <a:lnTo>
                        <a:pt x="2130" y="466"/>
                      </a:lnTo>
                      <a:lnTo>
                        <a:pt x="2133" y="471"/>
                      </a:lnTo>
                      <a:lnTo>
                        <a:pt x="2130" y="471"/>
                      </a:lnTo>
                      <a:lnTo>
                        <a:pt x="2130" y="474"/>
                      </a:lnTo>
                      <a:lnTo>
                        <a:pt x="2128" y="478"/>
                      </a:lnTo>
                      <a:lnTo>
                        <a:pt x="2128" y="474"/>
                      </a:lnTo>
                      <a:lnTo>
                        <a:pt x="2125" y="474"/>
                      </a:lnTo>
                      <a:lnTo>
                        <a:pt x="2125" y="480"/>
                      </a:lnTo>
                      <a:lnTo>
                        <a:pt x="2128" y="488"/>
                      </a:lnTo>
                      <a:lnTo>
                        <a:pt x="2136" y="496"/>
                      </a:lnTo>
                      <a:lnTo>
                        <a:pt x="2141" y="502"/>
                      </a:lnTo>
                      <a:lnTo>
                        <a:pt x="2146" y="502"/>
                      </a:lnTo>
                      <a:lnTo>
                        <a:pt x="2150" y="502"/>
                      </a:lnTo>
                      <a:lnTo>
                        <a:pt x="2156" y="499"/>
                      </a:lnTo>
                      <a:lnTo>
                        <a:pt x="2156" y="496"/>
                      </a:lnTo>
                      <a:lnTo>
                        <a:pt x="2158" y="491"/>
                      </a:lnTo>
                      <a:lnTo>
                        <a:pt x="2158" y="488"/>
                      </a:lnTo>
                      <a:lnTo>
                        <a:pt x="2161" y="486"/>
                      </a:lnTo>
                      <a:lnTo>
                        <a:pt x="2164" y="488"/>
                      </a:lnTo>
                      <a:lnTo>
                        <a:pt x="2166" y="483"/>
                      </a:lnTo>
                      <a:lnTo>
                        <a:pt x="2169" y="486"/>
                      </a:lnTo>
                      <a:lnTo>
                        <a:pt x="2164" y="491"/>
                      </a:lnTo>
                      <a:lnTo>
                        <a:pt x="2169" y="499"/>
                      </a:lnTo>
                      <a:lnTo>
                        <a:pt x="2174" y="499"/>
                      </a:lnTo>
                      <a:lnTo>
                        <a:pt x="2177" y="499"/>
                      </a:lnTo>
                      <a:lnTo>
                        <a:pt x="2177" y="496"/>
                      </a:lnTo>
                      <a:lnTo>
                        <a:pt x="2177" y="494"/>
                      </a:lnTo>
                      <a:lnTo>
                        <a:pt x="2180" y="499"/>
                      </a:lnTo>
                      <a:lnTo>
                        <a:pt x="2183" y="496"/>
                      </a:lnTo>
                      <a:lnTo>
                        <a:pt x="2180" y="502"/>
                      </a:lnTo>
                      <a:lnTo>
                        <a:pt x="2177" y="502"/>
                      </a:lnTo>
                      <a:lnTo>
                        <a:pt x="2174" y="504"/>
                      </a:lnTo>
                      <a:lnTo>
                        <a:pt x="2172" y="507"/>
                      </a:lnTo>
                      <a:lnTo>
                        <a:pt x="2169" y="513"/>
                      </a:lnTo>
                      <a:lnTo>
                        <a:pt x="2172" y="521"/>
                      </a:lnTo>
                      <a:lnTo>
                        <a:pt x="2174" y="521"/>
                      </a:lnTo>
                      <a:lnTo>
                        <a:pt x="2180" y="521"/>
                      </a:lnTo>
                      <a:lnTo>
                        <a:pt x="2177" y="524"/>
                      </a:lnTo>
                      <a:lnTo>
                        <a:pt x="2174" y="524"/>
                      </a:lnTo>
                      <a:lnTo>
                        <a:pt x="2172" y="527"/>
                      </a:lnTo>
                      <a:lnTo>
                        <a:pt x="2169" y="527"/>
                      </a:lnTo>
                      <a:lnTo>
                        <a:pt x="2164" y="529"/>
                      </a:lnTo>
                      <a:lnTo>
                        <a:pt x="2164" y="527"/>
                      </a:lnTo>
                      <a:lnTo>
                        <a:pt x="2169" y="524"/>
                      </a:lnTo>
                      <a:lnTo>
                        <a:pt x="2169" y="521"/>
                      </a:lnTo>
                      <a:lnTo>
                        <a:pt x="2164" y="516"/>
                      </a:lnTo>
                      <a:lnTo>
                        <a:pt x="2158" y="513"/>
                      </a:lnTo>
                      <a:lnTo>
                        <a:pt x="2150" y="516"/>
                      </a:lnTo>
                      <a:lnTo>
                        <a:pt x="2146" y="519"/>
                      </a:lnTo>
                      <a:lnTo>
                        <a:pt x="2141" y="521"/>
                      </a:lnTo>
                      <a:lnTo>
                        <a:pt x="2136" y="527"/>
                      </a:lnTo>
                      <a:lnTo>
                        <a:pt x="2136" y="524"/>
                      </a:lnTo>
                      <a:lnTo>
                        <a:pt x="2130" y="529"/>
                      </a:lnTo>
                      <a:lnTo>
                        <a:pt x="2128" y="529"/>
                      </a:lnTo>
                      <a:lnTo>
                        <a:pt x="2125" y="529"/>
                      </a:lnTo>
                      <a:lnTo>
                        <a:pt x="2125" y="540"/>
                      </a:lnTo>
                      <a:lnTo>
                        <a:pt x="2122" y="543"/>
                      </a:lnTo>
                      <a:lnTo>
                        <a:pt x="2122" y="552"/>
                      </a:lnTo>
                      <a:lnTo>
                        <a:pt x="2128" y="563"/>
                      </a:lnTo>
                      <a:lnTo>
                        <a:pt x="2130" y="568"/>
                      </a:lnTo>
                      <a:lnTo>
                        <a:pt x="2136" y="571"/>
                      </a:lnTo>
                      <a:lnTo>
                        <a:pt x="2136" y="568"/>
                      </a:lnTo>
                      <a:lnTo>
                        <a:pt x="2138" y="568"/>
                      </a:lnTo>
                      <a:lnTo>
                        <a:pt x="2141" y="565"/>
                      </a:lnTo>
                      <a:lnTo>
                        <a:pt x="2144" y="565"/>
                      </a:lnTo>
                      <a:lnTo>
                        <a:pt x="2144" y="568"/>
                      </a:lnTo>
                      <a:lnTo>
                        <a:pt x="2146" y="568"/>
                      </a:lnTo>
                      <a:lnTo>
                        <a:pt x="2146" y="565"/>
                      </a:lnTo>
                      <a:lnTo>
                        <a:pt x="2150" y="565"/>
                      </a:lnTo>
                      <a:lnTo>
                        <a:pt x="2153" y="563"/>
                      </a:lnTo>
                      <a:lnTo>
                        <a:pt x="2153" y="573"/>
                      </a:lnTo>
                      <a:lnTo>
                        <a:pt x="2156" y="576"/>
                      </a:lnTo>
                      <a:lnTo>
                        <a:pt x="2161" y="576"/>
                      </a:lnTo>
                      <a:lnTo>
                        <a:pt x="2158" y="579"/>
                      </a:lnTo>
                      <a:lnTo>
                        <a:pt x="2158" y="582"/>
                      </a:lnTo>
                      <a:lnTo>
                        <a:pt x="2156" y="582"/>
                      </a:lnTo>
                      <a:lnTo>
                        <a:pt x="2156" y="585"/>
                      </a:lnTo>
                      <a:lnTo>
                        <a:pt x="2156" y="588"/>
                      </a:lnTo>
                      <a:lnTo>
                        <a:pt x="2158" y="593"/>
                      </a:lnTo>
                      <a:lnTo>
                        <a:pt x="2156" y="598"/>
                      </a:lnTo>
                      <a:lnTo>
                        <a:pt x="2156" y="596"/>
                      </a:lnTo>
                      <a:lnTo>
                        <a:pt x="2153" y="593"/>
                      </a:lnTo>
                      <a:lnTo>
                        <a:pt x="2153" y="590"/>
                      </a:lnTo>
                      <a:lnTo>
                        <a:pt x="2150" y="590"/>
                      </a:lnTo>
                      <a:lnTo>
                        <a:pt x="2146" y="590"/>
                      </a:lnTo>
                      <a:lnTo>
                        <a:pt x="2144" y="601"/>
                      </a:lnTo>
                      <a:lnTo>
                        <a:pt x="2144" y="604"/>
                      </a:lnTo>
                      <a:lnTo>
                        <a:pt x="2146" y="606"/>
                      </a:lnTo>
                      <a:lnTo>
                        <a:pt x="2141" y="606"/>
                      </a:lnTo>
                      <a:lnTo>
                        <a:pt x="2141" y="609"/>
                      </a:lnTo>
                      <a:lnTo>
                        <a:pt x="2144" y="609"/>
                      </a:lnTo>
                      <a:lnTo>
                        <a:pt x="2141" y="616"/>
                      </a:lnTo>
                      <a:lnTo>
                        <a:pt x="2138" y="616"/>
                      </a:lnTo>
                      <a:lnTo>
                        <a:pt x="2136" y="618"/>
                      </a:lnTo>
                      <a:lnTo>
                        <a:pt x="2133" y="618"/>
                      </a:lnTo>
                      <a:lnTo>
                        <a:pt x="2130" y="616"/>
                      </a:lnTo>
                      <a:lnTo>
                        <a:pt x="2128" y="616"/>
                      </a:lnTo>
                      <a:lnTo>
                        <a:pt x="2120" y="618"/>
                      </a:lnTo>
                      <a:lnTo>
                        <a:pt x="2117" y="624"/>
                      </a:lnTo>
                      <a:lnTo>
                        <a:pt x="2114" y="629"/>
                      </a:lnTo>
                      <a:lnTo>
                        <a:pt x="2114" y="637"/>
                      </a:lnTo>
                      <a:lnTo>
                        <a:pt x="2111" y="640"/>
                      </a:lnTo>
                      <a:lnTo>
                        <a:pt x="2117" y="654"/>
                      </a:lnTo>
                      <a:lnTo>
                        <a:pt x="2117" y="659"/>
                      </a:lnTo>
                      <a:lnTo>
                        <a:pt x="2125" y="665"/>
                      </a:lnTo>
                      <a:lnTo>
                        <a:pt x="2122" y="670"/>
                      </a:lnTo>
                      <a:lnTo>
                        <a:pt x="2128" y="675"/>
                      </a:lnTo>
                      <a:lnTo>
                        <a:pt x="2138" y="678"/>
                      </a:lnTo>
                      <a:lnTo>
                        <a:pt x="2138" y="681"/>
                      </a:lnTo>
                      <a:lnTo>
                        <a:pt x="2141" y="687"/>
                      </a:lnTo>
                      <a:lnTo>
                        <a:pt x="2138" y="690"/>
                      </a:lnTo>
                      <a:lnTo>
                        <a:pt x="2141" y="690"/>
                      </a:lnTo>
                      <a:lnTo>
                        <a:pt x="2138" y="693"/>
                      </a:lnTo>
                      <a:lnTo>
                        <a:pt x="2136" y="695"/>
                      </a:lnTo>
                      <a:lnTo>
                        <a:pt x="2133" y="695"/>
                      </a:lnTo>
                      <a:lnTo>
                        <a:pt x="2130" y="695"/>
                      </a:lnTo>
                      <a:lnTo>
                        <a:pt x="2130" y="690"/>
                      </a:lnTo>
                      <a:lnTo>
                        <a:pt x="2128" y="690"/>
                      </a:lnTo>
                      <a:lnTo>
                        <a:pt x="2122" y="690"/>
                      </a:lnTo>
                      <a:lnTo>
                        <a:pt x="2117" y="693"/>
                      </a:lnTo>
                      <a:lnTo>
                        <a:pt x="2120" y="693"/>
                      </a:lnTo>
                      <a:lnTo>
                        <a:pt x="2117" y="698"/>
                      </a:lnTo>
                      <a:lnTo>
                        <a:pt x="2117" y="703"/>
                      </a:lnTo>
                      <a:lnTo>
                        <a:pt x="2114" y="706"/>
                      </a:lnTo>
                      <a:lnTo>
                        <a:pt x="2111" y="703"/>
                      </a:lnTo>
                      <a:lnTo>
                        <a:pt x="2111" y="706"/>
                      </a:lnTo>
                      <a:lnTo>
                        <a:pt x="2114" y="709"/>
                      </a:lnTo>
                      <a:lnTo>
                        <a:pt x="2120" y="711"/>
                      </a:lnTo>
                      <a:lnTo>
                        <a:pt x="2128" y="714"/>
                      </a:lnTo>
                      <a:lnTo>
                        <a:pt x="2128" y="719"/>
                      </a:lnTo>
                      <a:lnTo>
                        <a:pt x="2128" y="723"/>
                      </a:lnTo>
                      <a:lnTo>
                        <a:pt x="2130" y="728"/>
                      </a:lnTo>
                      <a:lnTo>
                        <a:pt x="2130" y="734"/>
                      </a:lnTo>
                      <a:lnTo>
                        <a:pt x="2128" y="739"/>
                      </a:lnTo>
                      <a:lnTo>
                        <a:pt x="2130" y="744"/>
                      </a:lnTo>
                      <a:lnTo>
                        <a:pt x="2133" y="750"/>
                      </a:lnTo>
                      <a:lnTo>
                        <a:pt x="2130" y="756"/>
                      </a:lnTo>
                      <a:lnTo>
                        <a:pt x="2130" y="759"/>
                      </a:lnTo>
                      <a:lnTo>
                        <a:pt x="2128" y="762"/>
                      </a:lnTo>
                      <a:lnTo>
                        <a:pt x="2133" y="767"/>
                      </a:lnTo>
                      <a:lnTo>
                        <a:pt x="2130" y="775"/>
                      </a:lnTo>
                      <a:lnTo>
                        <a:pt x="2136" y="780"/>
                      </a:lnTo>
                      <a:lnTo>
                        <a:pt x="2138" y="792"/>
                      </a:lnTo>
                      <a:lnTo>
                        <a:pt x="2136" y="795"/>
                      </a:lnTo>
                      <a:lnTo>
                        <a:pt x="2136" y="792"/>
                      </a:lnTo>
                      <a:lnTo>
                        <a:pt x="2133" y="792"/>
                      </a:lnTo>
                      <a:lnTo>
                        <a:pt x="2130" y="795"/>
                      </a:lnTo>
                      <a:lnTo>
                        <a:pt x="2128" y="800"/>
                      </a:lnTo>
                      <a:lnTo>
                        <a:pt x="2130" y="805"/>
                      </a:lnTo>
                      <a:lnTo>
                        <a:pt x="2133" y="808"/>
                      </a:lnTo>
                      <a:lnTo>
                        <a:pt x="2133" y="805"/>
                      </a:lnTo>
                      <a:lnTo>
                        <a:pt x="2138" y="805"/>
                      </a:lnTo>
                      <a:lnTo>
                        <a:pt x="2138" y="811"/>
                      </a:lnTo>
                      <a:lnTo>
                        <a:pt x="2136" y="816"/>
                      </a:lnTo>
                      <a:lnTo>
                        <a:pt x="2133" y="816"/>
                      </a:lnTo>
                      <a:lnTo>
                        <a:pt x="2130" y="821"/>
                      </a:lnTo>
                      <a:lnTo>
                        <a:pt x="2122" y="828"/>
                      </a:lnTo>
                      <a:lnTo>
                        <a:pt x="2122" y="833"/>
                      </a:lnTo>
                      <a:lnTo>
                        <a:pt x="2120" y="836"/>
                      </a:lnTo>
                      <a:lnTo>
                        <a:pt x="2120" y="839"/>
                      </a:lnTo>
                      <a:lnTo>
                        <a:pt x="2122" y="841"/>
                      </a:lnTo>
                      <a:lnTo>
                        <a:pt x="2120" y="844"/>
                      </a:lnTo>
                      <a:lnTo>
                        <a:pt x="2117" y="852"/>
                      </a:lnTo>
                      <a:lnTo>
                        <a:pt x="2117" y="861"/>
                      </a:lnTo>
                      <a:lnTo>
                        <a:pt x="2122" y="866"/>
                      </a:lnTo>
                      <a:lnTo>
                        <a:pt x="2125" y="864"/>
                      </a:lnTo>
                      <a:lnTo>
                        <a:pt x="2130" y="869"/>
                      </a:lnTo>
                      <a:lnTo>
                        <a:pt x="2128" y="872"/>
                      </a:lnTo>
                      <a:lnTo>
                        <a:pt x="2128" y="869"/>
                      </a:lnTo>
                      <a:lnTo>
                        <a:pt x="2125" y="872"/>
                      </a:lnTo>
                      <a:lnTo>
                        <a:pt x="2125" y="877"/>
                      </a:lnTo>
                      <a:lnTo>
                        <a:pt x="2125" y="882"/>
                      </a:lnTo>
                      <a:lnTo>
                        <a:pt x="2122" y="882"/>
                      </a:lnTo>
                      <a:lnTo>
                        <a:pt x="2120" y="888"/>
                      </a:lnTo>
                      <a:lnTo>
                        <a:pt x="2117" y="891"/>
                      </a:lnTo>
                      <a:lnTo>
                        <a:pt x="2117" y="893"/>
                      </a:lnTo>
                      <a:lnTo>
                        <a:pt x="2114" y="900"/>
                      </a:lnTo>
                      <a:lnTo>
                        <a:pt x="2114" y="902"/>
                      </a:lnTo>
                      <a:lnTo>
                        <a:pt x="2117" y="902"/>
                      </a:lnTo>
                      <a:lnTo>
                        <a:pt x="2114" y="902"/>
                      </a:lnTo>
                      <a:lnTo>
                        <a:pt x="2114" y="905"/>
                      </a:lnTo>
                      <a:lnTo>
                        <a:pt x="2117" y="905"/>
                      </a:lnTo>
                      <a:lnTo>
                        <a:pt x="2117" y="908"/>
                      </a:lnTo>
                      <a:lnTo>
                        <a:pt x="2114" y="908"/>
                      </a:lnTo>
                      <a:lnTo>
                        <a:pt x="2111" y="910"/>
                      </a:lnTo>
                      <a:lnTo>
                        <a:pt x="2111" y="913"/>
                      </a:lnTo>
                      <a:lnTo>
                        <a:pt x="2114" y="913"/>
                      </a:lnTo>
                      <a:lnTo>
                        <a:pt x="2111" y="916"/>
                      </a:lnTo>
                      <a:lnTo>
                        <a:pt x="2108" y="918"/>
                      </a:lnTo>
                      <a:lnTo>
                        <a:pt x="2108" y="921"/>
                      </a:lnTo>
                      <a:lnTo>
                        <a:pt x="2103" y="933"/>
                      </a:lnTo>
                      <a:lnTo>
                        <a:pt x="2103" y="935"/>
                      </a:lnTo>
                      <a:lnTo>
                        <a:pt x="2105" y="935"/>
                      </a:lnTo>
                      <a:lnTo>
                        <a:pt x="2105" y="938"/>
                      </a:lnTo>
                      <a:lnTo>
                        <a:pt x="2103" y="941"/>
                      </a:lnTo>
                      <a:lnTo>
                        <a:pt x="2103" y="943"/>
                      </a:lnTo>
                      <a:lnTo>
                        <a:pt x="2103" y="946"/>
                      </a:lnTo>
                      <a:lnTo>
                        <a:pt x="2103" y="951"/>
                      </a:lnTo>
                      <a:lnTo>
                        <a:pt x="2108" y="954"/>
                      </a:lnTo>
                      <a:lnTo>
                        <a:pt x="2108" y="951"/>
                      </a:lnTo>
                      <a:lnTo>
                        <a:pt x="2111" y="954"/>
                      </a:lnTo>
                      <a:lnTo>
                        <a:pt x="2097" y="962"/>
                      </a:lnTo>
                      <a:lnTo>
                        <a:pt x="2087" y="982"/>
                      </a:lnTo>
                      <a:lnTo>
                        <a:pt x="2084" y="993"/>
                      </a:lnTo>
                      <a:lnTo>
                        <a:pt x="2087" y="995"/>
                      </a:lnTo>
                      <a:lnTo>
                        <a:pt x="2089" y="995"/>
                      </a:lnTo>
                      <a:lnTo>
                        <a:pt x="2087" y="998"/>
                      </a:lnTo>
                      <a:lnTo>
                        <a:pt x="2077" y="1010"/>
                      </a:lnTo>
                      <a:lnTo>
                        <a:pt x="2072" y="1018"/>
                      </a:lnTo>
                      <a:lnTo>
                        <a:pt x="2069" y="1029"/>
                      </a:lnTo>
                      <a:lnTo>
                        <a:pt x="2069" y="1031"/>
                      </a:lnTo>
                      <a:lnTo>
                        <a:pt x="2072" y="1031"/>
                      </a:lnTo>
                      <a:lnTo>
                        <a:pt x="2069" y="1035"/>
                      </a:lnTo>
                      <a:lnTo>
                        <a:pt x="2064" y="1043"/>
                      </a:lnTo>
                      <a:lnTo>
                        <a:pt x="2061" y="1051"/>
                      </a:lnTo>
                      <a:lnTo>
                        <a:pt x="2061" y="1062"/>
                      </a:lnTo>
                      <a:lnTo>
                        <a:pt x="2069" y="1062"/>
                      </a:lnTo>
                      <a:lnTo>
                        <a:pt x="2069" y="1064"/>
                      </a:lnTo>
                      <a:lnTo>
                        <a:pt x="2072" y="1067"/>
                      </a:lnTo>
                      <a:lnTo>
                        <a:pt x="2069" y="1067"/>
                      </a:lnTo>
                      <a:lnTo>
                        <a:pt x="2064" y="1073"/>
                      </a:lnTo>
                      <a:lnTo>
                        <a:pt x="2064" y="1076"/>
                      </a:lnTo>
                      <a:lnTo>
                        <a:pt x="2067" y="1076"/>
                      </a:lnTo>
                      <a:lnTo>
                        <a:pt x="2064" y="1081"/>
                      </a:lnTo>
                      <a:lnTo>
                        <a:pt x="2059" y="1084"/>
                      </a:lnTo>
                      <a:lnTo>
                        <a:pt x="2053" y="1089"/>
                      </a:lnTo>
                      <a:lnTo>
                        <a:pt x="2056" y="1092"/>
                      </a:lnTo>
                      <a:lnTo>
                        <a:pt x="2053" y="1095"/>
                      </a:lnTo>
                      <a:lnTo>
                        <a:pt x="2051" y="1095"/>
                      </a:lnTo>
                      <a:lnTo>
                        <a:pt x="2042" y="1100"/>
                      </a:lnTo>
                      <a:lnTo>
                        <a:pt x="2042" y="1107"/>
                      </a:lnTo>
                      <a:lnTo>
                        <a:pt x="2045" y="1109"/>
                      </a:lnTo>
                      <a:lnTo>
                        <a:pt x="2039" y="1112"/>
                      </a:lnTo>
                      <a:lnTo>
                        <a:pt x="2036" y="1109"/>
                      </a:lnTo>
                      <a:lnTo>
                        <a:pt x="2034" y="1112"/>
                      </a:lnTo>
                      <a:lnTo>
                        <a:pt x="2031" y="1112"/>
                      </a:lnTo>
                      <a:lnTo>
                        <a:pt x="2026" y="1115"/>
                      </a:lnTo>
                      <a:lnTo>
                        <a:pt x="2003" y="1123"/>
                      </a:lnTo>
                      <a:lnTo>
                        <a:pt x="1967" y="1142"/>
                      </a:lnTo>
                      <a:lnTo>
                        <a:pt x="1934" y="1164"/>
                      </a:lnTo>
                      <a:lnTo>
                        <a:pt x="1890" y="1192"/>
                      </a:lnTo>
                      <a:lnTo>
                        <a:pt x="1849" y="1225"/>
                      </a:lnTo>
                      <a:lnTo>
                        <a:pt x="1838" y="1235"/>
                      </a:lnTo>
                      <a:lnTo>
                        <a:pt x="1832" y="1238"/>
                      </a:lnTo>
                      <a:lnTo>
                        <a:pt x="1813" y="1255"/>
                      </a:lnTo>
                      <a:lnTo>
                        <a:pt x="1794" y="1274"/>
                      </a:lnTo>
                      <a:lnTo>
                        <a:pt x="1760" y="1310"/>
                      </a:lnTo>
                      <a:lnTo>
                        <a:pt x="1758" y="1312"/>
                      </a:lnTo>
                      <a:lnTo>
                        <a:pt x="1706" y="1374"/>
                      </a:lnTo>
                      <a:lnTo>
                        <a:pt x="1678" y="1412"/>
                      </a:lnTo>
                      <a:lnTo>
                        <a:pt x="1670" y="1412"/>
                      </a:lnTo>
                      <a:lnTo>
                        <a:pt x="1667" y="1412"/>
                      </a:lnTo>
                      <a:lnTo>
                        <a:pt x="1663" y="1412"/>
                      </a:lnTo>
                      <a:lnTo>
                        <a:pt x="1663" y="1409"/>
                      </a:lnTo>
                      <a:lnTo>
                        <a:pt x="1670" y="1407"/>
                      </a:lnTo>
                      <a:lnTo>
                        <a:pt x="1667" y="1407"/>
                      </a:lnTo>
                      <a:lnTo>
                        <a:pt x="1667" y="1404"/>
                      </a:lnTo>
                      <a:lnTo>
                        <a:pt x="1667" y="1407"/>
                      </a:lnTo>
                      <a:lnTo>
                        <a:pt x="1663" y="1404"/>
                      </a:lnTo>
                      <a:lnTo>
                        <a:pt x="1663" y="1401"/>
                      </a:lnTo>
                      <a:lnTo>
                        <a:pt x="1661" y="1399"/>
                      </a:lnTo>
                      <a:lnTo>
                        <a:pt x="1655" y="1401"/>
                      </a:lnTo>
                      <a:lnTo>
                        <a:pt x="1653" y="1401"/>
                      </a:lnTo>
                      <a:lnTo>
                        <a:pt x="1645" y="1396"/>
                      </a:lnTo>
                      <a:lnTo>
                        <a:pt x="1642" y="1396"/>
                      </a:lnTo>
                      <a:lnTo>
                        <a:pt x="1637" y="1396"/>
                      </a:lnTo>
                      <a:lnTo>
                        <a:pt x="1637" y="1393"/>
                      </a:lnTo>
                      <a:lnTo>
                        <a:pt x="1634" y="1396"/>
                      </a:lnTo>
                      <a:lnTo>
                        <a:pt x="1634" y="1393"/>
                      </a:lnTo>
                      <a:lnTo>
                        <a:pt x="1630" y="1391"/>
                      </a:lnTo>
                      <a:lnTo>
                        <a:pt x="1628" y="1391"/>
                      </a:lnTo>
                      <a:lnTo>
                        <a:pt x="1625" y="1391"/>
                      </a:lnTo>
                      <a:lnTo>
                        <a:pt x="1622" y="1391"/>
                      </a:lnTo>
                      <a:lnTo>
                        <a:pt x="1622" y="1388"/>
                      </a:lnTo>
                      <a:lnTo>
                        <a:pt x="1625" y="1385"/>
                      </a:lnTo>
                      <a:lnTo>
                        <a:pt x="1620" y="1382"/>
                      </a:lnTo>
                      <a:lnTo>
                        <a:pt x="1620" y="1379"/>
                      </a:lnTo>
                      <a:lnTo>
                        <a:pt x="1622" y="1379"/>
                      </a:lnTo>
                      <a:lnTo>
                        <a:pt x="1620" y="1376"/>
                      </a:lnTo>
                      <a:lnTo>
                        <a:pt x="1617" y="1376"/>
                      </a:lnTo>
                      <a:lnTo>
                        <a:pt x="1617" y="1374"/>
                      </a:lnTo>
                      <a:lnTo>
                        <a:pt x="1614" y="1368"/>
                      </a:lnTo>
                      <a:lnTo>
                        <a:pt x="1609" y="1368"/>
                      </a:lnTo>
                      <a:lnTo>
                        <a:pt x="1601" y="1365"/>
                      </a:lnTo>
                      <a:lnTo>
                        <a:pt x="1595" y="1363"/>
                      </a:lnTo>
                      <a:lnTo>
                        <a:pt x="1589" y="1363"/>
                      </a:lnTo>
                      <a:lnTo>
                        <a:pt x="1586" y="1360"/>
                      </a:lnTo>
                      <a:lnTo>
                        <a:pt x="1584" y="1360"/>
                      </a:lnTo>
                      <a:lnTo>
                        <a:pt x="1581" y="1360"/>
                      </a:lnTo>
                      <a:lnTo>
                        <a:pt x="1581" y="1357"/>
                      </a:lnTo>
                      <a:lnTo>
                        <a:pt x="1576" y="1357"/>
                      </a:lnTo>
                      <a:lnTo>
                        <a:pt x="1573" y="1360"/>
                      </a:lnTo>
                      <a:lnTo>
                        <a:pt x="1570" y="1365"/>
                      </a:lnTo>
                      <a:lnTo>
                        <a:pt x="1565" y="1368"/>
                      </a:lnTo>
                      <a:lnTo>
                        <a:pt x="1559" y="1371"/>
                      </a:lnTo>
                      <a:lnTo>
                        <a:pt x="1556" y="1368"/>
                      </a:lnTo>
                      <a:lnTo>
                        <a:pt x="1545" y="1374"/>
                      </a:lnTo>
                      <a:lnTo>
                        <a:pt x="1543" y="1376"/>
                      </a:lnTo>
                      <a:lnTo>
                        <a:pt x="1535" y="1376"/>
                      </a:lnTo>
                      <a:lnTo>
                        <a:pt x="1535" y="1379"/>
                      </a:lnTo>
                      <a:lnTo>
                        <a:pt x="1532" y="1379"/>
                      </a:lnTo>
                      <a:lnTo>
                        <a:pt x="1523" y="1382"/>
                      </a:lnTo>
                      <a:lnTo>
                        <a:pt x="1517" y="1382"/>
                      </a:lnTo>
                      <a:lnTo>
                        <a:pt x="1515" y="1382"/>
                      </a:lnTo>
                      <a:lnTo>
                        <a:pt x="1512" y="1382"/>
                      </a:lnTo>
                      <a:lnTo>
                        <a:pt x="1515" y="1393"/>
                      </a:lnTo>
                      <a:lnTo>
                        <a:pt x="1517" y="1393"/>
                      </a:lnTo>
                      <a:lnTo>
                        <a:pt x="1523" y="1399"/>
                      </a:lnTo>
                      <a:lnTo>
                        <a:pt x="1529" y="1404"/>
                      </a:lnTo>
                      <a:lnTo>
                        <a:pt x="1535" y="1404"/>
                      </a:lnTo>
                      <a:lnTo>
                        <a:pt x="1545" y="1421"/>
                      </a:lnTo>
                      <a:lnTo>
                        <a:pt x="1540" y="1417"/>
                      </a:lnTo>
                      <a:lnTo>
                        <a:pt x="1535" y="1417"/>
                      </a:lnTo>
                      <a:lnTo>
                        <a:pt x="1537" y="1415"/>
                      </a:lnTo>
                      <a:lnTo>
                        <a:pt x="1537" y="1412"/>
                      </a:lnTo>
                      <a:lnTo>
                        <a:pt x="1529" y="1412"/>
                      </a:lnTo>
                      <a:lnTo>
                        <a:pt x="1532" y="1409"/>
                      </a:lnTo>
                      <a:lnTo>
                        <a:pt x="1529" y="1409"/>
                      </a:lnTo>
                      <a:lnTo>
                        <a:pt x="1526" y="1409"/>
                      </a:lnTo>
                      <a:lnTo>
                        <a:pt x="1526" y="1407"/>
                      </a:lnTo>
                      <a:lnTo>
                        <a:pt x="1523" y="1404"/>
                      </a:lnTo>
                      <a:lnTo>
                        <a:pt x="1517" y="1404"/>
                      </a:lnTo>
                      <a:lnTo>
                        <a:pt x="1515" y="1401"/>
                      </a:lnTo>
                      <a:lnTo>
                        <a:pt x="1517" y="1401"/>
                      </a:lnTo>
                      <a:lnTo>
                        <a:pt x="1512" y="1399"/>
                      </a:lnTo>
                      <a:lnTo>
                        <a:pt x="1512" y="1396"/>
                      </a:lnTo>
                      <a:lnTo>
                        <a:pt x="1509" y="1396"/>
                      </a:lnTo>
                      <a:lnTo>
                        <a:pt x="1509" y="1393"/>
                      </a:lnTo>
                      <a:lnTo>
                        <a:pt x="1507" y="1396"/>
                      </a:lnTo>
                      <a:lnTo>
                        <a:pt x="1507" y="1401"/>
                      </a:lnTo>
                      <a:lnTo>
                        <a:pt x="1504" y="1401"/>
                      </a:lnTo>
                      <a:lnTo>
                        <a:pt x="1504" y="1399"/>
                      </a:lnTo>
                      <a:lnTo>
                        <a:pt x="1501" y="1396"/>
                      </a:lnTo>
                      <a:lnTo>
                        <a:pt x="1501" y="1393"/>
                      </a:lnTo>
                      <a:lnTo>
                        <a:pt x="1499" y="1393"/>
                      </a:lnTo>
                      <a:lnTo>
                        <a:pt x="1501" y="1391"/>
                      </a:lnTo>
                      <a:lnTo>
                        <a:pt x="1501" y="1382"/>
                      </a:lnTo>
                      <a:lnTo>
                        <a:pt x="1504" y="1382"/>
                      </a:lnTo>
                      <a:lnTo>
                        <a:pt x="1499" y="1382"/>
                      </a:lnTo>
                      <a:lnTo>
                        <a:pt x="1499" y="1379"/>
                      </a:lnTo>
                      <a:lnTo>
                        <a:pt x="1496" y="1379"/>
                      </a:lnTo>
                      <a:lnTo>
                        <a:pt x="1492" y="1379"/>
                      </a:lnTo>
                      <a:lnTo>
                        <a:pt x="1501" y="1374"/>
                      </a:lnTo>
                      <a:lnTo>
                        <a:pt x="1504" y="1374"/>
                      </a:lnTo>
                      <a:lnTo>
                        <a:pt x="1501" y="1371"/>
                      </a:lnTo>
                      <a:lnTo>
                        <a:pt x="1499" y="1371"/>
                      </a:lnTo>
                      <a:lnTo>
                        <a:pt x="1501" y="1368"/>
                      </a:lnTo>
                      <a:lnTo>
                        <a:pt x="1499" y="1368"/>
                      </a:lnTo>
                      <a:lnTo>
                        <a:pt x="1507" y="1365"/>
                      </a:lnTo>
                      <a:lnTo>
                        <a:pt x="1507" y="1363"/>
                      </a:lnTo>
                      <a:lnTo>
                        <a:pt x="1504" y="1360"/>
                      </a:lnTo>
                      <a:lnTo>
                        <a:pt x="1499" y="1360"/>
                      </a:lnTo>
                      <a:lnTo>
                        <a:pt x="1504" y="1355"/>
                      </a:lnTo>
                      <a:lnTo>
                        <a:pt x="1504" y="1357"/>
                      </a:lnTo>
                      <a:lnTo>
                        <a:pt x="1509" y="1357"/>
                      </a:lnTo>
                      <a:lnTo>
                        <a:pt x="1507" y="1360"/>
                      </a:lnTo>
                      <a:lnTo>
                        <a:pt x="1512" y="1360"/>
                      </a:lnTo>
                      <a:lnTo>
                        <a:pt x="1512" y="1363"/>
                      </a:lnTo>
                      <a:lnTo>
                        <a:pt x="1520" y="1363"/>
                      </a:lnTo>
                      <a:lnTo>
                        <a:pt x="1517" y="1368"/>
                      </a:lnTo>
                      <a:lnTo>
                        <a:pt x="1515" y="1368"/>
                      </a:lnTo>
                      <a:lnTo>
                        <a:pt x="1515" y="1371"/>
                      </a:lnTo>
                      <a:lnTo>
                        <a:pt x="1515" y="1374"/>
                      </a:lnTo>
                      <a:lnTo>
                        <a:pt x="1523" y="1368"/>
                      </a:lnTo>
                      <a:lnTo>
                        <a:pt x="1520" y="1374"/>
                      </a:lnTo>
                      <a:lnTo>
                        <a:pt x="1526" y="1371"/>
                      </a:lnTo>
                      <a:lnTo>
                        <a:pt x="1523" y="1368"/>
                      </a:lnTo>
                      <a:lnTo>
                        <a:pt x="1526" y="1365"/>
                      </a:lnTo>
                      <a:lnTo>
                        <a:pt x="1523" y="1368"/>
                      </a:lnTo>
                      <a:lnTo>
                        <a:pt x="1523" y="1360"/>
                      </a:lnTo>
                      <a:lnTo>
                        <a:pt x="1523" y="1357"/>
                      </a:lnTo>
                      <a:lnTo>
                        <a:pt x="1526" y="1357"/>
                      </a:lnTo>
                      <a:lnTo>
                        <a:pt x="1523" y="1357"/>
                      </a:lnTo>
                      <a:lnTo>
                        <a:pt x="1523" y="1352"/>
                      </a:lnTo>
                      <a:lnTo>
                        <a:pt x="1520" y="1352"/>
                      </a:lnTo>
                      <a:lnTo>
                        <a:pt x="1520" y="1349"/>
                      </a:lnTo>
                      <a:lnTo>
                        <a:pt x="1520" y="1346"/>
                      </a:lnTo>
                      <a:lnTo>
                        <a:pt x="1520" y="1343"/>
                      </a:lnTo>
                      <a:lnTo>
                        <a:pt x="1526" y="1340"/>
                      </a:lnTo>
                      <a:lnTo>
                        <a:pt x="1532" y="1340"/>
                      </a:lnTo>
                      <a:lnTo>
                        <a:pt x="1529" y="1340"/>
                      </a:lnTo>
                      <a:lnTo>
                        <a:pt x="1529" y="1343"/>
                      </a:lnTo>
                      <a:lnTo>
                        <a:pt x="1523" y="1346"/>
                      </a:lnTo>
                      <a:lnTo>
                        <a:pt x="1523" y="1349"/>
                      </a:lnTo>
                      <a:lnTo>
                        <a:pt x="1529" y="1349"/>
                      </a:lnTo>
                      <a:lnTo>
                        <a:pt x="1526" y="1349"/>
                      </a:lnTo>
                      <a:lnTo>
                        <a:pt x="1529" y="1352"/>
                      </a:lnTo>
                      <a:lnTo>
                        <a:pt x="1529" y="1355"/>
                      </a:lnTo>
                      <a:lnTo>
                        <a:pt x="1535" y="1349"/>
                      </a:lnTo>
                      <a:lnTo>
                        <a:pt x="1535" y="1355"/>
                      </a:lnTo>
                      <a:lnTo>
                        <a:pt x="1537" y="1352"/>
                      </a:lnTo>
                      <a:lnTo>
                        <a:pt x="1540" y="1352"/>
                      </a:lnTo>
                      <a:lnTo>
                        <a:pt x="1543" y="1352"/>
                      </a:lnTo>
                      <a:lnTo>
                        <a:pt x="1545" y="1349"/>
                      </a:lnTo>
                      <a:lnTo>
                        <a:pt x="1548" y="1352"/>
                      </a:lnTo>
                      <a:lnTo>
                        <a:pt x="1553" y="1352"/>
                      </a:lnTo>
                      <a:lnTo>
                        <a:pt x="1551" y="1349"/>
                      </a:lnTo>
                      <a:lnTo>
                        <a:pt x="1548" y="1346"/>
                      </a:lnTo>
                      <a:lnTo>
                        <a:pt x="1551" y="1343"/>
                      </a:lnTo>
                      <a:lnTo>
                        <a:pt x="1551" y="1340"/>
                      </a:lnTo>
                      <a:lnTo>
                        <a:pt x="1556" y="1340"/>
                      </a:lnTo>
                      <a:lnTo>
                        <a:pt x="1556" y="1338"/>
                      </a:lnTo>
                      <a:lnTo>
                        <a:pt x="1556" y="1332"/>
                      </a:lnTo>
                      <a:lnTo>
                        <a:pt x="1553" y="1330"/>
                      </a:lnTo>
                      <a:lnTo>
                        <a:pt x="1561" y="1330"/>
                      </a:lnTo>
                      <a:lnTo>
                        <a:pt x="1565" y="1330"/>
                      </a:lnTo>
                      <a:lnTo>
                        <a:pt x="1565" y="1332"/>
                      </a:lnTo>
                      <a:lnTo>
                        <a:pt x="1568" y="1330"/>
                      </a:lnTo>
                      <a:lnTo>
                        <a:pt x="1565" y="1324"/>
                      </a:lnTo>
                      <a:lnTo>
                        <a:pt x="1568" y="1324"/>
                      </a:lnTo>
                      <a:lnTo>
                        <a:pt x="1573" y="1324"/>
                      </a:lnTo>
                      <a:lnTo>
                        <a:pt x="1576" y="1324"/>
                      </a:lnTo>
                      <a:lnTo>
                        <a:pt x="1573" y="1324"/>
                      </a:lnTo>
                      <a:lnTo>
                        <a:pt x="1573" y="1319"/>
                      </a:lnTo>
                      <a:lnTo>
                        <a:pt x="1576" y="1316"/>
                      </a:lnTo>
                      <a:lnTo>
                        <a:pt x="1573" y="1316"/>
                      </a:lnTo>
                      <a:lnTo>
                        <a:pt x="1573" y="1310"/>
                      </a:lnTo>
                      <a:lnTo>
                        <a:pt x="1578" y="1310"/>
                      </a:lnTo>
                      <a:lnTo>
                        <a:pt x="1578" y="1307"/>
                      </a:lnTo>
                      <a:lnTo>
                        <a:pt x="1576" y="1304"/>
                      </a:lnTo>
                      <a:lnTo>
                        <a:pt x="1578" y="1304"/>
                      </a:lnTo>
                      <a:lnTo>
                        <a:pt x="1581" y="1304"/>
                      </a:lnTo>
                      <a:lnTo>
                        <a:pt x="1578" y="1302"/>
                      </a:lnTo>
                      <a:lnTo>
                        <a:pt x="1584" y="1302"/>
                      </a:lnTo>
                      <a:lnTo>
                        <a:pt x="1584" y="1299"/>
                      </a:lnTo>
                      <a:lnTo>
                        <a:pt x="1581" y="1299"/>
                      </a:lnTo>
                      <a:lnTo>
                        <a:pt x="1578" y="1302"/>
                      </a:lnTo>
                      <a:lnTo>
                        <a:pt x="1576" y="1302"/>
                      </a:lnTo>
                      <a:lnTo>
                        <a:pt x="1573" y="1302"/>
                      </a:lnTo>
                      <a:lnTo>
                        <a:pt x="1565" y="1304"/>
                      </a:lnTo>
                      <a:lnTo>
                        <a:pt x="1565" y="1307"/>
                      </a:lnTo>
                      <a:lnTo>
                        <a:pt x="1565" y="1304"/>
                      </a:lnTo>
                      <a:lnTo>
                        <a:pt x="1556" y="1304"/>
                      </a:lnTo>
                      <a:lnTo>
                        <a:pt x="1576" y="1296"/>
                      </a:lnTo>
                      <a:lnTo>
                        <a:pt x="1576" y="1294"/>
                      </a:lnTo>
                      <a:lnTo>
                        <a:pt x="1578" y="1291"/>
                      </a:lnTo>
                      <a:lnTo>
                        <a:pt x="1578" y="1288"/>
                      </a:lnTo>
                      <a:lnTo>
                        <a:pt x="1581" y="1288"/>
                      </a:lnTo>
                      <a:lnTo>
                        <a:pt x="1581" y="1286"/>
                      </a:lnTo>
                      <a:lnTo>
                        <a:pt x="1584" y="1286"/>
                      </a:lnTo>
                      <a:lnTo>
                        <a:pt x="1584" y="1283"/>
                      </a:lnTo>
                      <a:lnTo>
                        <a:pt x="1581" y="1283"/>
                      </a:lnTo>
                      <a:lnTo>
                        <a:pt x="1573" y="1286"/>
                      </a:lnTo>
                      <a:lnTo>
                        <a:pt x="1578" y="1280"/>
                      </a:lnTo>
                      <a:lnTo>
                        <a:pt x="1578" y="1274"/>
                      </a:lnTo>
                      <a:lnTo>
                        <a:pt x="1581" y="1271"/>
                      </a:lnTo>
                      <a:lnTo>
                        <a:pt x="1584" y="1274"/>
                      </a:lnTo>
                      <a:lnTo>
                        <a:pt x="1584" y="1269"/>
                      </a:lnTo>
                      <a:lnTo>
                        <a:pt x="1584" y="1266"/>
                      </a:lnTo>
                      <a:lnTo>
                        <a:pt x="1586" y="1269"/>
                      </a:lnTo>
                      <a:lnTo>
                        <a:pt x="1592" y="1266"/>
                      </a:lnTo>
                      <a:lnTo>
                        <a:pt x="1586" y="1263"/>
                      </a:lnTo>
                      <a:lnTo>
                        <a:pt x="1584" y="1261"/>
                      </a:lnTo>
                      <a:lnTo>
                        <a:pt x="1578" y="1258"/>
                      </a:lnTo>
                      <a:lnTo>
                        <a:pt x="1578" y="1250"/>
                      </a:lnTo>
                      <a:lnTo>
                        <a:pt x="1581" y="1250"/>
                      </a:lnTo>
                      <a:lnTo>
                        <a:pt x="1581" y="1244"/>
                      </a:lnTo>
                      <a:lnTo>
                        <a:pt x="1584" y="1244"/>
                      </a:lnTo>
                      <a:lnTo>
                        <a:pt x="1576" y="1244"/>
                      </a:lnTo>
                      <a:lnTo>
                        <a:pt x="1573" y="1241"/>
                      </a:lnTo>
                      <a:lnTo>
                        <a:pt x="1578" y="1238"/>
                      </a:lnTo>
                      <a:lnTo>
                        <a:pt x="1576" y="1235"/>
                      </a:lnTo>
                      <a:lnTo>
                        <a:pt x="1581" y="1233"/>
                      </a:lnTo>
                      <a:lnTo>
                        <a:pt x="1581" y="1230"/>
                      </a:lnTo>
                      <a:lnTo>
                        <a:pt x="1581" y="1227"/>
                      </a:lnTo>
                      <a:lnTo>
                        <a:pt x="1584" y="1227"/>
                      </a:lnTo>
                      <a:lnTo>
                        <a:pt x="1584" y="1225"/>
                      </a:lnTo>
                      <a:lnTo>
                        <a:pt x="1586" y="1225"/>
                      </a:lnTo>
                      <a:lnTo>
                        <a:pt x="1586" y="1222"/>
                      </a:lnTo>
                      <a:lnTo>
                        <a:pt x="1589" y="1222"/>
                      </a:lnTo>
                      <a:lnTo>
                        <a:pt x="1584" y="1222"/>
                      </a:lnTo>
                      <a:lnTo>
                        <a:pt x="1581" y="1225"/>
                      </a:lnTo>
                      <a:lnTo>
                        <a:pt x="1581" y="1219"/>
                      </a:lnTo>
                      <a:lnTo>
                        <a:pt x="1573" y="1222"/>
                      </a:lnTo>
                      <a:lnTo>
                        <a:pt x="1576" y="1219"/>
                      </a:lnTo>
                      <a:lnTo>
                        <a:pt x="1578" y="1217"/>
                      </a:lnTo>
                      <a:lnTo>
                        <a:pt x="1578" y="1214"/>
                      </a:lnTo>
                      <a:lnTo>
                        <a:pt x="1581" y="1214"/>
                      </a:lnTo>
                      <a:lnTo>
                        <a:pt x="1581" y="1211"/>
                      </a:lnTo>
                      <a:lnTo>
                        <a:pt x="1576" y="1214"/>
                      </a:lnTo>
                      <a:lnTo>
                        <a:pt x="1578" y="1202"/>
                      </a:lnTo>
                      <a:lnTo>
                        <a:pt x="1576" y="1202"/>
                      </a:lnTo>
                      <a:lnTo>
                        <a:pt x="1576" y="1200"/>
                      </a:lnTo>
                      <a:lnTo>
                        <a:pt x="1576" y="1192"/>
                      </a:lnTo>
                      <a:lnTo>
                        <a:pt x="1581" y="1194"/>
                      </a:lnTo>
                      <a:lnTo>
                        <a:pt x="1581" y="1189"/>
                      </a:lnTo>
                      <a:lnTo>
                        <a:pt x="1578" y="1189"/>
                      </a:lnTo>
                      <a:lnTo>
                        <a:pt x="1578" y="1186"/>
                      </a:lnTo>
                      <a:lnTo>
                        <a:pt x="1578" y="1184"/>
                      </a:lnTo>
                      <a:lnTo>
                        <a:pt x="1576" y="1184"/>
                      </a:lnTo>
                      <a:lnTo>
                        <a:pt x="1578" y="1181"/>
                      </a:lnTo>
                      <a:lnTo>
                        <a:pt x="1578" y="1178"/>
                      </a:lnTo>
                      <a:lnTo>
                        <a:pt x="1578" y="1176"/>
                      </a:lnTo>
                      <a:lnTo>
                        <a:pt x="1581" y="1172"/>
                      </a:lnTo>
                      <a:lnTo>
                        <a:pt x="1581" y="1176"/>
                      </a:lnTo>
                      <a:lnTo>
                        <a:pt x="1581" y="1172"/>
                      </a:lnTo>
                      <a:lnTo>
                        <a:pt x="1586" y="1176"/>
                      </a:lnTo>
                      <a:lnTo>
                        <a:pt x="1589" y="1172"/>
                      </a:lnTo>
                      <a:lnTo>
                        <a:pt x="1589" y="1169"/>
                      </a:lnTo>
                      <a:lnTo>
                        <a:pt x="1592" y="1169"/>
                      </a:lnTo>
                      <a:lnTo>
                        <a:pt x="1586" y="1166"/>
                      </a:lnTo>
                      <a:lnTo>
                        <a:pt x="1586" y="1161"/>
                      </a:lnTo>
                      <a:lnTo>
                        <a:pt x="1589" y="1156"/>
                      </a:lnTo>
                      <a:lnTo>
                        <a:pt x="1595" y="1156"/>
                      </a:lnTo>
                      <a:lnTo>
                        <a:pt x="1598" y="1153"/>
                      </a:lnTo>
                      <a:lnTo>
                        <a:pt x="1598" y="1156"/>
                      </a:lnTo>
                      <a:lnTo>
                        <a:pt x="1601" y="1158"/>
                      </a:lnTo>
                      <a:lnTo>
                        <a:pt x="1604" y="1158"/>
                      </a:lnTo>
                      <a:lnTo>
                        <a:pt x="1606" y="1156"/>
                      </a:lnTo>
                      <a:lnTo>
                        <a:pt x="1609" y="1158"/>
                      </a:lnTo>
                      <a:lnTo>
                        <a:pt x="1604" y="1166"/>
                      </a:lnTo>
                      <a:lnTo>
                        <a:pt x="1606" y="1166"/>
                      </a:lnTo>
                      <a:lnTo>
                        <a:pt x="1606" y="1169"/>
                      </a:lnTo>
                      <a:lnTo>
                        <a:pt x="1612" y="1166"/>
                      </a:lnTo>
                      <a:lnTo>
                        <a:pt x="1609" y="1164"/>
                      </a:lnTo>
                      <a:lnTo>
                        <a:pt x="1612" y="1158"/>
                      </a:lnTo>
                      <a:lnTo>
                        <a:pt x="1612" y="1153"/>
                      </a:lnTo>
                      <a:lnTo>
                        <a:pt x="1612" y="1150"/>
                      </a:lnTo>
                      <a:lnTo>
                        <a:pt x="1617" y="1150"/>
                      </a:lnTo>
                      <a:lnTo>
                        <a:pt x="1614" y="1150"/>
                      </a:lnTo>
                      <a:lnTo>
                        <a:pt x="1622" y="1150"/>
                      </a:lnTo>
                      <a:lnTo>
                        <a:pt x="1622" y="1156"/>
                      </a:lnTo>
                      <a:lnTo>
                        <a:pt x="1625" y="1156"/>
                      </a:lnTo>
                      <a:lnTo>
                        <a:pt x="1625" y="1153"/>
                      </a:lnTo>
                      <a:lnTo>
                        <a:pt x="1625" y="1150"/>
                      </a:lnTo>
                      <a:lnTo>
                        <a:pt x="1628" y="1148"/>
                      </a:lnTo>
                      <a:lnTo>
                        <a:pt x="1634" y="1148"/>
                      </a:lnTo>
                      <a:lnTo>
                        <a:pt x="1630" y="1145"/>
                      </a:lnTo>
                      <a:lnTo>
                        <a:pt x="1628" y="1145"/>
                      </a:lnTo>
                      <a:lnTo>
                        <a:pt x="1628" y="1140"/>
                      </a:lnTo>
                      <a:lnTo>
                        <a:pt x="1625" y="1140"/>
                      </a:lnTo>
                      <a:lnTo>
                        <a:pt x="1625" y="1136"/>
                      </a:lnTo>
                      <a:lnTo>
                        <a:pt x="1628" y="1136"/>
                      </a:lnTo>
                      <a:lnTo>
                        <a:pt x="1630" y="1133"/>
                      </a:lnTo>
                      <a:lnTo>
                        <a:pt x="1637" y="1131"/>
                      </a:lnTo>
                      <a:lnTo>
                        <a:pt x="1634" y="1131"/>
                      </a:lnTo>
                      <a:lnTo>
                        <a:pt x="1637" y="1128"/>
                      </a:lnTo>
                      <a:lnTo>
                        <a:pt x="1634" y="1125"/>
                      </a:lnTo>
                      <a:lnTo>
                        <a:pt x="1637" y="1123"/>
                      </a:lnTo>
                      <a:lnTo>
                        <a:pt x="1639" y="1120"/>
                      </a:lnTo>
                      <a:lnTo>
                        <a:pt x="1642" y="1115"/>
                      </a:lnTo>
                      <a:lnTo>
                        <a:pt x="1645" y="1115"/>
                      </a:lnTo>
                      <a:lnTo>
                        <a:pt x="1647" y="1112"/>
                      </a:lnTo>
                      <a:lnTo>
                        <a:pt x="1647" y="1117"/>
                      </a:lnTo>
                      <a:lnTo>
                        <a:pt x="1650" y="1120"/>
                      </a:lnTo>
                      <a:lnTo>
                        <a:pt x="1653" y="1120"/>
                      </a:lnTo>
                      <a:lnTo>
                        <a:pt x="1658" y="1115"/>
                      </a:lnTo>
                      <a:lnTo>
                        <a:pt x="1658" y="1120"/>
                      </a:lnTo>
                      <a:lnTo>
                        <a:pt x="1670" y="1117"/>
                      </a:lnTo>
                      <a:lnTo>
                        <a:pt x="1675" y="1117"/>
                      </a:lnTo>
                      <a:lnTo>
                        <a:pt x="1678" y="1117"/>
                      </a:lnTo>
                      <a:lnTo>
                        <a:pt x="1678" y="1120"/>
                      </a:lnTo>
                      <a:lnTo>
                        <a:pt x="1681" y="1120"/>
                      </a:lnTo>
                      <a:lnTo>
                        <a:pt x="1683" y="1117"/>
                      </a:lnTo>
                      <a:lnTo>
                        <a:pt x="1686" y="1115"/>
                      </a:lnTo>
                      <a:lnTo>
                        <a:pt x="1683" y="1109"/>
                      </a:lnTo>
                      <a:lnTo>
                        <a:pt x="1678" y="1109"/>
                      </a:lnTo>
                      <a:lnTo>
                        <a:pt x="1678" y="1103"/>
                      </a:lnTo>
                      <a:lnTo>
                        <a:pt x="1678" y="1100"/>
                      </a:lnTo>
                      <a:lnTo>
                        <a:pt x="1678" y="1097"/>
                      </a:lnTo>
                      <a:lnTo>
                        <a:pt x="1678" y="1095"/>
                      </a:lnTo>
                      <a:lnTo>
                        <a:pt x="1675" y="1097"/>
                      </a:lnTo>
                      <a:lnTo>
                        <a:pt x="1673" y="1095"/>
                      </a:lnTo>
                      <a:lnTo>
                        <a:pt x="1670" y="1087"/>
                      </a:lnTo>
                      <a:lnTo>
                        <a:pt x="1663" y="1084"/>
                      </a:lnTo>
                      <a:lnTo>
                        <a:pt x="1661" y="1084"/>
                      </a:lnTo>
                      <a:lnTo>
                        <a:pt x="1663" y="1079"/>
                      </a:lnTo>
                      <a:lnTo>
                        <a:pt x="1670" y="1073"/>
                      </a:lnTo>
                      <a:lnTo>
                        <a:pt x="1663" y="1067"/>
                      </a:lnTo>
                      <a:lnTo>
                        <a:pt x="1667" y="1064"/>
                      </a:lnTo>
                      <a:lnTo>
                        <a:pt x="1663" y="1064"/>
                      </a:lnTo>
                      <a:lnTo>
                        <a:pt x="1663" y="1062"/>
                      </a:lnTo>
                      <a:lnTo>
                        <a:pt x="1655" y="1064"/>
                      </a:lnTo>
                      <a:lnTo>
                        <a:pt x="1653" y="1062"/>
                      </a:lnTo>
                      <a:lnTo>
                        <a:pt x="1655" y="1059"/>
                      </a:lnTo>
                      <a:lnTo>
                        <a:pt x="1655" y="1048"/>
                      </a:lnTo>
                      <a:lnTo>
                        <a:pt x="1653" y="1048"/>
                      </a:lnTo>
                      <a:lnTo>
                        <a:pt x="1653" y="1051"/>
                      </a:lnTo>
                      <a:lnTo>
                        <a:pt x="1647" y="1054"/>
                      </a:lnTo>
                      <a:lnTo>
                        <a:pt x="1650" y="1054"/>
                      </a:lnTo>
                      <a:lnTo>
                        <a:pt x="1647" y="1059"/>
                      </a:lnTo>
                      <a:lnTo>
                        <a:pt x="1650" y="1062"/>
                      </a:lnTo>
                      <a:lnTo>
                        <a:pt x="1647" y="1064"/>
                      </a:lnTo>
                      <a:lnTo>
                        <a:pt x="1645" y="1062"/>
                      </a:lnTo>
                      <a:lnTo>
                        <a:pt x="1642" y="1059"/>
                      </a:lnTo>
                      <a:lnTo>
                        <a:pt x="1639" y="1059"/>
                      </a:lnTo>
                      <a:lnTo>
                        <a:pt x="1637" y="1051"/>
                      </a:lnTo>
                      <a:lnTo>
                        <a:pt x="1634" y="1051"/>
                      </a:lnTo>
                      <a:lnTo>
                        <a:pt x="1634" y="1056"/>
                      </a:lnTo>
                      <a:lnTo>
                        <a:pt x="1637" y="1059"/>
                      </a:lnTo>
                      <a:lnTo>
                        <a:pt x="1630" y="1056"/>
                      </a:lnTo>
                      <a:lnTo>
                        <a:pt x="1625" y="1064"/>
                      </a:lnTo>
                      <a:lnTo>
                        <a:pt x="1622" y="1062"/>
                      </a:lnTo>
                      <a:lnTo>
                        <a:pt x="1625" y="1059"/>
                      </a:lnTo>
                      <a:lnTo>
                        <a:pt x="1614" y="1059"/>
                      </a:lnTo>
                      <a:lnTo>
                        <a:pt x="1614" y="1056"/>
                      </a:lnTo>
                      <a:lnTo>
                        <a:pt x="1614" y="1054"/>
                      </a:lnTo>
                      <a:lnTo>
                        <a:pt x="1614" y="1048"/>
                      </a:lnTo>
                      <a:lnTo>
                        <a:pt x="1609" y="1046"/>
                      </a:lnTo>
                      <a:lnTo>
                        <a:pt x="1617" y="1043"/>
                      </a:lnTo>
                      <a:lnTo>
                        <a:pt x="1620" y="1043"/>
                      </a:lnTo>
                      <a:lnTo>
                        <a:pt x="1617" y="1043"/>
                      </a:lnTo>
                      <a:lnTo>
                        <a:pt x="1612" y="1040"/>
                      </a:lnTo>
                      <a:lnTo>
                        <a:pt x="1609" y="1043"/>
                      </a:lnTo>
                      <a:lnTo>
                        <a:pt x="1604" y="1040"/>
                      </a:lnTo>
                      <a:lnTo>
                        <a:pt x="1604" y="1043"/>
                      </a:lnTo>
                      <a:lnTo>
                        <a:pt x="1606" y="1048"/>
                      </a:lnTo>
                      <a:lnTo>
                        <a:pt x="1604" y="1048"/>
                      </a:lnTo>
                      <a:lnTo>
                        <a:pt x="1601" y="1051"/>
                      </a:lnTo>
                      <a:lnTo>
                        <a:pt x="1598" y="1051"/>
                      </a:lnTo>
                      <a:lnTo>
                        <a:pt x="1589" y="1046"/>
                      </a:lnTo>
                      <a:lnTo>
                        <a:pt x="1586" y="1046"/>
                      </a:lnTo>
                      <a:lnTo>
                        <a:pt x="1584" y="1048"/>
                      </a:lnTo>
                      <a:lnTo>
                        <a:pt x="1586" y="1051"/>
                      </a:lnTo>
                      <a:lnTo>
                        <a:pt x="1589" y="1054"/>
                      </a:lnTo>
                      <a:lnTo>
                        <a:pt x="1584" y="1056"/>
                      </a:lnTo>
                      <a:lnTo>
                        <a:pt x="1581" y="1051"/>
                      </a:lnTo>
                      <a:lnTo>
                        <a:pt x="1578" y="1046"/>
                      </a:lnTo>
                      <a:lnTo>
                        <a:pt x="1576" y="1046"/>
                      </a:lnTo>
                      <a:lnTo>
                        <a:pt x="1573" y="1046"/>
                      </a:lnTo>
                      <a:lnTo>
                        <a:pt x="1570" y="1040"/>
                      </a:lnTo>
                      <a:lnTo>
                        <a:pt x="1568" y="1040"/>
                      </a:lnTo>
                      <a:lnTo>
                        <a:pt x="1565" y="1043"/>
                      </a:lnTo>
                      <a:lnTo>
                        <a:pt x="1565" y="1046"/>
                      </a:lnTo>
                      <a:lnTo>
                        <a:pt x="1559" y="1048"/>
                      </a:lnTo>
                      <a:lnTo>
                        <a:pt x="1553" y="1046"/>
                      </a:lnTo>
                      <a:lnTo>
                        <a:pt x="1551" y="1048"/>
                      </a:lnTo>
                      <a:lnTo>
                        <a:pt x="1548" y="1054"/>
                      </a:lnTo>
                      <a:lnTo>
                        <a:pt x="1545" y="1056"/>
                      </a:lnTo>
                      <a:lnTo>
                        <a:pt x="1535" y="1056"/>
                      </a:lnTo>
                      <a:lnTo>
                        <a:pt x="1532" y="1056"/>
                      </a:lnTo>
                      <a:lnTo>
                        <a:pt x="1526" y="1054"/>
                      </a:lnTo>
                      <a:lnTo>
                        <a:pt x="1520" y="1059"/>
                      </a:lnTo>
                      <a:lnTo>
                        <a:pt x="1515" y="1054"/>
                      </a:lnTo>
                      <a:lnTo>
                        <a:pt x="1509" y="1054"/>
                      </a:lnTo>
                      <a:lnTo>
                        <a:pt x="1509" y="1051"/>
                      </a:lnTo>
                      <a:lnTo>
                        <a:pt x="1512" y="1046"/>
                      </a:lnTo>
                      <a:lnTo>
                        <a:pt x="1515" y="1043"/>
                      </a:lnTo>
                      <a:lnTo>
                        <a:pt x="1515" y="1040"/>
                      </a:lnTo>
                      <a:lnTo>
                        <a:pt x="1509" y="1038"/>
                      </a:lnTo>
                      <a:lnTo>
                        <a:pt x="1509" y="1035"/>
                      </a:lnTo>
                      <a:lnTo>
                        <a:pt x="1507" y="1038"/>
                      </a:lnTo>
                      <a:lnTo>
                        <a:pt x="1507" y="1040"/>
                      </a:lnTo>
                      <a:lnTo>
                        <a:pt x="1501" y="1043"/>
                      </a:lnTo>
                      <a:lnTo>
                        <a:pt x="1499" y="1048"/>
                      </a:lnTo>
                      <a:lnTo>
                        <a:pt x="1496" y="1048"/>
                      </a:lnTo>
                      <a:lnTo>
                        <a:pt x="1501" y="1056"/>
                      </a:lnTo>
                      <a:lnTo>
                        <a:pt x="1504" y="1062"/>
                      </a:lnTo>
                      <a:lnTo>
                        <a:pt x="1496" y="1064"/>
                      </a:lnTo>
                      <a:lnTo>
                        <a:pt x="1492" y="1062"/>
                      </a:lnTo>
                      <a:lnTo>
                        <a:pt x="1492" y="1054"/>
                      </a:lnTo>
                      <a:lnTo>
                        <a:pt x="1487" y="1046"/>
                      </a:lnTo>
                      <a:lnTo>
                        <a:pt x="1484" y="1046"/>
                      </a:lnTo>
                      <a:lnTo>
                        <a:pt x="1482" y="1046"/>
                      </a:lnTo>
                      <a:lnTo>
                        <a:pt x="1479" y="1043"/>
                      </a:lnTo>
                      <a:lnTo>
                        <a:pt x="1476" y="1043"/>
                      </a:lnTo>
                      <a:lnTo>
                        <a:pt x="1471" y="1048"/>
                      </a:lnTo>
                      <a:lnTo>
                        <a:pt x="1468" y="1051"/>
                      </a:lnTo>
                      <a:lnTo>
                        <a:pt x="1466" y="1048"/>
                      </a:lnTo>
                      <a:lnTo>
                        <a:pt x="1460" y="1038"/>
                      </a:lnTo>
                      <a:lnTo>
                        <a:pt x="1460" y="1035"/>
                      </a:lnTo>
                      <a:lnTo>
                        <a:pt x="1451" y="1040"/>
                      </a:lnTo>
                      <a:lnTo>
                        <a:pt x="1454" y="1043"/>
                      </a:lnTo>
                      <a:lnTo>
                        <a:pt x="1457" y="1043"/>
                      </a:lnTo>
                      <a:lnTo>
                        <a:pt x="1457" y="1046"/>
                      </a:lnTo>
                      <a:lnTo>
                        <a:pt x="1448" y="1048"/>
                      </a:lnTo>
                      <a:lnTo>
                        <a:pt x="1443" y="1046"/>
                      </a:lnTo>
                      <a:lnTo>
                        <a:pt x="1440" y="1046"/>
                      </a:lnTo>
                      <a:lnTo>
                        <a:pt x="1440" y="1043"/>
                      </a:lnTo>
                      <a:lnTo>
                        <a:pt x="1438" y="1040"/>
                      </a:lnTo>
                      <a:lnTo>
                        <a:pt x="1432" y="1038"/>
                      </a:lnTo>
                      <a:lnTo>
                        <a:pt x="1427" y="1038"/>
                      </a:lnTo>
                      <a:lnTo>
                        <a:pt x="1423" y="1040"/>
                      </a:lnTo>
                      <a:lnTo>
                        <a:pt x="1421" y="1040"/>
                      </a:lnTo>
                      <a:lnTo>
                        <a:pt x="1423" y="1048"/>
                      </a:lnTo>
                      <a:lnTo>
                        <a:pt x="1421" y="1048"/>
                      </a:lnTo>
                      <a:lnTo>
                        <a:pt x="1418" y="1051"/>
                      </a:lnTo>
                      <a:lnTo>
                        <a:pt x="1418" y="1046"/>
                      </a:lnTo>
                      <a:lnTo>
                        <a:pt x="1418" y="1035"/>
                      </a:lnTo>
                      <a:lnTo>
                        <a:pt x="1415" y="1031"/>
                      </a:lnTo>
                      <a:lnTo>
                        <a:pt x="1413" y="1031"/>
                      </a:lnTo>
                      <a:lnTo>
                        <a:pt x="1410" y="1035"/>
                      </a:lnTo>
                      <a:lnTo>
                        <a:pt x="1407" y="1043"/>
                      </a:lnTo>
                      <a:lnTo>
                        <a:pt x="1405" y="1043"/>
                      </a:lnTo>
                      <a:lnTo>
                        <a:pt x="1402" y="1043"/>
                      </a:lnTo>
                      <a:lnTo>
                        <a:pt x="1399" y="1038"/>
                      </a:lnTo>
                      <a:lnTo>
                        <a:pt x="1388" y="1038"/>
                      </a:lnTo>
                      <a:lnTo>
                        <a:pt x="1382" y="1038"/>
                      </a:lnTo>
                      <a:lnTo>
                        <a:pt x="1380" y="1035"/>
                      </a:lnTo>
                      <a:lnTo>
                        <a:pt x="1374" y="1029"/>
                      </a:lnTo>
                      <a:lnTo>
                        <a:pt x="1369" y="1029"/>
                      </a:lnTo>
                      <a:lnTo>
                        <a:pt x="1358" y="1029"/>
                      </a:lnTo>
                      <a:lnTo>
                        <a:pt x="1349" y="1026"/>
                      </a:lnTo>
                      <a:lnTo>
                        <a:pt x="1346" y="1026"/>
                      </a:lnTo>
                      <a:lnTo>
                        <a:pt x="1344" y="1026"/>
                      </a:lnTo>
                      <a:lnTo>
                        <a:pt x="1344" y="1035"/>
                      </a:lnTo>
                      <a:lnTo>
                        <a:pt x="1341" y="1035"/>
                      </a:lnTo>
                      <a:lnTo>
                        <a:pt x="1338" y="1035"/>
                      </a:lnTo>
                      <a:lnTo>
                        <a:pt x="1336" y="1031"/>
                      </a:lnTo>
                      <a:lnTo>
                        <a:pt x="1330" y="1029"/>
                      </a:lnTo>
                      <a:lnTo>
                        <a:pt x="1325" y="1020"/>
                      </a:lnTo>
                      <a:lnTo>
                        <a:pt x="1319" y="1015"/>
                      </a:lnTo>
                      <a:lnTo>
                        <a:pt x="1316" y="1015"/>
                      </a:lnTo>
                      <a:lnTo>
                        <a:pt x="1310" y="1020"/>
                      </a:lnTo>
                      <a:lnTo>
                        <a:pt x="1305" y="1020"/>
                      </a:lnTo>
                      <a:lnTo>
                        <a:pt x="1302" y="1015"/>
                      </a:lnTo>
                      <a:lnTo>
                        <a:pt x="1305" y="1010"/>
                      </a:lnTo>
                      <a:lnTo>
                        <a:pt x="1297" y="1002"/>
                      </a:lnTo>
                      <a:lnTo>
                        <a:pt x="1289" y="998"/>
                      </a:lnTo>
                      <a:lnTo>
                        <a:pt x="1292" y="990"/>
                      </a:lnTo>
                      <a:lnTo>
                        <a:pt x="1285" y="982"/>
                      </a:lnTo>
                      <a:lnTo>
                        <a:pt x="1283" y="979"/>
                      </a:lnTo>
                      <a:lnTo>
                        <a:pt x="1277" y="977"/>
                      </a:lnTo>
                      <a:lnTo>
                        <a:pt x="1277" y="969"/>
                      </a:lnTo>
                      <a:lnTo>
                        <a:pt x="1275" y="969"/>
                      </a:lnTo>
                      <a:lnTo>
                        <a:pt x="1269" y="969"/>
                      </a:lnTo>
                      <a:lnTo>
                        <a:pt x="1256" y="960"/>
                      </a:lnTo>
                      <a:lnTo>
                        <a:pt x="1252" y="960"/>
                      </a:lnTo>
                      <a:lnTo>
                        <a:pt x="1252" y="951"/>
                      </a:lnTo>
                      <a:lnTo>
                        <a:pt x="1252" y="943"/>
                      </a:lnTo>
                      <a:lnTo>
                        <a:pt x="1250" y="941"/>
                      </a:lnTo>
                      <a:lnTo>
                        <a:pt x="1250" y="938"/>
                      </a:lnTo>
                      <a:lnTo>
                        <a:pt x="1247" y="935"/>
                      </a:lnTo>
                      <a:lnTo>
                        <a:pt x="1244" y="941"/>
                      </a:lnTo>
                      <a:lnTo>
                        <a:pt x="1239" y="938"/>
                      </a:lnTo>
                      <a:lnTo>
                        <a:pt x="1239" y="935"/>
                      </a:lnTo>
                      <a:lnTo>
                        <a:pt x="1241" y="930"/>
                      </a:lnTo>
                      <a:lnTo>
                        <a:pt x="1239" y="921"/>
                      </a:lnTo>
                      <a:lnTo>
                        <a:pt x="1241" y="916"/>
                      </a:lnTo>
                      <a:lnTo>
                        <a:pt x="1239" y="916"/>
                      </a:lnTo>
                      <a:lnTo>
                        <a:pt x="1239" y="913"/>
                      </a:lnTo>
                      <a:lnTo>
                        <a:pt x="1228" y="916"/>
                      </a:lnTo>
                      <a:lnTo>
                        <a:pt x="1228" y="913"/>
                      </a:lnTo>
                      <a:lnTo>
                        <a:pt x="1223" y="905"/>
                      </a:lnTo>
                      <a:lnTo>
                        <a:pt x="1220" y="905"/>
                      </a:lnTo>
                      <a:lnTo>
                        <a:pt x="1211" y="913"/>
                      </a:lnTo>
                      <a:lnTo>
                        <a:pt x="1208" y="913"/>
                      </a:lnTo>
                      <a:lnTo>
                        <a:pt x="1206" y="913"/>
                      </a:lnTo>
                      <a:lnTo>
                        <a:pt x="1203" y="910"/>
                      </a:lnTo>
                      <a:lnTo>
                        <a:pt x="1206" y="902"/>
                      </a:lnTo>
                      <a:lnTo>
                        <a:pt x="1203" y="897"/>
                      </a:lnTo>
                      <a:lnTo>
                        <a:pt x="1200" y="893"/>
                      </a:lnTo>
                      <a:lnTo>
                        <a:pt x="1192" y="891"/>
                      </a:lnTo>
                      <a:lnTo>
                        <a:pt x="1195" y="888"/>
                      </a:lnTo>
                      <a:lnTo>
                        <a:pt x="1200" y="885"/>
                      </a:lnTo>
                      <a:lnTo>
                        <a:pt x="1203" y="880"/>
                      </a:lnTo>
                      <a:lnTo>
                        <a:pt x="1203" y="874"/>
                      </a:lnTo>
                      <a:lnTo>
                        <a:pt x="1203" y="872"/>
                      </a:lnTo>
                      <a:lnTo>
                        <a:pt x="1203" y="869"/>
                      </a:lnTo>
                      <a:lnTo>
                        <a:pt x="1198" y="864"/>
                      </a:lnTo>
                      <a:lnTo>
                        <a:pt x="1183" y="861"/>
                      </a:lnTo>
                      <a:lnTo>
                        <a:pt x="1187" y="857"/>
                      </a:lnTo>
                      <a:lnTo>
                        <a:pt x="1181" y="852"/>
                      </a:lnTo>
                      <a:lnTo>
                        <a:pt x="1183" y="847"/>
                      </a:lnTo>
                      <a:lnTo>
                        <a:pt x="1181" y="844"/>
                      </a:lnTo>
                      <a:lnTo>
                        <a:pt x="1175" y="844"/>
                      </a:lnTo>
                      <a:lnTo>
                        <a:pt x="1164" y="839"/>
                      </a:lnTo>
                      <a:lnTo>
                        <a:pt x="1162" y="833"/>
                      </a:lnTo>
                      <a:lnTo>
                        <a:pt x="1159" y="831"/>
                      </a:lnTo>
                      <a:lnTo>
                        <a:pt x="1156" y="833"/>
                      </a:lnTo>
                      <a:lnTo>
                        <a:pt x="1154" y="841"/>
                      </a:lnTo>
                      <a:lnTo>
                        <a:pt x="1147" y="841"/>
                      </a:lnTo>
                      <a:lnTo>
                        <a:pt x="1147" y="839"/>
                      </a:lnTo>
                      <a:lnTo>
                        <a:pt x="1145" y="836"/>
                      </a:lnTo>
                      <a:lnTo>
                        <a:pt x="1145" y="833"/>
                      </a:lnTo>
                      <a:lnTo>
                        <a:pt x="1145" y="824"/>
                      </a:lnTo>
                      <a:lnTo>
                        <a:pt x="1137" y="819"/>
                      </a:lnTo>
                      <a:lnTo>
                        <a:pt x="1131" y="813"/>
                      </a:lnTo>
                      <a:lnTo>
                        <a:pt x="1131" y="808"/>
                      </a:lnTo>
                      <a:lnTo>
                        <a:pt x="1131" y="803"/>
                      </a:lnTo>
                      <a:lnTo>
                        <a:pt x="1131" y="800"/>
                      </a:lnTo>
                      <a:lnTo>
                        <a:pt x="1123" y="800"/>
                      </a:lnTo>
                      <a:lnTo>
                        <a:pt x="1121" y="797"/>
                      </a:lnTo>
                      <a:lnTo>
                        <a:pt x="1123" y="788"/>
                      </a:lnTo>
                      <a:lnTo>
                        <a:pt x="1121" y="786"/>
                      </a:lnTo>
                      <a:lnTo>
                        <a:pt x="1114" y="783"/>
                      </a:lnTo>
                      <a:lnTo>
                        <a:pt x="1112" y="783"/>
                      </a:lnTo>
                      <a:lnTo>
                        <a:pt x="1103" y="786"/>
                      </a:lnTo>
                      <a:lnTo>
                        <a:pt x="1101" y="786"/>
                      </a:lnTo>
                      <a:lnTo>
                        <a:pt x="1101" y="783"/>
                      </a:lnTo>
                      <a:lnTo>
                        <a:pt x="1098" y="775"/>
                      </a:lnTo>
                      <a:lnTo>
                        <a:pt x="1098" y="772"/>
                      </a:lnTo>
                      <a:lnTo>
                        <a:pt x="1090" y="772"/>
                      </a:lnTo>
                      <a:lnTo>
                        <a:pt x="1082" y="767"/>
                      </a:lnTo>
                      <a:lnTo>
                        <a:pt x="1076" y="762"/>
                      </a:lnTo>
                      <a:lnTo>
                        <a:pt x="1068" y="762"/>
                      </a:lnTo>
                      <a:lnTo>
                        <a:pt x="1062" y="759"/>
                      </a:lnTo>
                      <a:lnTo>
                        <a:pt x="1060" y="762"/>
                      </a:lnTo>
                      <a:lnTo>
                        <a:pt x="1057" y="764"/>
                      </a:lnTo>
                      <a:lnTo>
                        <a:pt x="1054" y="762"/>
                      </a:lnTo>
                      <a:lnTo>
                        <a:pt x="1052" y="756"/>
                      </a:lnTo>
                      <a:lnTo>
                        <a:pt x="1043" y="750"/>
                      </a:lnTo>
                      <a:lnTo>
                        <a:pt x="1043" y="744"/>
                      </a:lnTo>
                      <a:lnTo>
                        <a:pt x="1040" y="739"/>
                      </a:lnTo>
                      <a:lnTo>
                        <a:pt x="1035" y="742"/>
                      </a:lnTo>
                      <a:lnTo>
                        <a:pt x="1026" y="739"/>
                      </a:lnTo>
                      <a:lnTo>
                        <a:pt x="1026" y="734"/>
                      </a:lnTo>
                      <a:lnTo>
                        <a:pt x="1029" y="731"/>
                      </a:lnTo>
                      <a:lnTo>
                        <a:pt x="1026" y="728"/>
                      </a:lnTo>
                      <a:lnTo>
                        <a:pt x="1026" y="723"/>
                      </a:lnTo>
                      <a:lnTo>
                        <a:pt x="1026" y="719"/>
                      </a:lnTo>
                      <a:lnTo>
                        <a:pt x="1024" y="719"/>
                      </a:lnTo>
                      <a:lnTo>
                        <a:pt x="1018" y="717"/>
                      </a:lnTo>
                      <a:lnTo>
                        <a:pt x="1009" y="723"/>
                      </a:lnTo>
                      <a:lnTo>
                        <a:pt x="1004" y="717"/>
                      </a:lnTo>
                      <a:lnTo>
                        <a:pt x="999" y="714"/>
                      </a:lnTo>
                      <a:lnTo>
                        <a:pt x="1001" y="703"/>
                      </a:lnTo>
                      <a:lnTo>
                        <a:pt x="1001" y="701"/>
                      </a:lnTo>
                      <a:lnTo>
                        <a:pt x="996" y="698"/>
                      </a:lnTo>
                      <a:lnTo>
                        <a:pt x="991" y="701"/>
                      </a:lnTo>
                      <a:lnTo>
                        <a:pt x="988" y="703"/>
                      </a:lnTo>
                      <a:lnTo>
                        <a:pt x="985" y="706"/>
                      </a:lnTo>
                      <a:lnTo>
                        <a:pt x="983" y="711"/>
                      </a:lnTo>
                      <a:lnTo>
                        <a:pt x="976" y="711"/>
                      </a:lnTo>
                      <a:lnTo>
                        <a:pt x="976" y="709"/>
                      </a:lnTo>
                      <a:lnTo>
                        <a:pt x="976" y="703"/>
                      </a:lnTo>
                      <a:lnTo>
                        <a:pt x="968" y="695"/>
                      </a:lnTo>
                      <a:lnTo>
                        <a:pt x="968" y="693"/>
                      </a:lnTo>
                      <a:lnTo>
                        <a:pt x="966" y="693"/>
                      </a:lnTo>
                      <a:lnTo>
                        <a:pt x="963" y="690"/>
                      </a:lnTo>
                      <a:lnTo>
                        <a:pt x="960" y="687"/>
                      </a:lnTo>
                      <a:lnTo>
                        <a:pt x="960" y="675"/>
                      </a:lnTo>
                      <a:lnTo>
                        <a:pt x="957" y="675"/>
                      </a:lnTo>
                      <a:lnTo>
                        <a:pt x="955" y="670"/>
                      </a:lnTo>
                      <a:lnTo>
                        <a:pt x="947" y="670"/>
                      </a:lnTo>
                      <a:lnTo>
                        <a:pt x="935" y="673"/>
                      </a:lnTo>
                      <a:lnTo>
                        <a:pt x="930" y="670"/>
                      </a:lnTo>
                      <a:lnTo>
                        <a:pt x="930" y="673"/>
                      </a:lnTo>
                      <a:lnTo>
                        <a:pt x="927" y="673"/>
                      </a:lnTo>
                      <a:lnTo>
                        <a:pt x="927" y="675"/>
                      </a:lnTo>
                      <a:lnTo>
                        <a:pt x="924" y="681"/>
                      </a:lnTo>
                      <a:lnTo>
                        <a:pt x="922" y="681"/>
                      </a:lnTo>
                      <a:lnTo>
                        <a:pt x="919" y="678"/>
                      </a:lnTo>
                      <a:lnTo>
                        <a:pt x="916" y="673"/>
                      </a:lnTo>
                      <a:lnTo>
                        <a:pt x="919" y="662"/>
                      </a:lnTo>
                      <a:lnTo>
                        <a:pt x="919" y="659"/>
                      </a:lnTo>
                      <a:lnTo>
                        <a:pt x="919" y="657"/>
                      </a:lnTo>
                      <a:lnTo>
                        <a:pt x="916" y="657"/>
                      </a:lnTo>
                      <a:lnTo>
                        <a:pt x="911" y="657"/>
                      </a:lnTo>
                      <a:lnTo>
                        <a:pt x="905" y="665"/>
                      </a:lnTo>
                      <a:lnTo>
                        <a:pt x="899" y="665"/>
                      </a:lnTo>
                      <a:lnTo>
                        <a:pt x="897" y="662"/>
                      </a:lnTo>
                      <a:lnTo>
                        <a:pt x="902" y="645"/>
                      </a:lnTo>
                      <a:lnTo>
                        <a:pt x="899" y="645"/>
                      </a:lnTo>
                      <a:lnTo>
                        <a:pt x="899" y="642"/>
                      </a:lnTo>
                      <a:lnTo>
                        <a:pt x="897" y="642"/>
                      </a:lnTo>
                      <a:lnTo>
                        <a:pt x="891" y="642"/>
                      </a:lnTo>
                      <a:lnTo>
                        <a:pt x="891" y="651"/>
                      </a:lnTo>
                      <a:lnTo>
                        <a:pt x="888" y="654"/>
                      </a:lnTo>
                      <a:lnTo>
                        <a:pt x="886" y="654"/>
                      </a:lnTo>
                      <a:lnTo>
                        <a:pt x="883" y="654"/>
                      </a:lnTo>
                      <a:lnTo>
                        <a:pt x="880" y="654"/>
                      </a:lnTo>
                      <a:lnTo>
                        <a:pt x="878" y="648"/>
                      </a:lnTo>
                      <a:lnTo>
                        <a:pt x="880" y="642"/>
                      </a:lnTo>
                      <a:lnTo>
                        <a:pt x="880" y="640"/>
                      </a:lnTo>
                      <a:lnTo>
                        <a:pt x="874" y="637"/>
                      </a:lnTo>
                      <a:lnTo>
                        <a:pt x="869" y="637"/>
                      </a:lnTo>
                      <a:lnTo>
                        <a:pt x="866" y="640"/>
                      </a:lnTo>
                      <a:lnTo>
                        <a:pt x="863" y="648"/>
                      </a:lnTo>
                      <a:lnTo>
                        <a:pt x="861" y="651"/>
                      </a:lnTo>
                      <a:lnTo>
                        <a:pt x="858" y="651"/>
                      </a:lnTo>
                      <a:lnTo>
                        <a:pt x="853" y="645"/>
                      </a:lnTo>
                      <a:lnTo>
                        <a:pt x="847" y="642"/>
                      </a:lnTo>
                      <a:lnTo>
                        <a:pt x="847" y="640"/>
                      </a:lnTo>
                      <a:lnTo>
                        <a:pt x="833" y="642"/>
                      </a:lnTo>
                      <a:lnTo>
                        <a:pt x="827" y="642"/>
                      </a:lnTo>
                      <a:lnTo>
                        <a:pt x="827" y="648"/>
                      </a:lnTo>
                      <a:lnTo>
                        <a:pt x="833" y="654"/>
                      </a:lnTo>
                      <a:lnTo>
                        <a:pt x="833" y="657"/>
                      </a:lnTo>
                      <a:lnTo>
                        <a:pt x="833" y="659"/>
                      </a:lnTo>
                      <a:lnTo>
                        <a:pt x="830" y="659"/>
                      </a:lnTo>
                      <a:lnTo>
                        <a:pt x="827" y="659"/>
                      </a:lnTo>
                      <a:lnTo>
                        <a:pt x="819" y="651"/>
                      </a:lnTo>
                      <a:lnTo>
                        <a:pt x="814" y="654"/>
                      </a:lnTo>
                      <a:lnTo>
                        <a:pt x="809" y="657"/>
                      </a:lnTo>
                      <a:lnTo>
                        <a:pt x="805" y="654"/>
                      </a:lnTo>
                      <a:lnTo>
                        <a:pt x="811" y="640"/>
                      </a:lnTo>
                      <a:lnTo>
                        <a:pt x="811" y="637"/>
                      </a:lnTo>
                      <a:lnTo>
                        <a:pt x="805" y="637"/>
                      </a:lnTo>
                      <a:lnTo>
                        <a:pt x="797" y="637"/>
                      </a:lnTo>
                      <a:lnTo>
                        <a:pt x="797" y="640"/>
                      </a:lnTo>
                      <a:lnTo>
                        <a:pt x="794" y="642"/>
                      </a:lnTo>
                      <a:lnTo>
                        <a:pt x="797" y="651"/>
                      </a:lnTo>
                      <a:lnTo>
                        <a:pt x="797" y="654"/>
                      </a:lnTo>
                      <a:lnTo>
                        <a:pt x="792" y="654"/>
                      </a:lnTo>
                      <a:lnTo>
                        <a:pt x="786" y="645"/>
                      </a:lnTo>
                      <a:lnTo>
                        <a:pt x="786" y="632"/>
                      </a:lnTo>
                      <a:lnTo>
                        <a:pt x="784" y="629"/>
                      </a:lnTo>
                      <a:lnTo>
                        <a:pt x="781" y="629"/>
                      </a:lnTo>
                      <a:lnTo>
                        <a:pt x="776" y="632"/>
                      </a:lnTo>
                      <a:lnTo>
                        <a:pt x="769" y="634"/>
                      </a:lnTo>
                      <a:lnTo>
                        <a:pt x="764" y="634"/>
                      </a:lnTo>
                      <a:lnTo>
                        <a:pt x="761" y="632"/>
                      </a:lnTo>
                      <a:lnTo>
                        <a:pt x="773" y="624"/>
                      </a:lnTo>
                      <a:lnTo>
                        <a:pt x="773" y="621"/>
                      </a:lnTo>
                      <a:lnTo>
                        <a:pt x="773" y="618"/>
                      </a:lnTo>
                      <a:lnTo>
                        <a:pt x="764" y="609"/>
                      </a:lnTo>
                      <a:lnTo>
                        <a:pt x="756" y="609"/>
                      </a:lnTo>
                      <a:lnTo>
                        <a:pt x="750" y="609"/>
                      </a:lnTo>
                      <a:lnTo>
                        <a:pt x="745" y="606"/>
                      </a:lnTo>
                      <a:lnTo>
                        <a:pt x="745" y="604"/>
                      </a:lnTo>
                      <a:lnTo>
                        <a:pt x="745" y="601"/>
                      </a:lnTo>
                      <a:lnTo>
                        <a:pt x="748" y="601"/>
                      </a:lnTo>
                      <a:lnTo>
                        <a:pt x="750" y="601"/>
                      </a:lnTo>
                      <a:lnTo>
                        <a:pt x="764" y="601"/>
                      </a:lnTo>
                      <a:lnTo>
                        <a:pt x="767" y="601"/>
                      </a:lnTo>
                      <a:lnTo>
                        <a:pt x="767" y="596"/>
                      </a:lnTo>
                      <a:lnTo>
                        <a:pt x="761" y="593"/>
                      </a:lnTo>
                      <a:lnTo>
                        <a:pt x="753" y="593"/>
                      </a:lnTo>
                      <a:lnTo>
                        <a:pt x="748" y="596"/>
                      </a:lnTo>
                      <a:lnTo>
                        <a:pt x="745" y="593"/>
                      </a:lnTo>
                      <a:lnTo>
                        <a:pt x="740" y="590"/>
                      </a:lnTo>
                      <a:lnTo>
                        <a:pt x="740" y="588"/>
                      </a:lnTo>
                      <a:lnTo>
                        <a:pt x="736" y="585"/>
                      </a:lnTo>
                      <a:lnTo>
                        <a:pt x="742" y="582"/>
                      </a:lnTo>
                      <a:lnTo>
                        <a:pt x="742" y="576"/>
                      </a:lnTo>
                      <a:lnTo>
                        <a:pt x="740" y="576"/>
                      </a:lnTo>
                      <a:lnTo>
                        <a:pt x="731" y="582"/>
                      </a:lnTo>
                      <a:lnTo>
                        <a:pt x="728" y="582"/>
                      </a:lnTo>
                      <a:lnTo>
                        <a:pt x="725" y="582"/>
                      </a:lnTo>
                      <a:lnTo>
                        <a:pt x="717" y="579"/>
                      </a:lnTo>
                      <a:lnTo>
                        <a:pt x="712" y="582"/>
                      </a:lnTo>
                      <a:lnTo>
                        <a:pt x="707" y="582"/>
                      </a:lnTo>
                      <a:lnTo>
                        <a:pt x="704" y="579"/>
                      </a:lnTo>
                      <a:lnTo>
                        <a:pt x="704" y="573"/>
                      </a:lnTo>
                      <a:lnTo>
                        <a:pt x="704" y="568"/>
                      </a:lnTo>
                      <a:lnTo>
                        <a:pt x="704" y="565"/>
                      </a:lnTo>
                      <a:lnTo>
                        <a:pt x="698" y="563"/>
                      </a:lnTo>
                      <a:lnTo>
                        <a:pt x="695" y="565"/>
                      </a:lnTo>
                      <a:lnTo>
                        <a:pt x="689" y="565"/>
                      </a:lnTo>
                      <a:lnTo>
                        <a:pt x="684" y="568"/>
                      </a:lnTo>
                      <a:lnTo>
                        <a:pt x="681" y="568"/>
                      </a:lnTo>
                      <a:lnTo>
                        <a:pt x="679" y="568"/>
                      </a:lnTo>
                      <a:lnTo>
                        <a:pt x="681" y="555"/>
                      </a:lnTo>
                      <a:lnTo>
                        <a:pt x="679" y="552"/>
                      </a:lnTo>
                      <a:lnTo>
                        <a:pt x="676" y="552"/>
                      </a:lnTo>
                      <a:lnTo>
                        <a:pt x="673" y="555"/>
                      </a:lnTo>
                      <a:lnTo>
                        <a:pt x="667" y="560"/>
                      </a:lnTo>
                      <a:lnTo>
                        <a:pt x="664" y="568"/>
                      </a:lnTo>
                      <a:lnTo>
                        <a:pt x="662" y="573"/>
                      </a:lnTo>
                      <a:lnTo>
                        <a:pt x="659" y="576"/>
                      </a:lnTo>
                      <a:lnTo>
                        <a:pt x="656" y="576"/>
                      </a:lnTo>
                      <a:lnTo>
                        <a:pt x="656" y="573"/>
                      </a:lnTo>
                      <a:lnTo>
                        <a:pt x="654" y="573"/>
                      </a:lnTo>
                      <a:lnTo>
                        <a:pt x="648" y="565"/>
                      </a:lnTo>
                      <a:lnTo>
                        <a:pt x="646" y="565"/>
                      </a:lnTo>
                      <a:lnTo>
                        <a:pt x="634" y="563"/>
                      </a:lnTo>
                      <a:lnTo>
                        <a:pt x="634" y="560"/>
                      </a:lnTo>
                      <a:lnTo>
                        <a:pt x="640" y="555"/>
                      </a:lnTo>
                      <a:lnTo>
                        <a:pt x="648" y="552"/>
                      </a:lnTo>
                      <a:lnTo>
                        <a:pt x="651" y="549"/>
                      </a:lnTo>
                      <a:lnTo>
                        <a:pt x="643" y="543"/>
                      </a:lnTo>
                      <a:lnTo>
                        <a:pt x="640" y="547"/>
                      </a:lnTo>
                      <a:lnTo>
                        <a:pt x="634" y="547"/>
                      </a:lnTo>
                      <a:lnTo>
                        <a:pt x="626" y="547"/>
                      </a:lnTo>
                      <a:lnTo>
                        <a:pt x="623" y="547"/>
                      </a:lnTo>
                      <a:lnTo>
                        <a:pt x="623" y="549"/>
                      </a:lnTo>
                      <a:lnTo>
                        <a:pt x="623" y="555"/>
                      </a:lnTo>
                      <a:lnTo>
                        <a:pt x="626" y="560"/>
                      </a:lnTo>
                      <a:lnTo>
                        <a:pt x="629" y="565"/>
                      </a:lnTo>
                      <a:lnTo>
                        <a:pt x="626" y="568"/>
                      </a:lnTo>
                      <a:lnTo>
                        <a:pt x="626" y="571"/>
                      </a:lnTo>
                      <a:lnTo>
                        <a:pt x="623" y="571"/>
                      </a:lnTo>
                      <a:lnTo>
                        <a:pt x="618" y="565"/>
                      </a:lnTo>
                      <a:lnTo>
                        <a:pt x="612" y="563"/>
                      </a:lnTo>
                      <a:lnTo>
                        <a:pt x="607" y="557"/>
                      </a:lnTo>
                      <a:lnTo>
                        <a:pt x="604" y="557"/>
                      </a:lnTo>
                      <a:lnTo>
                        <a:pt x="598" y="563"/>
                      </a:lnTo>
                      <a:lnTo>
                        <a:pt x="593" y="565"/>
                      </a:lnTo>
                      <a:lnTo>
                        <a:pt x="590" y="557"/>
                      </a:lnTo>
                      <a:lnTo>
                        <a:pt x="593" y="547"/>
                      </a:lnTo>
                      <a:lnTo>
                        <a:pt x="590" y="547"/>
                      </a:lnTo>
                      <a:lnTo>
                        <a:pt x="590" y="543"/>
                      </a:lnTo>
                      <a:lnTo>
                        <a:pt x="587" y="543"/>
                      </a:lnTo>
                      <a:lnTo>
                        <a:pt x="585" y="543"/>
                      </a:lnTo>
                      <a:lnTo>
                        <a:pt x="585" y="547"/>
                      </a:lnTo>
                      <a:lnTo>
                        <a:pt x="587" y="557"/>
                      </a:lnTo>
                      <a:lnTo>
                        <a:pt x="585" y="560"/>
                      </a:lnTo>
                      <a:lnTo>
                        <a:pt x="582" y="560"/>
                      </a:lnTo>
                      <a:lnTo>
                        <a:pt x="579" y="557"/>
                      </a:lnTo>
                      <a:lnTo>
                        <a:pt x="577" y="555"/>
                      </a:lnTo>
                      <a:lnTo>
                        <a:pt x="569" y="547"/>
                      </a:lnTo>
                      <a:lnTo>
                        <a:pt x="569" y="540"/>
                      </a:lnTo>
                      <a:lnTo>
                        <a:pt x="569" y="537"/>
                      </a:lnTo>
                      <a:lnTo>
                        <a:pt x="571" y="529"/>
                      </a:lnTo>
                      <a:lnTo>
                        <a:pt x="571" y="527"/>
                      </a:lnTo>
                      <a:lnTo>
                        <a:pt x="569" y="527"/>
                      </a:lnTo>
                      <a:lnTo>
                        <a:pt x="565" y="527"/>
                      </a:lnTo>
                      <a:lnTo>
                        <a:pt x="552" y="535"/>
                      </a:lnTo>
                      <a:lnTo>
                        <a:pt x="552" y="537"/>
                      </a:lnTo>
                      <a:lnTo>
                        <a:pt x="552" y="540"/>
                      </a:lnTo>
                      <a:lnTo>
                        <a:pt x="552" y="547"/>
                      </a:lnTo>
                      <a:lnTo>
                        <a:pt x="552" y="549"/>
                      </a:lnTo>
                      <a:lnTo>
                        <a:pt x="543" y="549"/>
                      </a:lnTo>
                      <a:lnTo>
                        <a:pt x="529" y="547"/>
                      </a:lnTo>
                      <a:lnTo>
                        <a:pt x="524" y="537"/>
                      </a:lnTo>
                      <a:lnTo>
                        <a:pt x="518" y="540"/>
                      </a:lnTo>
                      <a:lnTo>
                        <a:pt x="516" y="540"/>
                      </a:lnTo>
                      <a:lnTo>
                        <a:pt x="508" y="540"/>
                      </a:lnTo>
                      <a:lnTo>
                        <a:pt x="505" y="543"/>
                      </a:lnTo>
                      <a:lnTo>
                        <a:pt x="496" y="547"/>
                      </a:lnTo>
                      <a:lnTo>
                        <a:pt x="493" y="549"/>
                      </a:lnTo>
                      <a:lnTo>
                        <a:pt x="491" y="549"/>
                      </a:lnTo>
                      <a:lnTo>
                        <a:pt x="485" y="547"/>
                      </a:lnTo>
                      <a:lnTo>
                        <a:pt x="480" y="537"/>
                      </a:lnTo>
                      <a:lnTo>
                        <a:pt x="477" y="537"/>
                      </a:lnTo>
                      <a:lnTo>
                        <a:pt x="474" y="537"/>
                      </a:lnTo>
                      <a:lnTo>
                        <a:pt x="472" y="540"/>
                      </a:lnTo>
                      <a:lnTo>
                        <a:pt x="472" y="549"/>
                      </a:lnTo>
                      <a:lnTo>
                        <a:pt x="466" y="555"/>
                      </a:lnTo>
                      <a:lnTo>
                        <a:pt x="464" y="555"/>
                      </a:lnTo>
                      <a:lnTo>
                        <a:pt x="460" y="552"/>
                      </a:lnTo>
                      <a:lnTo>
                        <a:pt x="460" y="549"/>
                      </a:lnTo>
                      <a:lnTo>
                        <a:pt x="457" y="540"/>
                      </a:lnTo>
                      <a:lnTo>
                        <a:pt x="455" y="535"/>
                      </a:lnTo>
                      <a:lnTo>
                        <a:pt x="452" y="535"/>
                      </a:lnTo>
                      <a:lnTo>
                        <a:pt x="449" y="537"/>
                      </a:lnTo>
                      <a:lnTo>
                        <a:pt x="444" y="543"/>
                      </a:lnTo>
                      <a:lnTo>
                        <a:pt x="441" y="547"/>
                      </a:lnTo>
                      <a:lnTo>
                        <a:pt x="441" y="543"/>
                      </a:lnTo>
                      <a:lnTo>
                        <a:pt x="436" y="540"/>
                      </a:lnTo>
                      <a:lnTo>
                        <a:pt x="436" y="537"/>
                      </a:lnTo>
                      <a:lnTo>
                        <a:pt x="439" y="529"/>
                      </a:lnTo>
                      <a:lnTo>
                        <a:pt x="439" y="527"/>
                      </a:lnTo>
                      <a:lnTo>
                        <a:pt x="436" y="527"/>
                      </a:lnTo>
                      <a:lnTo>
                        <a:pt x="436" y="524"/>
                      </a:lnTo>
                      <a:lnTo>
                        <a:pt x="433" y="524"/>
                      </a:lnTo>
                      <a:lnTo>
                        <a:pt x="427" y="524"/>
                      </a:lnTo>
                      <a:lnTo>
                        <a:pt x="424" y="521"/>
                      </a:lnTo>
                      <a:lnTo>
                        <a:pt x="422" y="521"/>
                      </a:lnTo>
                      <a:lnTo>
                        <a:pt x="416" y="521"/>
                      </a:lnTo>
                      <a:lnTo>
                        <a:pt x="414" y="521"/>
                      </a:lnTo>
                      <a:lnTo>
                        <a:pt x="408" y="524"/>
                      </a:lnTo>
                      <a:lnTo>
                        <a:pt x="405" y="524"/>
                      </a:lnTo>
                      <a:lnTo>
                        <a:pt x="403" y="524"/>
                      </a:lnTo>
                      <a:lnTo>
                        <a:pt x="403" y="521"/>
                      </a:lnTo>
                      <a:lnTo>
                        <a:pt x="403" y="510"/>
                      </a:lnTo>
                      <a:lnTo>
                        <a:pt x="400" y="507"/>
                      </a:lnTo>
                      <a:lnTo>
                        <a:pt x="397" y="507"/>
                      </a:lnTo>
                      <a:lnTo>
                        <a:pt x="386" y="513"/>
                      </a:lnTo>
                      <a:lnTo>
                        <a:pt x="386" y="516"/>
                      </a:lnTo>
                      <a:lnTo>
                        <a:pt x="380" y="519"/>
                      </a:lnTo>
                      <a:lnTo>
                        <a:pt x="372" y="521"/>
                      </a:lnTo>
                      <a:lnTo>
                        <a:pt x="370" y="521"/>
                      </a:lnTo>
                      <a:lnTo>
                        <a:pt x="367" y="519"/>
                      </a:lnTo>
                      <a:lnTo>
                        <a:pt x="367" y="507"/>
                      </a:lnTo>
                      <a:lnTo>
                        <a:pt x="358" y="504"/>
                      </a:lnTo>
                      <a:lnTo>
                        <a:pt x="355" y="504"/>
                      </a:lnTo>
                      <a:lnTo>
                        <a:pt x="353" y="513"/>
                      </a:lnTo>
                      <a:lnTo>
                        <a:pt x="353" y="527"/>
                      </a:lnTo>
                      <a:lnTo>
                        <a:pt x="350" y="529"/>
                      </a:lnTo>
                      <a:lnTo>
                        <a:pt x="344" y="527"/>
                      </a:lnTo>
                      <a:lnTo>
                        <a:pt x="342" y="524"/>
                      </a:lnTo>
                      <a:lnTo>
                        <a:pt x="339" y="524"/>
                      </a:lnTo>
                      <a:lnTo>
                        <a:pt x="339" y="516"/>
                      </a:lnTo>
                      <a:lnTo>
                        <a:pt x="342" y="513"/>
                      </a:lnTo>
                      <a:lnTo>
                        <a:pt x="347" y="504"/>
                      </a:lnTo>
                      <a:lnTo>
                        <a:pt x="347" y="499"/>
                      </a:lnTo>
                      <a:lnTo>
                        <a:pt x="344" y="499"/>
                      </a:lnTo>
                      <a:lnTo>
                        <a:pt x="342" y="494"/>
                      </a:lnTo>
                      <a:lnTo>
                        <a:pt x="339" y="494"/>
                      </a:lnTo>
                      <a:lnTo>
                        <a:pt x="328" y="502"/>
                      </a:lnTo>
                      <a:lnTo>
                        <a:pt x="326" y="502"/>
                      </a:lnTo>
                      <a:lnTo>
                        <a:pt x="322" y="499"/>
                      </a:lnTo>
                      <a:lnTo>
                        <a:pt x="322" y="491"/>
                      </a:lnTo>
                      <a:lnTo>
                        <a:pt x="331" y="480"/>
                      </a:lnTo>
                      <a:lnTo>
                        <a:pt x="334" y="474"/>
                      </a:lnTo>
                      <a:lnTo>
                        <a:pt x="331" y="471"/>
                      </a:lnTo>
                      <a:lnTo>
                        <a:pt x="328" y="471"/>
                      </a:lnTo>
                      <a:lnTo>
                        <a:pt x="319" y="471"/>
                      </a:lnTo>
                      <a:lnTo>
                        <a:pt x="317" y="471"/>
                      </a:lnTo>
                      <a:lnTo>
                        <a:pt x="309" y="480"/>
                      </a:lnTo>
                      <a:lnTo>
                        <a:pt x="309" y="483"/>
                      </a:lnTo>
                      <a:lnTo>
                        <a:pt x="309" y="486"/>
                      </a:lnTo>
                      <a:lnTo>
                        <a:pt x="311" y="494"/>
                      </a:lnTo>
                      <a:lnTo>
                        <a:pt x="311" y="496"/>
                      </a:lnTo>
                      <a:lnTo>
                        <a:pt x="311" y="502"/>
                      </a:lnTo>
                      <a:lnTo>
                        <a:pt x="295" y="507"/>
                      </a:lnTo>
                      <a:lnTo>
                        <a:pt x="286" y="510"/>
                      </a:lnTo>
                      <a:lnTo>
                        <a:pt x="284" y="510"/>
                      </a:lnTo>
                      <a:lnTo>
                        <a:pt x="284" y="507"/>
                      </a:lnTo>
                      <a:lnTo>
                        <a:pt x="278" y="496"/>
                      </a:lnTo>
                      <a:lnTo>
                        <a:pt x="275" y="494"/>
                      </a:lnTo>
                      <a:lnTo>
                        <a:pt x="273" y="496"/>
                      </a:lnTo>
                      <a:lnTo>
                        <a:pt x="270" y="496"/>
                      </a:lnTo>
                      <a:lnTo>
                        <a:pt x="270" y="499"/>
                      </a:lnTo>
                      <a:lnTo>
                        <a:pt x="267" y="513"/>
                      </a:lnTo>
                      <a:lnTo>
                        <a:pt x="265" y="516"/>
                      </a:lnTo>
                      <a:lnTo>
                        <a:pt x="259" y="516"/>
                      </a:lnTo>
                      <a:lnTo>
                        <a:pt x="245" y="507"/>
                      </a:lnTo>
                      <a:lnTo>
                        <a:pt x="242" y="507"/>
                      </a:lnTo>
                      <a:lnTo>
                        <a:pt x="237" y="510"/>
                      </a:lnTo>
                      <a:lnTo>
                        <a:pt x="220" y="519"/>
                      </a:lnTo>
                      <a:lnTo>
                        <a:pt x="215" y="527"/>
                      </a:lnTo>
                      <a:lnTo>
                        <a:pt x="212" y="527"/>
                      </a:lnTo>
                      <a:lnTo>
                        <a:pt x="209" y="527"/>
                      </a:lnTo>
                      <a:lnTo>
                        <a:pt x="209" y="524"/>
                      </a:lnTo>
                      <a:lnTo>
                        <a:pt x="209" y="521"/>
                      </a:lnTo>
                      <a:lnTo>
                        <a:pt x="209" y="519"/>
                      </a:lnTo>
                      <a:lnTo>
                        <a:pt x="217" y="504"/>
                      </a:lnTo>
                      <a:lnTo>
                        <a:pt x="220" y="499"/>
                      </a:lnTo>
                      <a:lnTo>
                        <a:pt x="220" y="496"/>
                      </a:lnTo>
                      <a:lnTo>
                        <a:pt x="220" y="494"/>
                      </a:lnTo>
                      <a:lnTo>
                        <a:pt x="220" y="491"/>
                      </a:lnTo>
                      <a:lnTo>
                        <a:pt x="217" y="491"/>
                      </a:lnTo>
                      <a:lnTo>
                        <a:pt x="215" y="488"/>
                      </a:lnTo>
                      <a:lnTo>
                        <a:pt x="215" y="486"/>
                      </a:lnTo>
                      <a:lnTo>
                        <a:pt x="207" y="486"/>
                      </a:lnTo>
                      <a:lnTo>
                        <a:pt x="204" y="486"/>
                      </a:lnTo>
                      <a:lnTo>
                        <a:pt x="201" y="486"/>
                      </a:lnTo>
                      <a:lnTo>
                        <a:pt x="198" y="486"/>
                      </a:lnTo>
                      <a:lnTo>
                        <a:pt x="196" y="483"/>
                      </a:lnTo>
                      <a:lnTo>
                        <a:pt x="193" y="478"/>
                      </a:lnTo>
                      <a:lnTo>
                        <a:pt x="190" y="474"/>
                      </a:lnTo>
                      <a:lnTo>
                        <a:pt x="187" y="478"/>
                      </a:lnTo>
                      <a:lnTo>
                        <a:pt x="184" y="478"/>
                      </a:lnTo>
                      <a:lnTo>
                        <a:pt x="179" y="483"/>
                      </a:lnTo>
                      <a:lnTo>
                        <a:pt x="176" y="491"/>
                      </a:lnTo>
                      <a:lnTo>
                        <a:pt x="173" y="496"/>
                      </a:lnTo>
                      <a:lnTo>
                        <a:pt x="155" y="502"/>
                      </a:lnTo>
                      <a:lnTo>
                        <a:pt x="148" y="499"/>
                      </a:lnTo>
                      <a:lnTo>
                        <a:pt x="146" y="494"/>
                      </a:lnTo>
                      <a:lnTo>
                        <a:pt x="140" y="494"/>
                      </a:lnTo>
                      <a:lnTo>
                        <a:pt x="138" y="494"/>
                      </a:lnTo>
                      <a:lnTo>
                        <a:pt x="135" y="494"/>
                      </a:lnTo>
                      <a:lnTo>
                        <a:pt x="135" y="499"/>
                      </a:lnTo>
                      <a:lnTo>
                        <a:pt x="135" y="502"/>
                      </a:lnTo>
                      <a:lnTo>
                        <a:pt x="135" y="504"/>
                      </a:lnTo>
                      <a:lnTo>
                        <a:pt x="140" y="510"/>
                      </a:lnTo>
                      <a:lnTo>
                        <a:pt x="140" y="513"/>
                      </a:lnTo>
                      <a:lnTo>
                        <a:pt x="140" y="519"/>
                      </a:lnTo>
                      <a:lnTo>
                        <a:pt x="140" y="521"/>
                      </a:lnTo>
                      <a:lnTo>
                        <a:pt x="135" y="521"/>
                      </a:lnTo>
                      <a:lnTo>
                        <a:pt x="132" y="521"/>
                      </a:lnTo>
                      <a:lnTo>
                        <a:pt x="127" y="519"/>
                      </a:lnTo>
                      <a:lnTo>
                        <a:pt x="118" y="510"/>
                      </a:lnTo>
                      <a:lnTo>
                        <a:pt x="115" y="510"/>
                      </a:lnTo>
                      <a:lnTo>
                        <a:pt x="110" y="510"/>
                      </a:lnTo>
                      <a:lnTo>
                        <a:pt x="99" y="516"/>
                      </a:lnTo>
                      <a:lnTo>
                        <a:pt x="96" y="516"/>
                      </a:lnTo>
                      <a:lnTo>
                        <a:pt x="91" y="516"/>
                      </a:lnTo>
                      <a:lnTo>
                        <a:pt x="88" y="516"/>
                      </a:lnTo>
                      <a:lnTo>
                        <a:pt x="82" y="529"/>
                      </a:lnTo>
                      <a:lnTo>
                        <a:pt x="79" y="529"/>
                      </a:lnTo>
                      <a:lnTo>
                        <a:pt x="77" y="527"/>
                      </a:lnTo>
                      <a:lnTo>
                        <a:pt x="77" y="519"/>
                      </a:lnTo>
                      <a:lnTo>
                        <a:pt x="77" y="513"/>
                      </a:lnTo>
                      <a:lnTo>
                        <a:pt x="74" y="510"/>
                      </a:lnTo>
                      <a:lnTo>
                        <a:pt x="74" y="507"/>
                      </a:lnTo>
                      <a:lnTo>
                        <a:pt x="69" y="504"/>
                      </a:lnTo>
                      <a:lnTo>
                        <a:pt x="66" y="504"/>
                      </a:lnTo>
                      <a:lnTo>
                        <a:pt x="60" y="504"/>
                      </a:lnTo>
                      <a:lnTo>
                        <a:pt x="58" y="507"/>
                      </a:lnTo>
                      <a:lnTo>
                        <a:pt x="52" y="510"/>
                      </a:lnTo>
                      <a:lnTo>
                        <a:pt x="49" y="513"/>
                      </a:lnTo>
                      <a:lnTo>
                        <a:pt x="46" y="513"/>
                      </a:lnTo>
                      <a:lnTo>
                        <a:pt x="41" y="516"/>
                      </a:lnTo>
                      <a:lnTo>
                        <a:pt x="35" y="516"/>
                      </a:lnTo>
                      <a:lnTo>
                        <a:pt x="30" y="502"/>
                      </a:lnTo>
                      <a:lnTo>
                        <a:pt x="25" y="499"/>
                      </a:lnTo>
                      <a:lnTo>
                        <a:pt x="13" y="507"/>
                      </a:lnTo>
                      <a:lnTo>
                        <a:pt x="10" y="510"/>
                      </a:lnTo>
                      <a:lnTo>
                        <a:pt x="8" y="510"/>
                      </a:lnTo>
                      <a:lnTo>
                        <a:pt x="5" y="510"/>
                      </a:lnTo>
                      <a:lnTo>
                        <a:pt x="2" y="507"/>
                      </a:lnTo>
                      <a:close/>
                      <a:moveTo>
                        <a:pt x="2141" y="645"/>
                      </a:moveTo>
                      <a:lnTo>
                        <a:pt x="2141" y="642"/>
                      </a:lnTo>
                      <a:lnTo>
                        <a:pt x="2141" y="645"/>
                      </a:lnTo>
                      <a:close/>
                      <a:moveTo>
                        <a:pt x="2141" y="731"/>
                      </a:moveTo>
                      <a:lnTo>
                        <a:pt x="2141" y="728"/>
                      </a:lnTo>
                      <a:lnTo>
                        <a:pt x="2144" y="728"/>
                      </a:lnTo>
                      <a:lnTo>
                        <a:pt x="2141" y="726"/>
                      </a:lnTo>
                      <a:lnTo>
                        <a:pt x="2141" y="723"/>
                      </a:lnTo>
                      <a:lnTo>
                        <a:pt x="2141" y="719"/>
                      </a:lnTo>
                      <a:lnTo>
                        <a:pt x="2141" y="717"/>
                      </a:lnTo>
                      <a:lnTo>
                        <a:pt x="2146" y="709"/>
                      </a:lnTo>
                      <a:lnTo>
                        <a:pt x="2153" y="706"/>
                      </a:lnTo>
                      <a:lnTo>
                        <a:pt x="2161" y="709"/>
                      </a:lnTo>
                      <a:lnTo>
                        <a:pt x="2158" y="695"/>
                      </a:lnTo>
                      <a:lnTo>
                        <a:pt x="2155" y="693"/>
                      </a:lnTo>
                      <a:lnTo>
                        <a:pt x="2153" y="695"/>
                      </a:lnTo>
                      <a:lnTo>
                        <a:pt x="2150" y="693"/>
                      </a:lnTo>
                      <a:lnTo>
                        <a:pt x="2150" y="690"/>
                      </a:lnTo>
                      <a:lnTo>
                        <a:pt x="2144" y="687"/>
                      </a:lnTo>
                      <a:lnTo>
                        <a:pt x="2144" y="683"/>
                      </a:lnTo>
                      <a:lnTo>
                        <a:pt x="2150" y="681"/>
                      </a:lnTo>
                      <a:lnTo>
                        <a:pt x="2153" y="678"/>
                      </a:lnTo>
                      <a:lnTo>
                        <a:pt x="2155" y="675"/>
                      </a:lnTo>
                      <a:lnTo>
                        <a:pt x="2163" y="678"/>
                      </a:lnTo>
                      <a:lnTo>
                        <a:pt x="2163" y="675"/>
                      </a:lnTo>
                      <a:lnTo>
                        <a:pt x="2161" y="673"/>
                      </a:lnTo>
                      <a:lnTo>
                        <a:pt x="2163" y="670"/>
                      </a:lnTo>
                      <a:lnTo>
                        <a:pt x="2166" y="667"/>
                      </a:lnTo>
                      <a:lnTo>
                        <a:pt x="2161" y="665"/>
                      </a:lnTo>
                      <a:lnTo>
                        <a:pt x="2158" y="662"/>
                      </a:lnTo>
                      <a:lnTo>
                        <a:pt x="2161" y="659"/>
                      </a:lnTo>
                      <a:lnTo>
                        <a:pt x="2158" y="657"/>
                      </a:lnTo>
                      <a:lnTo>
                        <a:pt x="2163" y="654"/>
                      </a:lnTo>
                      <a:lnTo>
                        <a:pt x="2163" y="651"/>
                      </a:lnTo>
                      <a:lnTo>
                        <a:pt x="2161" y="648"/>
                      </a:lnTo>
                      <a:lnTo>
                        <a:pt x="2158" y="645"/>
                      </a:lnTo>
                      <a:lnTo>
                        <a:pt x="2155" y="642"/>
                      </a:lnTo>
                      <a:lnTo>
                        <a:pt x="2153" y="642"/>
                      </a:lnTo>
                      <a:lnTo>
                        <a:pt x="2153" y="637"/>
                      </a:lnTo>
                      <a:lnTo>
                        <a:pt x="2155" y="634"/>
                      </a:lnTo>
                      <a:lnTo>
                        <a:pt x="2158" y="634"/>
                      </a:lnTo>
                      <a:lnTo>
                        <a:pt x="2158" y="632"/>
                      </a:lnTo>
                      <a:lnTo>
                        <a:pt x="2161" y="632"/>
                      </a:lnTo>
                      <a:lnTo>
                        <a:pt x="2161" y="626"/>
                      </a:lnTo>
                      <a:lnTo>
                        <a:pt x="2153" y="626"/>
                      </a:lnTo>
                      <a:lnTo>
                        <a:pt x="2150" y="629"/>
                      </a:lnTo>
                      <a:lnTo>
                        <a:pt x="2153" y="626"/>
                      </a:lnTo>
                      <a:lnTo>
                        <a:pt x="2158" y="624"/>
                      </a:lnTo>
                      <a:lnTo>
                        <a:pt x="2161" y="618"/>
                      </a:lnTo>
                      <a:lnTo>
                        <a:pt x="2169" y="621"/>
                      </a:lnTo>
                      <a:lnTo>
                        <a:pt x="2177" y="621"/>
                      </a:lnTo>
                      <a:lnTo>
                        <a:pt x="2180" y="618"/>
                      </a:lnTo>
                      <a:lnTo>
                        <a:pt x="2191" y="616"/>
                      </a:lnTo>
                      <a:lnTo>
                        <a:pt x="2199" y="612"/>
                      </a:lnTo>
                      <a:lnTo>
                        <a:pt x="2199" y="606"/>
                      </a:lnTo>
                      <a:lnTo>
                        <a:pt x="2197" y="604"/>
                      </a:lnTo>
                      <a:lnTo>
                        <a:pt x="2199" y="609"/>
                      </a:lnTo>
                      <a:lnTo>
                        <a:pt x="2197" y="601"/>
                      </a:lnTo>
                      <a:lnTo>
                        <a:pt x="2197" y="598"/>
                      </a:lnTo>
                      <a:lnTo>
                        <a:pt x="2199" y="601"/>
                      </a:lnTo>
                      <a:lnTo>
                        <a:pt x="2202" y="598"/>
                      </a:lnTo>
                      <a:lnTo>
                        <a:pt x="2205" y="596"/>
                      </a:lnTo>
                      <a:lnTo>
                        <a:pt x="2205" y="598"/>
                      </a:lnTo>
                      <a:lnTo>
                        <a:pt x="2205" y="606"/>
                      </a:lnTo>
                      <a:lnTo>
                        <a:pt x="2207" y="606"/>
                      </a:lnTo>
                      <a:lnTo>
                        <a:pt x="2210" y="616"/>
                      </a:lnTo>
                      <a:lnTo>
                        <a:pt x="2213" y="621"/>
                      </a:lnTo>
                      <a:lnTo>
                        <a:pt x="2222" y="624"/>
                      </a:lnTo>
                      <a:lnTo>
                        <a:pt x="2224" y="618"/>
                      </a:lnTo>
                      <a:lnTo>
                        <a:pt x="2227" y="621"/>
                      </a:lnTo>
                      <a:lnTo>
                        <a:pt x="2227" y="624"/>
                      </a:lnTo>
                      <a:lnTo>
                        <a:pt x="2222" y="626"/>
                      </a:lnTo>
                      <a:lnTo>
                        <a:pt x="2222" y="632"/>
                      </a:lnTo>
                      <a:lnTo>
                        <a:pt x="2222" y="640"/>
                      </a:lnTo>
                      <a:lnTo>
                        <a:pt x="2213" y="642"/>
                      </a:lnTo>
                      <a:lnTo>
                        <a:pt x="2205" y="657"/>
                      </a:lnTo>
                      <a:lnTo>
                        <a:pt x="2199" y="665"/>
                      </a:lnTo>
                      <a:lnTo>
                        <a:pt x="2199" y="673"/>
                      </a:lnTo>
                      <a:lnTo>
                        <a:pt x="2199" y="675"/>
                      </a:lnTo>
                      <a:lnTo>
                        <a:pt x="2199" y="678"/>
                      </a:lnTo>
                      <a:lnTo>
                        <a:pt x="2202" y="675"/>
                      </a:lnTo>
                      <a:lnTo>
                        <a:pt x="2205" y="675"/>
                      </a:lnTo>
                      <a:lnTo>
                        <a:pt x="2202" y="681"/>
                      </a:lnTo>
                      <a:lnTo>
                        <a:pt x="2202" y="683"/>
                      </a:lnTo>
                      <a:lnTo>
                        <a:pt x="2199" y="687"/>
                      </a:lnTo>
                      <a:lnTo>
                        <a:pt x="2197" y="693"/>
                      </a:lnTo>
                      <a:lnTo>
                        <a:pt x="2197" y="695"/>
                      </a:lnTo>
                      <a:lnTo>
                        <a:pt x="2194" y="695"/>
                      </a:lnTo>
                      <a:lnTo>
                        <a:pt x="2191" y="698"/>
                      </a:lnTo>
                      <a:lnTo>
                        <a:pt x="2191" y="701"/>
                      </a:lnTo>
                      <a:lnTo>
                        <a:pt x="2183" y="709"/>
                      </a:lnTo>
                      <a:lnTo>
                        <a:pt x="2180" y="714"/>
                      </a:lnTo>
                      <a:lnTo>
                        <a:pt x="2177" y="726"/>
                      </a:lnTo>
                      <a:lnTo>
                        <a:pt x="2169" y="736"/>
                      </a:lnTo>
                      <a:lnTo>
                        <a:pt x="2169" y="739"/>
                      </a:lnTo>
                      <a:lnTo>
                        <a:pt x="2166" y="744"/>
                      </a:lnTo>
                      <a:lnTo>
                        <a:pt x="2166" y="750"/>
                      </a:lnTo>
                      <a:lnTo>
                        <a:pt x="2169" y="750"/>
                      </a:lnTo>
                      <a:lnTo>
                        <a:pt x="2169" y="752"/>
                      </a:lnTo>
                      <a:lnTo>
                        <a:pt x="2172" y="752"/>
                      </a:lnTo>
                      <a:lnTo>
                        <a:pt x="2174" y="752"/>
                      </a:lnTo>
                      <a:lnTo>
                        <a:pt x="2174" y="756"/>
                      </a:lnTo>
                      <a:lnTo>
                        <a:pt x="2180" y="756"/>
                      </a:lnTo>
                      <a:lnTo>
                        <a:pt x="2180" y="759"/>
                      </a:lnTo>
                      <a:lnTo>
                        <a:pt x="2177" y="759"/>
                      </a:lnTo>
                      <a:lnTo>
                        <a:pt x="2174" y="762"/>
                      </a:lnTo>
                      <a:lnTo>
                        <a:pt x="2174" y="764"/>
                      </a:lnTo>
                      <a:lnTo>
                        <a:pt x="2177" y="764"/>
                      </a:lnTo>
                      <a:lnTo>
                        <a:pt x="2174" y="767"/>
                      </a:lnTo>
                      <a:lnTo>
                        <a:pt x="2169" y="770"/>
                      </a:lnTo>
                      <a:lnTo>
                        <a:pt x="2166" y="767"/>
                      </a:lnTo>
                      <a:lnTo>
                        <a:pt x="2166" y="764"/>
                      </a:lnTo>
                      <a:lnTo>
                        <a:pt x="2163" y="764"/>
                      </a:lnTo>
                      <a:lnTo>
                        <a:pt x="2158" y="767"/>
                      </a:lnTo>
                      <a:lnTo>
                        <a:pt x="2155" y="770"/>
                      </a:lnTo>
                      <a:lnTo>
                        <a:pt x="2153" y="780"/>
                      </a:lnTo>
                      <a:lnTo>
                        <a:pt x="2153" y="783"/>
                      </a:lnTo>
                      <a:lnTo>
                        <a:pt x="2144" y="788"/>
                      </a:lnTo>
                      <a:lnTo>
                        <a:pt x="2144" y="786"/>
                      </a:lnTo>
                      <a:lnTo>
                        <a:pt x="2141" y="786"/>
                      </a:lnTo>
                      <a:lnTo>
                        <a:pt x="2144" y="780"/>
                      </a:lnTo>
                      <a:lnTo>
                        <a:pt x="2146" y="778"/>
                      </a:lnTo>
                      <a:lnTo>
                        <a:pt x="2141" y="772"/>
                      </a:lnTo>
                      <a:lnTo>
                        <a:pt x="2144" y="770"/>
                      </a:lnTo>
                      <a:lnTo>
                        <a:pt x="2141" y="767"/>
                      </a:lnTo>
                      <a:lnTo>
                        <a:pt x="2138" y="764"/>
                      </a:lnTo>
                      <a:lnTo>
                        <a:pt x="2138" y="759"/>
                      </a:lnTo>
                      <a:lnTo>
                        <a:pt x="2136" y="756"/>
                      </a:lnTo>
                      <a:lnTo>
                        <a:pt x="2141" y="756"/>
                      </a:lnTo>
                      <a:lnTo>
                        <a:pt x="2144" y="750"/>
                      </a:lnTo>
                      <a:lnTo>
                        <a:pt x="2146" y="747"/>
                      </a:lnTo>
                      <a:lnTo>
                        <a:pt x="2144" y="736"/>
                      </a:lnTo>
                      <a:lnTo>
                        <a:pt x="2150" y="728"/>
                      </a:lnTo>
                      <a:lnTo>
                        <a:pt x="2146" y="728"/>
                      </a:lnTo>
                      <a:lnTo>
                        <a:pt x="2144" y="728"/>
                      </a:lnTo>
                      <a:lnTo>
                        <a:pt x="2144" y="731"/>
                      </a:lnTo>
                      <a:lnTo>
                        <a:pt x="2141" y="731"/>
                      </a:lnTo>
                      <a:close/>
                      <a:moveTo>
                        <a:pt x="2144" y="637"/>
                      </a:moveTo>
                      <a:lnTo>
                        <a:pt x="2141" y="637"/>
                      </a:lnTo>
                      <a:lnTo>
                        <a:pt x="2144" y="637"/>
                      </a:lnTo>
                      <a:lnTo>
                        <a:pt x="2144" y="634"/>
                      </a:lnTo>
                      <a:lnTo>
                        <a:pt x="2144" y="637"/>
                      </a:lnTo>
                      <a:lnTo>
                        <a:pt x="2144" y="640"/>
                      </a:lnTo>
                      <a:lnTo>
                        <a:pt x="2144" y="637"/>
                      </a:lnTo>
                      <a:close/>
                    </a:path>
                  </a:pathLst>
                </a:custGeom>
                <a:grpFill/>
                <a:ln w="12700" cap="flat" cmpd="sng" algn="ctr">
                  <a:solidFill>
                    <a:schemeClr val="bg1">
                      <a:lumMod val="85000"/>
                    </a:schemeClr>
                  </a:solidFill>
                  <a:prstDash val="solid"/>
                  <a:round/>
                  <a:headEnd type="none" w="med" len="med"/>
                  <a:tailEnd type="none" w="med" len="med"/>
                </a:ln>
              </p:spPr>
            </p:sp>
            <p:sp>
              <p:nvSpPr>
                <p:cNvPr id="61" name="ee4p_BR_22"/>
                <p:cNvSpPr>
                  <a:spLocks noEditPoints="1"/>
                </p:cNvSpPr>
                <p:nvPr>
                  <p:custDataLst>
                    <p:tags r:id="rId23"/>
                  </p:custDataLst>
                </p:nvPr>
              </p:nvSpPr>
              <p:spPr bwMode="auto">
                <a:xfrm>
                  <a:off x="4703136" y="4480483"/>
                  <a:ext cx="944182" cy="649437"/>
                </a:xfrm>
                <a:custGeom>
                  <a:avLst/>
                  <a:gdLst/>
                  <a:ahLst/>
                  <a:cxnLst>
                    <a:cxn ang="0">
                      <a:pos x="323" y="919"/>
                    </a:cxn>
                    <a:cxn ang="0">
                      <a:pos x="510" y="620"/>
                    </a:cxn>
                    <a:cxn ang="0">
                      <a:pos x="676" y="295"/>
                    </a:cxn>
                    <a:cxn ang="0">
                      <a:pos x="988" y="55"/>
                    </a:cxn>
                    <a:cxn ang="0">
                      <a:pos x="1303" y="66"/>
                    </a:cxn>
                    <a:cxn ang="0">
                      <a:pos x="1565" y="201"/>
                    </a:cxn>
                    <a:cxn ang="0">
                      <a:pos x="1761" y="160"/>
                    </a:cxn>
                    <a:cxn ang="0">
                      <a:pos x="2004" y="124"/>
                    </a:cxn>
                    <a:cxn ang="0">
                      <a:pos x="2186" y="85"/>
                    </a:cxn>
                    <a:cxn ang="0">
                      <a:pos x="2379" y="162"/>
                    </a:cxn>
                    <a:cxn ang="0">
                      <a:pos x="2421" y="309"/>
                    </a:cxn>
                    <a:cxn ang="0">
                      <a:pos x="2415" y="491"/>
                    </a:cxn>
                    <a:cxn ang="0">
                      <a:pos x="2473" y="640"/>
                    </a:cxn>
                    <a:cxn ang="0">
                      <a:pos x="2572" y="665"/>
                    </a:cxn>
                    <a:cxn ang="0">
                      <a:pos x="2683" y="712"/>
                    </a:cxn>
                    <a:cxn ang="0">
                      <a:pos x="2614" y="855"/>
                    </a:cxn>
                    <a:cxn ang="0">
                      <a:pos x="2597" y="962"/>
                    </a:cxn>
                    <a:cxn ang="0">
                      <a:pos x="2609" y="1076"/>
                    </a:cxn>
                    <a:cxn ang="0">
                      <a:pos x="2724" y="1161"/>
                    </a:cxn>
                    <a:cxn ang="0">
                      <a:pos x="2755" y="1250"/>
                    </a:cxn>
                    <a:cxn ang="0">
                      <a:pos x="2860" y="1302"/>
                    </a:cxn>
                    <a:cxn ang="0">
                      <a:pos x="2987" y="1280"/>
                    </a:cxn>
                    <a:cxn ang="0">
                      <a:pos x="3014" y="1200"/>
                    </a:cxn>
                    <a:cxn ang="0">
                      <a:pos x="3100" y="1195"/>
                    </a:cxn>
                    <a:cxn ang="0">
                      <a:pos x="3266" y="1134"/>
                    </a:cxn>
                    <a:cxn ang="0">
                      <a:pos x="3437" y="1161"/>
                    </a:cxn>
                    <a:cxn ang="0">
                      <a:pos x="3542" y="1181"/>
                    </a:cxn>
                    <a:cxn ang="0">
                      <a:pos x="3637" y="1211"/>
                    </a:cxn>
                    <a:cxn ang="0">
                      <a:pos x="3525" y="1297"/>
                    </a:cxn>
                    <a:cxn ang="0">
                      <a:pos x="3381" y="1351"/>
                    </a:cxn>
                    <a:cxn ang="0">
                      <a:pos x="3368" y="1463"/>
                    </a:cxn>
                    <a:cxn ang="0">
                      <a:pos x="3318" y="1501"/>
                    </a:cxn>
                    <a:cxn ang="0">
                      <a:pos x="3254" y="1553"/>
                    </a:cxn>
                    <a:cxn ang="0">
                      <a:pos x="3213" y="1592"/>
                    </a:cxn>
                    <a:cxn ang="0">
                      <a:pos x="3119" y="1694"/>
                    </a:cxn>
                    <a:cxn ang="0">
                      <a:pos x="2967" y="1666"/>
                    </a:cxn>
                    <a:cxn ang="0">
                      <a:pos x="2812" y="1763"/>
                    </a:cxn>
                    <a:cxn ang="0">
                      <a:pos x="2735" y="1774"/>
                    </a:cxn>
                    <a:cxn ang="0">
                      <a:pos x="2393" y="2006"/>
                    </a:cxn>
                    <a:cxn ang="0">
                      <a:pos x="2062" y="2279"/>
                    </a:cxn>
                    <a:cxn ang="0">
                      <a:pos x="1976" y="2177"/>
                    </a:cxn>
                    <a:cxn ang="0">
                      <a:pos x="1861" y="2230"/>
                    </a:cxn>
                    <a:cxn ang="0">
                      <a:pos x="1851" y="2113"/>
                    </a:cxn>
                    <a:cxn ang="0">
                      <a:pos x="1802" y="2049"/>
                    </a:cxn>
                    <a:cxn ang="0">
                      <a:pos x="1672" y="2033"/>
                    </a:cxn>
                    <a:cxn ang="0">
                      <a:pos x="1549" y="2041"/>
                    </a:cxn>
                    <a:cxn ang="0">
                      <a:pos x="1573" y="1928"/>
                    </a:cxn>
                    <a:cxn ang="0">
                      <a:pos x="1504" y="1813"/>
                    </a:cxn>
                    <a:cxn ang="0">
                      <a:pos x="1465" y="1741"/>
                    </a:cxn>
                    <a:cxn ang="0">
                      <a:pos x="1447" y="1652"/>
                    </a:cxn>
                    <a:cxn ang="0">
                      <a:pos x="1429" y="1534"/>
                    </a:cxn>
                    <a:cxn ang="0">
                      <a:pos x="1388" y="1418"/>
                    </a:cxn>
                    <a:cxn ang="0">
                      <a:pos x="1278" y="1310"/>
                    </a:cxn>
                    <a:cxn ang="0">
                      <a:pos x="1090" y="1327"/>
                    </a:cxn>
                    <a:cxn ang="0">
                      <a:pos x="880" y="1266"/>
                    </a:cxn>
                    <a:cxn ang="0">
                      <a:pos x="560" y="1195"/>
                    </a:cxn>
                    <a:cxn ang="0">
                      <a:pos x="287" y="1189"/>
                    </a:cxn>
                    <a:cxn ang="0">
                      <a:pos x="3356" y="1520"/>
                    </a:cxn>
                    <a:cxn ang="0">
                      <a:pos x="3334" y="1529"/>
                    </a:cxn>
                    <a:cxn ang="0">
                      <a:pos x="3154" y="1732"/>
                    </a:cxn>
                    <a:cxn ang="0">
                      <a:pos x="3202" y="1683"/>
                    </a:cxn>
                    <a:cxn ang="0">
                      <a:pos x="3085" y="1705"/>
                    </a:cxn>
                    <a:cxn ang="0">
                      <a:pos x="3235" y="1583"/>
                    </a:cxn>
                  </a:cxnLst>
                  <a:rect l="0" t="0" r="r" b="b"/>
                  <a:pathLst>
                    <a:path w="3637" h="2317">
                      <a:moveTo>
                        <a:pt x="3" y="1189"/>
                      </a:moveTo>
                      <a:lnTo>
                        <a:pt x="0" y="1187"/>
                      </a:lnTo>
                      <a:lnTo>
                        <a:pt x="0" y="1184"/>
                      </a:lnTo>
                      <a:lnTo>
                        <a:pt x="0" y="1181"/>
                      </a:lnTo>
                      <a:lnTo>
                        <a:pt x="3" y="1175"/>
                      </a:lnTo>
                      <a:lnTo>
                        <a:pt x="11" y="1164"/>
                      </a:lnTo>
                      <a:lnTo>
                        <a:pt x="19" y="1156"/>
                      </a:lnTo>
                      <a:lnTo>
                        <a:pt x="22" y="1153"/>
                      </a:lnTo>
                      <a:lnTo>
                        <a:pt x="39" y="1148"/>
                      </a:lnTo>
                      <a:lnTo>
                        <a:pt x="41" y="1145"/>
                      </a:lnTo>
                      <a:lnTo>
                        <a:pt x="47" y="1136"/>
                      </a:lnTo>
                      <a:lnTo>
                        <a:pt x="63" y="1128"/>
                      </a:lnTo>
                      <a:lnTo>
                        <a:pt x="67" y="1128"/>
                      </a:lnTo>
                      <a:lnTo>
                        <a:pt x="69" y="1126"/>
                      </a:lnTo>
                      <a:lnTo>
                        <a:pt x="91" y="1120"/>
                      </a:lnTo>
                      <a:lnTo>
                        <a:pt x="102" y="1115"/>
                      </a:lnTo>
                      <a:lnTo>
                        <a:pt x="105" y="1115"/>
                      </a:lnTo>
                      <a:lnTo>
                        <a:pt x="110" y="1103"/>
                      </a:lnTo>
                      <a:lnTo>
                        <a:pt x="124" y="1092"/>
                      </a:lnTo>
                      <a:lnTo>
                        <a:pt x="126" y="1087"/>
                      </a:lnTo>
                      <a:lnTo>
                        <a:pt x="149" y="1073"/>
                      </a:lnTo>
                      <a:lnTo>
                        <a:pt x="157" y="1070"/>
                      </a:lnTo>
                      <a:lnTo>
                        <a:pt x="169" y="1062"/>
                      </a:lnTo>
                      <a:lnTo>
                        <a:pt x="185" y="1057"/>
                      </a:lnTo>
                      <a:lnTo>
                        <a:pt x="193" y="1051"/>
                      </a:lnTo>
                      <a:lnTo>
                        <a:pt x="198" y="1049"/>
                      </a:lnTo>
                      <a:lnTo>
                        <a:pt x="207" y="1043"/>
                      </a:lnTo>
                      <a:lnTo>
                        <a:pt x="215" y="1034"/>
                      </a:lnTo>
                      <a:lnTo>
                        <a:pt x="229" y="1031"/>
                      </a:lnTo>
                      <a:lnTo>
                        <a:pt x="240" y="1026"/>
                      </a:lnTo>
                      <a:lnTo>
                        <a:pt x="248" y="1023"/>
                      </a:lnTo>
                      <a:lnTo>
                        <a:pt x="251" y="1021"/>
                      </a:lnTo>
                      <a:lnTo>
                        <a:pt x="254" y="1021"/>
                      </a:lnTo>
                      <a:lnTo>
                        <a:pt x="257" y="1015"/>
                      </a:lnTo>
                      <a:lnTo>
                        <a:pt x="265" y="1007"/>
                      </a:lnTo>
                      <a:lnTo>
                        <a:pt x="267" y="1004"/>
                      </a:lnTo>
                      <a:lnTo>
                        <a:pt x="287" y="990"/>
                      </a:lnTo>
                      <a:lnTo>
                        <a:pt x="290" y="982"/>
                      </a:lnTo>
                      <a:lnTo>
                        <a:pt x="292" y="980"/>
                      </a:lnTo>
                      <a:lnTo>
                        <a:pt x="298" y="974"/>
                      </a:lnTo>
                      <a:lnTo>
                        <a:pt x="312" y="954"/>
                      </a:lnTo>
                      <a:lnTo>
                        <a:pt x="323" y="919"/>
                      </a:lnTo>
                      <a:lnTo>
                        <a:pt x="326" y="911"/>
                      </a:lnTo>
                      <a:lnTo>
                        <a:pt x="339" y="893"/>
                      </a:lnTo>
                      <a:lnTo>
                        <a:pt x="345" y="893"/>
                      </a:lnTo>
                      <a:lnTo>
                        <a:pt x="345" y="891"/>
                      </a:lnTo>
                      <a:lnTo>
                        <a:pt x="351" y="888"/>
                      </a:lnTo>
                      <a:lnTo>
                        <a:pt x="356" y="880"/>
                      </a:lnTo>
                      <a:lnTo>
                        <a:pt x="376" y="867"/>
                      </a:lnTo>
                      <a:lnTo>
                        <a:pt x="378" y="858"/>
                      </a:lnTo>
                      <a:lnTo>
                        <a:pt x="378" y="852"/>
                      </a:lnTo>
                      <a:lnTo>
                        <a:pt x="386" y="834"/>
                      </a:lnTo>
                      <a:lnTo>
                        <a:pt x="394" y="827"/>
                      </a:lnTo>
                      <a:lnTo>
                        <a:pt x="412" y="822"/>
                      </a:lnTo>
                      <a:lnTo>
                        <a:pt x="414" y="816"/>
                      </a:lnTo>
                      <a:lnTo>
                        <a:pt x="420" y="811"/>
                      </a:lnTo>
                      <a:lnTo>
                        <a:pt x="430" y="791"/>
                      </a:lnTo>
                      <a:lnTo>
                        <a:pt x="430" y="789"/>
                      </a:lnTo>
                      <a:lnTo>
                        <a:pt x="430" y="781"/>
                      </a:lnTo>
                      <a:lnTo>
                        <a:pt x="425" y="770"/>
                      </a:lnTo>
                      <a:lnTo>
                        <a:pt x="425" y="762"/>
                      </a:lnTo>
                      <a:lnTo>
                        <a:pt x="412" y="750"/>
                      </a:lnTo>
                      <a:lnTo>
                        <a:pt x="409" y="745"/>
                      </a:lnTo>
                      <a:lnTo>
                        <a:pt x="414" y="737"/>
                      </a:lnTo>
                      <a:lnTo>
                        <a:pt x="420" y="726"/>
                      </a:lnTo>
                      <a:lnTo>
                        <a:pt x="425" y="722"/>
                      </a:lnTo>
                      <a:lnTo>
                        <a:pt x="428" y="722"/>
                      </a:lnTo>
                      <a:lnTo>
                        <a:pt x="445" y="726"/>
                      </a:lnTo>
                      <a:lnTo>
                        <a:pt x="453" y="726"/>
                      </a:lnTo>
                      <a:lnTo>
                        <a:pt x="463" y="720"/>
                      </a:lnTo>
                      <a:lnTo>
                        <a:pt x="466" y="717"/>
                      </a:lnTo>
                      <a:lnTo>
                        <a:pt x="472" y="709"/>
                      </a:lnTo>
                      <a:lnTo>
                        <a:pt x="481" y="701"/>
                      </a:lnTo>
                      <a:lnTo>
                        <a:pt x="483" y="693"/>
                      </a:lnTo>
                      <a:lnTo>
                        <a:pt x="486" y="684"/>
                      </a:lnTo>
                      <a:lnTo>
                        <a:pt x="489" y="673"/>
                      </a:lnTo>
                      <a:lnTo>
                        <a:pt x="505" y="660"/>
                      </a:lnTo>
                      <a:lnTo>
                        <a:pt x="507" y="657"/>
                      </a:lnTo>
                      <a:lnTo>
                        <a:pt x="507" y="653"/>
                      </a:lnTo>
                      <a:lnTo>
                        <a:pt x="507" y="651"/>
                      </a:lnTo>
                      <a:lnTo>
                        <a:pt x="507" y="648"/>
                      </a:lnTo>
                      <a:lnTo>
                        <a:pt x="510" y="637"/>
                      </a:lnTo>
                      <a:lnTo>
                        <a:pt x="514" y="624"/>
                      </a:lnTo>
                      <a:lnTo>
                        <a:pt x="510" y="620"/>
                      </a:lnTo>
                      <a:lnTo>
                        <a:pt x="507" y="604"/>
                      </a:lnTo>
                      <a:lnTo>
                        <a:pt x="502" y="596"/>
                      </a:lnTo>
                      <a:lnTo>
                        <a:pt x="499" y="593"/>
                      </a:lnTo>
                      <a:lnTo>
                        <a:pt x="502" y="588"/>
                      </a:lnTo>
                      <a:lnTo>
                        <a:pt x="499" y="574"/>
                      </a:lnTo>
                      <a:lnTo>
                        <a:pt x="502" y="568"/>
                      </a:lnTo>
                      <a:lnTo>
                        <a:pt x="505" y="566"/>
                      </a:lnTo>
                      <a:lnTo>
                        <a:pt x="516" y="566"/>
                      </a:lnTo>
                      <a:lnTo>
                        <a:pt x="524" y="563"/>
                      </a:lnTo>
                      <a:lnTo>
                        <a:pt x="527" y="563"/>
                      </a:lnTo>
                      <a:lnTo>
                        <a:pt x="530" y="558"/>
                      </a:lnTo>
                      <a:lnTo>
                        <a:pt x="538" y="555"/>
                      </a:lnTo>
                      <a:lnTo>
                        <a:pt x="543" y="540"/>
                      </a:lnTo>
                      <a:lnTo>
                        <a:pt x="543" y="532"/>
                      </a:lnTo>
                      <a:lnTo>
                        <a:pt x="550" y="524"/>
                      </a:lnTo>
                      <a:lnTo>
                        <a:pt x="552" y="515"/>
                      </a:lnTo>
                      <a:lnTo>
                        <a:pt x="563" y="502"/>
                      </a:lnTo>
                      <a:lnTo>
                        <a:pt x="568" y="499"/>
                      </a:lnTo>
                      <a:lnTo>
                        <a:pt x="585" y="499"/>
                      </a:lnTo>
                      <a:lnTo>
                        <a:pt x="588" y="499"/>
                      </a:lnTo>
                      <a:lnTo>
                        <a:pt x="604" y="489"/>
                      </a:lnTo>
                      <a:lnTo>
                        <a:pt x="607" y="483"/>
                      </a:lnTo>
                      <a:lnTo>
                        <a:pt x="609" y="463"/>
                      </a:lnTo>
                      <a:lnTo>
                        <a:pt x="604" y="458"/>
                      </a:lnTo>
                      <a:lnTo>
                        <a:pt x="601" y="450"/>
                      </a:lnTo>
                      <a:lnTo>
                        <a:pt x="601" y="436"/>
                      </a:lnTo>
                      <a:lnTo>
                        <a:pt x="604" y="422"/>
                      </a:lnTo>
                      <a:lnTo>
                        <a:pt x="604" y="420"/>
                      </a:lnTo>
                      <a:lnTo>
                        <a:pt x="604" y="417"/>
                      </a:lnTo>
                      <a:lnTo>
                        <a:pt x="599" y="408"/>
                      </a:lnTo>
                      <a:lnTo>
                        <a:pt x="601" y="394"/>
                      </a:lnTo>
                      <a:lnTo>
                        <a:pt x="616" y="364"/>
                      </a:lnTo>
                      <a:lnTo>
                        <a:pt x="619" y="361"/>
                      </a:lnTo>
                      <a:lnTo>
                        <a:pt x="621" y="359"/>
                      </a:lnTo>
                      <a:lnTo>
                        <a:pt x="621" y="356"/>
                      </a:lnTo>
                      <a:lnTo>
                        <a:pt x="624" y="353"/>
                      </a:lnTo>
                      <a:lnTo>
                        <a:pt x="627" y="351"/>
                      </a:lnTo>
                      <a:lnTo>
                        <a:pt x="645" y="339"/>
                      </a:lnTo>
                      <a:lnTo>
                        <a:pt x="654" y="331"/>
                      </a:lnTo>
                      <a:lnTo>
                        <a:pt x="657" y="323"/>
                      </a:lnTo>
                      <a:lnTo>
                        <a:pt x="671" y="300"/>
                      </a:lnTo>
                      <a:lnTo>
                        <a:pt x="676" y="295"/>
                      </a:lnTo>
                      <a:lnTo>
                        <a:pt x="688" y="287"/>
                      </a:lnTo>
                      <a:lnTo>
                        <a:pt x="693" y="284"/>
                      </a:lnTo>
                      <a:lnTo>
                        <a:pt x="693" y="282"/>
                      </a:lnTo>
                      <a:lnTo>
                        <a:pt x="706" y="256"/>
                      </a:lnTo>
                      <a:lnTo>
                        <a:pt x="712" y="254"/>
                      </a:lnTo>
                      <a:lnTo>
                        <a:pt x="714" y="243"/>
                      </a:lnTo>
                      <a:lnTo>
                        <a:pt x="717" y="240"/>
                      </a:lnTo>
                      <a:lnTo>
                        <a:pt x="721" y="240"/>
                      </a:lnTo>
                      <a:lnTo>
                        <a:pt x="729" y="234"/>
                      </a:lnTo>
                      <a:lnTo>
                        <a:pt x="737" y="229"/>
                      </a:lnTo>
                      <a:lnTo>
                        <a:pt x="762" y="223"/>
                      </a:lnTo>
                      <a:lnTo>
                        <a:pt x="778" y="223"/>
                      </a:lnTo>
                      <a:lnTo>
                        <a:pt x="790" y="221"/>
                      </a:lnTo>
                      <a:lnTo>
                        <a:pt x="798" y="218"/>
                      </a:lnTo>
                      <a:lnTo>
                        <a:pt x="800" y="218"/>
                      </a:lnTo>
                      <a:lnTo>
                        <a:pt x="806" y="215"/>
                      </a:lnTo>
                      <a:lnTo>
                        <a:pt x="811" y="210"/>
                      </a:lnTo>
                      <a:lnTo>
                        <a:pt x="817" y="207"/>
                      </a:lnTo>
                      <a:lnTo>
                        <a:pt x="831" y="196"/>
                      </a:lnTo>
                      <a:lnTo>
                        <a:pt x="834" y="190"/>
                      </a:lnTo>
                      <a:lnTo>
                        <a:pt x="839" y="174"/>
                      </a:lnTo>
                      <a:lnTo>
                        <a:pt x="847" y="154"/>
                      </a:lnTo>
                      <a:lnTo>
                        <a:pt x="859" y="133"/>
                      </a:lnTo>
                      <a:lnTo>
                        <a:pt x="859" y="126"/>
                      </a:lnTo>
                      <a:lnTo>
                        <a:pt x="872" y="108"/>
                      </a:lnTo>
                      <a:lnTo>
                        <a:pt x="872" y="105"/>
                      </a:lnTo>
                      <a:lnTo>
                        <a:pt x="877" y="105"/>
                      </a:lnTo>
                      <a:lnTo>
                        <a:pt x="880" y="105"/>
                      </a:lnTo>
                      <a:lnTo>
                        <a:pt x="886" y="100"/>
                      </a:lnTo>
                      <a:lnTo>
                        <a:pt x="895" y="93"/>
                      </a:lnTo>
                      <a:lnTo>
                        <a:pt x="895" y="88"/>
                      </a:lnTo>
                      <a:lnTo>
                        <a:pt x="900" y="88"/>
                      </a:lnTo>
                      <a:lnTo>
                        <a:pt x="905" y="88"/>
                      </a:lnTo>
                      <a:lnTo>
                        <a:pt x="911" y="88"/>
                      </a:lnTo>
                      <a:lnTo>
                        <a:pt x="919" y="80"/>
                      </a:lnTo>
                      <a:lnTo>
                        <a:pt x="921" y="77"/>
                      </a:lnTo>
                      <a:lnTo>
                        <a:pt x="933" y="75"/>
                      </a:lnTo>
                      <a:lnTo>
                        <a:pt x="941" y="69"/>
                      </a:lnTo>
                      <a:lnTo>
                        <a:pt x="941" y="66"/>
                      </a:lnTo>
                      <a:lnTo>
                        <a:pt x="946" y="66"/>
                      </a:lnTo>
                      <a:lnTo>
                        <a:pt x="969" y="60"/>
                      </a:lnTo>
                      <a:lnTo>
                        <a:pt x="988" y="55"/>
                      </a:lnTo>
                      <a:lnTo>
                        <a:pt x="990" y="55"/>
                      </a:lnTo>
                      <a:lnTo>
                        <a:pt x="997" y="52"/>
                      </a:lnTo>
                      <a:lnTo>
                        <a:pt x="999" y="52"/>
                      </a:lnTo>
                      <a:lnTo>
                        <a:pt x="1007" y="39"/>
                      </a:lnTo>
                      <a:lnTo>
                        <a:pt x="1013" y="33"/>
                      </a:lnTo>
                      <a:lnTo>
                        <a:pt x="1018" y="31"/>
                      </a:lnTo>
                      <a:lnTo>
                        <a:pt x="1026" y="19"/>
                      </a:lnTo>
                      <a:lnTo>
                        <a:pt x="1030" y="14"/>
                      </a:lnTo>
                      <a:lnTo>
                        <a:pt x="1035" y="14"/>
                      </a:lnTo>
                      <a:lnTo>
                        <a:pt x="1043" y="14"/>
                      </a:lnTo>
                      <a:lnTo>
                        <a:pt x="1049" y="8"/>
                      </a:lnTo>
                      <a:lnTo>
                        <a:pt x="1054" y="6"/>
                      </a:lnTo>
                      <a:lnTo>
                        <a:pt x="1063" y="6"/>
                      </a:lnTo>
                      <a:lnTo>
                        <a:pt x="1068" y="3"/>
                      </a:lnTo>
                      <a:lnTo>
                        <a:pt x="1074" y="0"/>
                      </a:lnTo>
                      <a:lnTo>
                        <a:pt x="1079" y="3"/>
                      </a:lnTo>
                      <a:lnTo>
                        <a:pt x="1087" y="6"/>
                      </a:lnTo>
                      <a:lnTo>
                        <a:pt x="1095" y="8"/>
                      </a:lnTo>
                      <a:lnTo>
                        <a:pt x="1112" y="27"/>
                      </a:lnTo>
                      <a:lnTo>
                        <a:pt x="1120" y="31"/>
                      </a:lnTo>
                      <a:lnTo>
                        <a:pt x="1120" y="36"/>
                      </a:lnTo>
                      <a:lnTo>
                        <a:pt x="1128" y="36"/>
                      </a:lnTo>
                      <a:lnTo>
                        <a:pt x="1135" y="39"/>
                      </a:lnTo>
                      <a:lnTo>
                        <a:pt x="1137" y="39"/>
                      </a:lnTo>
                      <a:lnTo>
                        <a:pt x="1148" y="36"/>
                      </a:lnTo>
                      <a:lnTo>
                        <a:pt x="1165" y="41"/>
                      </a:lnTo>
                      <a:lnTo>
                        <a:pt x="1176" y="36"/>
                      </a:lnTo>
                      <a:lnTo>
                        <a:pt x="1184" y="36"/>
                      </a:lnTo>
                      <a:lnTo>
                        <a:pt x="1195" y="39"/>
                      </a:lnTo>
                      <a:lnTo>
                        <a:pt x="1197" y="41"/>
                      </a:lnTo>
                      <a:lnTo>
                        <a:pt x="1201" y="41"/>
                      </a:lnTo>
                      <a:lnTo>
                        <a:pt x="1209" y="39"/>
                      </a:lnTo>
                      <a:lnTo>
                        <a:pt x="1222" y="39"/>
                      </a:lnTo>
                      <a:lnTo>
                        <a:pt x="1225" y="39"/>
                      </a:lnTo>
                      <a:lnTo>
                        <a:pt x="1228" y="41"/>
                      </a:lnTo>
                      <a:lnTo>
                        <a:pt x="1234" y="44"/>
                      </a:lnTo>
                      <a:lnTo>
                        <a:pt x="1245" y="55"/>
                      </a:lnTo>
                      <a:lnTo>
                        <a:pt x="1248" y="57"/>
                      </a:lnTo>
                      <a:lnTo>
                        <a:pt x="1253" y="57"/>
                      </a:lnTo>
                      <a:lnTo>
                        <a:pt x="1258" y="60"/>
                      </a:lnTo>
                      <a:lnTo>
                        <a:pt x="1281" y="57"/>
                      </a:lnTo>
                      <a:lnTo>
                        <a:pt x="1303" y="66"/>
                      </a:lnTo>
                      <a:lnTo>
                        <a:pt x="1309" y="69"/>
                      </a:lnTo>
                      <a:lnTo>
                        <a:pt x="1317" y="69"/>
                      </a:lnTo>
                      <a:lnTo>
                        <a:pt x="1325" y="69"/>
                      </a:lnTo>
                      <a:lnTo>
                        <a:pt x="1333" y="64"/>
                      </a:lnTo>
                      <a:lnTo>
                        <a:pt x="1350" y="60"/>
                      </a:lnTo>
                      <a:lnTo>
                        <a:pt x="1352" y="60"/>
                      </a:lnTo>
                      <a:lnTo>
                        <a:pt x="1366" y="60"/>
                      </a:lnTo>
                      <a:lnTo>
                        <a:pt x="1368" y="60"/>
                      </a:lnTo>
                      <a:lnTo>
                        <a:pt x="1383" y="64"/>
                      </a:lnTo>
                      <a:lnTo>
                        <a:pt x="1411" y="64"/>
                      </a:lnTo>
                      <a:lnTo>
                        <a:pt x="1416" y="64"/>
                      </a:lnTo>
                      <a:lnTo>
                        <a:pt x="1416" y="60"/>
                      </a:lnTo>
                      <a:lnTo>
                        <a:pt x="1424" y="57"/>
                      </a:lnTo>
                      <a:lnTo>
                        <a:pt x="1435" y="55"/>
                      </a:lnTo>
                      <a:lnTo>
                        <a:pt x="1444" y="55"/>
                      </a:lnTo>
                      <a:lnTo>
                        <a:pt x="1447" y="52"/>
                      </a:lnTo>
                      <a:lnTo>
                        <a:pt x="1457" y="55"/>
                      </a:lnTo>
                      <a:lnTo>
                        <a:pt x="1465" y="57"/>
                      </a:lnTo>
                      <a:lnTo>
                        <a:pt x="1471" y="69"/>
                      </a:lnTo>
                      <a:lnTo>
                        <a:pt x="1473" y="72"/>
                      </a:lnTo>
                      <a:lnTo>
                        <a:pt x="1485" y="83"/>
                      </a:lnTo>
                      <a:lnTo>
                        <a:pt x="1493" y="83"/>
                      </a:lnTo>
                      <a:lnTo>
                        <a:pt x="1526" y="85"/>
                      </a:lnTo>
                      <a:lnTo>
                        <a:pt x="1534" y="83"/>
                      </a:lnTo>
                      <a:lnTo>
                        <a:pt x="1543" y="77"/>
                      </a:lnTo>
                      <a:lnTo>
                        <a:pt x="1551" y="75"/>
                      </a:lnTo>
                      <a:lnTo>
                        <a:pt x="1565" y="77"/>
                      </a:lnTo>
                      <a:lnTo>
                        <a:pt x="1567" y="77"/>
                      </a:lnTo>
                      <a:lnTo>
                        <a:pt x="1570" y="80"/>
                      </a:lnTo>
                      <a:lnTo>
                        <a:pt x="1570" y="85"/>
                      </a:lnTo>
                      <a:lnTo>
                        <a:pt x="1570" y="91"/>
                      </a:lnTo>
                      <a:lnTo>
                        <a:pt x="1565" y="93"/>
                      </a:lnTo>
                      <a:lnTo>
                        <a:pt x="1557" y="93"/>
                      </a:lnTo>
                      <a:lnTo>
                        <a:pt x="1551" y="100"/>
                      </a:lnTo>
                      <a:lnTo>
                        <a:pt x="1546" y="121"/>
                      </a:lnTo>
                      <a:lnTo>
                        <a:pt x="1546" y="133"/>
                      </a:lnTo>
                      <a:lnTo>
                        <a:pt x="1546" y="135"/>
                      </a:lnTo>
                      <a:lnTo>
                        <a:pt x="1549" y="141"/>
                      </a:lnTo>
                      <a:lnTo>
                        <a:pt x="1549" y="162"/>
                      </a:lnTo>
                      <a:lnTo>
                        <a:pt x="1562" y="187"/>
                      </a:lnTo>
                      <a:lnTo>
                        <a:pt x="1565" y="196"/>
                      </a:lnTo>
                      <a:lnTo>
                        <a:pt x="1565" y="201"/>
                      </a:lnTo>
                      <a:lnTo>
                        <a:pt x="1575" y="218"/>
                      </a:lnTo>
                      <a:lnTo>
                        <a:pt x="1579" y="218"/>
                      </a:lnTo>
                      <a:lnTo>
                        <a:pt x="1593" y="221"/>
                      </a:lnTo>
                      <a:lnTo>
                        <a:pt x="1598" y="223"/>
                      </a:lnTo>
                      <a:lnTo>
                        <a:pt x="1601" y="223"/>
                      </a:lnTo>
                      <a:lnTo>
                        <a:pt x="1601" y="221"/>
                      </a:lnTo>
                      <a:lnTo>
                        <a:pt x="1618" y="210"/>
                      </a:lnTo>
                      <a:lnTo>
                        <a:pt x="1623" y="205"/>
                      </a:lnTo>
                      <a:lnTo>
                        <a:pt x="1634" y="179"/>
                      </a:lnTo>
                      <a:lnTo>
                        <a:pt x="1646" y="157"/>
                      </a:lnTo>
                      <a:lnTo>
                        <a:pt x="1648" y="154"/>
                      </a:lnTo>
                      <a:lnTo>
                        <a:pt x="1659" y="154"/>
                      </a:lnTo>
                      <a:lnTo>
                        <a:pt x="1664" y="157"/>
                      </a:lnTo>
                      <a:lnTo>
                        <a:pt x="1675" y="160"/>
                      </a:lnTo>
                      <a:lnTo>
                        <a:pt x="1678" y="165"/>
                      </a:lnTo>
                      <a:lnTo>
                        <a:pt x="1684" y="179"/>
                      </a:lnTo>
                      <a:lnTo>
                        <a:pt x="1687" y="201"/>
                      </a:lnTo>
                      <a:lnTo>
                        <a:pt x="1687" y="210"/>
                      </a:lnTo>
                      <a:lnTo>
                        <a:pt x="1684" y="256"/>
                      </a:lnTo>
                      <a:lnTo>
                        <a:pt x="1687" y="259"/>
                      </a:lnTo>
                      <a:lnTo>
                        <a:pt x="1711" y="276"/>
                      </a:lnTo>
                      <a:lnTo>
                        <a:pt x="1717" y="276"/>
                      </a:lnTo>
                      <a:lnTo>
                        <a:pt x="1720" y="274"/>
                      </a:lnTo>
                      <a:lnTo>
                        <a:pt x="1725" y="262"/>
                      </a:lnTo>
                      <a:lnTo>
                        <a:pt x="1725" y="259"/>
                      </a:lnTo>
                      <a:lnTo>
                        <a:pt x="1725" y="254"/>
                      </a:lnTo>
                      <a:lnTo>
                        <a:pt x="1725" y="251"/>
                      </a:lnTo>
                      <a:lnTo>
                        <a:pt x="1720" y="238"/>
                      </a:lnTo>
                      <a:lnTo>
                        <a:pt x="1723" y="223"/>
                      </a:lnTo>
                      <a:lnTo>
                        <a:pt x="1717" y="215"/>
                      </a:lnTo>
                      <a:lnTo>
                        <a:pt x="1717" y="213"/>
                      </a:lnTo>
                      <a:lnTo>
                        <a:pt x="1717" y="205"/>
                      </a:lnTo>
                      <a:lnTo>
                        <a:pt x="1723" y="193"/>
                      </a:lnTo>
                      <a:lnTo>
                        <a:pt x="1728" y="187"/>
                      </a:lnTo>
                      <a:lnTo>
                        <a:pt x="1731" y="185"/>
                      </a:lnTo>
                      <a:lnTo>
                        <a:pt x="1731" y="182"/>
                      </a:lnTo>
                      <a:lnTo>
                        <a:pt x="1728" y="177"/>
                      </a:lnTo>
                      <a:lnTo>
                        <a:pt x="1731" y="169"/>
                      </a:lnTo>
                      <a:lnTo>
                        <a:pt x="1733" y="165"/>
                      </a:lnTo>
                      <a:lnTo>
                        <a:pt x="1741" y="160"/>
                      </a:lnTo>
                      <a:lnTo>
                        <a:pt x="1744" y="160"/>
                      </a:lnTo>
                      <a:lnTo>
                        <a:pt x="1761" y="160"/>
                      </a:lnTo>
                      <a:lnTo>
                        <a:pt x="1772" y="157"/>
                      </a:lnTo>
                      <a:lnTo>
                        <a:pt x="1780" y="154"/>
                      </a:lnTo>
                      <a:lnTo>
                        <a:pt x="1782" y="154"/>
                      </a:lnTo>
                      <a:lnTo>
                        <a:pt x="1797" y="160"/>
                      </a:lnTo>
                      <a:lnTo>
                        <a:pt x="1805" y="160"/>
                      </a:lnTo>
                      <a:lnTo>
                        <a:pt x="1808" y="162"/>
                      </a:lnTo>
                      <a:lnTo>
                        <a:pt x="1816" y="162"/>
                      </a:lnTo>
                      <a:lnTo>
                        <a:pt x="1825" y="160"/>
                      </a:lnTo>
                      <a:lnTo>
                        <a:pt x="1835" y="149"/>
                      </a:lnTo>
                      <a:lnTo>
                        <a:pt x="1841" y="146"/>
                      </a:lnTo>
                      <a:lnTo>
                        <a:pt x="1851" y="146"/>
                      </a:lnTo>
                      <a:lnTo>
                        <a:pt x="1861" y="149"/>
                      </a:lnTo>
                      <a:lnTo>
                        <a:pt x="1869" y="149"/>
                      </a:lnTo>
                      <a:lnTo>
                        <a:pt x="1879" y="149"/>
                      </a:lnTo>
                      <a:lnTo>
                        <a:pt x="1894" y="144"/>
                      </a:lnTo>
                      <a:lnTo>
                        <a:pt x="1899" y="144"/>
                      </a:lnTo>
                      <a:lnTo>
                        <a:pt x="1912" y="141"/>
                      </a:lnTo>
                      <a:lnTo>
                        <a:pt x="1924" y="144"/>
                      </a:lnTo>
                      <a:lnTo>
                        <a:pt x="1927" y="144"/>
                      </a:lnTo>
                      <a:lnTo>
                        <a:pt x="1932" y="144"/>
                      </a:lnTo>
                      <a:lnTo>
                        <a:pt x="1935" y="144"/>
                      </a:lnTo>
                      <a:lnTo>
                        <a:pt x="1940" y="141"/>
                      </a:lnTo>
                      <a:lnTo>
                        <a:pt x="1948" y="141"/>
                      </a:lnTo>
                      <a:lnTo>
                        <a:pt x="1957" y="144"/>
                      </a:lnTo>
                      <a:lnTo>
                        <a:pt x="1963" y="149"/>
                      </a:lnTo>
                      <a:lnTo>
                        <a:pt x="1965" y="152"/>
                      </a:lnTo>
                      <a:lnTo>
                        <a:pt x="1968" y="152"/>
                      </a:lnTo>
                      <a:lnTo>
                        <a:pt x="1971" y="152"/>
                      </a:lnTo>
                      <a:lnTo>
                        <a:pt x="1979" y="152"/>
                      </a:lnTo>
                      <a:lnTo>
                        <a:pt x="1984" y="149"/>
                      </a:lnTo>
                      <a:lnTo>
                        <a:pt x="1987" y="149"/>
                      </a:lnTo>
                      <a:lnTo>
                        <a:pt x="1990" y="144"/>
                      </a:lnTo>
                      <a:lnTo>
                        <a:pt x="1990" y="141"/>
                      </a:lnTo>
                      <a:lnTo>
                        <a:pt x="1976" y="126"/>
                      </a:lnTo>
                      <a:lnTo>
                        <a:pt x="1976" y="124"/>
                      </a:lnTo>
                      <a:lnTo>
                        <a:pt x="1979" y="110"/>
                      </a:lnTo>
                      <a:lnTo>
                        <a:pt x="1976" y="108"/>
                      </a:lnTo>
                      <a:lnTo>
                        <a:pt x="1979" y="105"/>
                      </a:lnTo>
                      <a:lnTo>
                        <a:pt x="1987" y="105"/>
                      </a:lnTo>
                      <a:lnTo>
                        <a:pt x="1990" y="108"/>
                      </a:lnTo>
                      <a:lnTo>
                        <a:pt x="1996" y="110"/>
                      </a:lnTo>
                      <a:lnTo>
                        <a:pt x="2004" y="124"/>
                      </a:lnTo>
                      <a:lnTo>
                        <a:pt x="2007" y="133"/>
                      </a:lnTo>
                      <a:lnTo>
                        <a:pt x="2009" y="135"/>
                      </a:lnTo>
                      <a:lnTo>
                        <a:pt x="2012" y="135"/>
                      </a:lnTo>
                      <a:lnTo>
                        <a:pt x="2015" y="135"/>
                      </a:lnTo>
                      <a:lnTo>
                        <a:pt x="2017" y="144"/>
                      </a:lnTo>
                      <a:lnTo>
                        <a:pt x="2026" y="146"/>
                      </a:lnTo>
                      <a:lnTo>
                        <a:pt x="2032" y="152"/>
                      </a:lnTo>
                      <a:lnTo>
                        <a:pt x="2040" y="154"/>
                      </a:lnTo>
                      <a:lnTo>
                        <a:pt x="2048" y="154"/>
                      </a:lnTo>
                      <a:lnTo>
                        <a:pt x="2060" y="149"/>
                      </a:lnTo>
                      <a:lnTo>
                        <a:pt x="2062" y="141"/>
                      </a:lnTo>
                      <a:lnTo>
                        <a:pt x="2070" y="144"/>
                      </a:lnTo>
                      <a:lnTo>
                        <a:pt x="2076" y="135"/>
                      </a:lnTo>
                      <a:lnTo>
                        <a:pt x="2078" y="129"/>
                      </a:lnTo>
                      <a:lnTo>
                        <a:pt x="2081" y="124"/>
                      </a:lnTo>
                      <a:lnTo>
                        <a:pt x="2081" y="110"/>
                      </a:lnTo>
                      <a:lnTo>
                        <a:pt x="2084" y="108"/>
                      </a:lnTo>
                      <a:lnTo>
                        <a:pt x="2086" y="108"/>
                      </a:lnTo>
                      <a:lnTo>
                        <a:pt x="2098" y="116"/>
                      </a:lnTo>
                      <a:lnTo>
                        <a:pt x="2101" y="129"/>
                      </a:lnTo>
                      <a:lnTo>
                        <a:pt x="2106" y="138"/>
                      </a:lnTo>
                      <a:lnTo>
                        <a:pt x="2117" y="144"/>
                      </a:lnTo>
                      <a:lnTo>
                        <a:pt x="2119" y="144"/>
                      </a:lnTo>
                      <a:lnTo>
                        <a:pt x="2129" y="135"/>
                      </a:lnTo>
                      <a:lnTo>
                        <a:pt x="2131" y="129"/>
                      </a:lnTo>
                      <a:lnTo>
                        <a:pt x="2131" y="124"/>
                      </a:lnTo>
                      <a:lnTo>
                        <a:pt x="2131" y="118"/>
                      </a:lnTo>
                      <a:lnTo>
                        <a:pt x="2134" y="113"/>
                      </a:lnTo>
                      <a:lnTo>
                        <a:pt x="2134" y="110"/>
                      </a:lnTo>
                      <a:lnTo>
                        <a:pt x="2131" y="108"/>
                      </a:lnTo>
                      <a:lnTo>
                        <a:pt x="2129" y="108"/>
                      </a:lnTo>
                      <a:lnTo>
                        <a:pt x="2129" y="105"/>
                      </a:lnTo>
                      <a:lnTo>
                        <a:pt x="2129" y="102"/>
                      </a:lnTo>
                      <a:lnTo>
                        <a:pt x="2129" y="100"/>
                      </a:lnTo>
                      <a:lnTo>
                        <a:pt x="2131" y="96"/>
                      </a:lnTo>
                      <a:lnTo>
                        <a:pt x="2137" y="88"/>
                      </a:lnTo>
                      <a:lnTo>
                        <a:pt x="2139" y="88"/>
                      </a:lnTo>
                      <a:lnTo>
                        <a:pt x="2145" y="91"/>
                      </a:lnTo>
                      <a:lnTo>
                        <a:pt x="2158" y="85"/>
                      </a:lnTo>
                      <a:lnTo>
                        <a:pt x="2172" y="85"/>
                      </a:lnTo>
                      <a:lnTo>
                        <a:pt x="2180" y="88"/>
                      </a:lnTo>
                      <a:lnTo>
                        <a:pt x="2186" y="85"/>
                      </a:lnTo>
                      <a:lnTo>
                        <a:pt x="2194" y="83"/>
                      </a:lnTo>
                      <a:lnTo>
                        <a:pt x="2197" y="83"/>
                      </a:lnTo>
                      <a:lnTo>
                        <a:pt x="2211" y="93"/>
                      </a:lnTo>
                      <a:lnTo>
                        <a:pt x="2211" y="96"/>
                      </a:lnTo>
                      <a:lnTo>
                        <a:pt x="2211" y="100"/>
                      </a:lnTo>
                      <a:lnTo>
                        <a:pt x="2216" y="105"/>
                      </a:lnTo>
                      <a:lnTo>
                        <a:pt x="2219" y="108"/>
                      </a:lnTo>
                      <a:lnTo>
                        <a:pt x="2224" y="113"/>
                      </a:lnTo>
                      <a:lnTo>
                        <a:pt x="2231" y="110"/>
                      </a:lnTo>
                      <a:lnTo>
                        <a:pt x="2236" y="110"/>
                      </a:lnTo>
                      <a:lnTo>
                        <a:pt x="2244" y="102"/>
                      </a:lnTo>
                      <a:lnTo>
                        <a:pt x="2244" y="93"/>
                      </a:lnTo>
                      <a:lnTo>
                        <a:pt x="2249" y="91"/>
                      </a:lnTo>
                      <a:lnTo>
                        <a:pt x="2260" y="91"/>
                      </a:lnTo>
                      <a:lnTo>
                        <a:pt x="2260" y="88"/>
                      </a:lnTo>
                      <a:lnTo>
                        <a:pt x="2266" y="85"/>
                      </a:lnTo>
                      <a:lnTo>
                        <a:pt x="2277" y="85"/>
                      </a:lnTo>
                      <a:lnTo>
                        <a:pt x="2283" y="80"/>
                      </a:lnTo>
                      <a:lnTo>
                        <a:pt x="2288" y="80"/>
                      </a:lnTo>
                      <a:lnTo>
                        <a:pt x="2291" y="77"/>
                      </a:lnTo>
                      <a:lnTo>
                        <a:pt x="2293" y="75"/>
                      </a:lnTo>
                      <a:lnTo>
                        <a:pt x="2293" y="77"/>
                      </a:lnTo>
                      <a:lnTo>
                        <a:pt x="2302" y="85"/>
                      </a:lnTo>
                      <a:lnTo>
                        <a:pt x="2308" y="91"/>
                      </a:lnTo>
                      <a:lnTo>
                        <a:pt x="2310" y="96"/>
                      </a:lnTo>
                      <a:lnTo>
                        <a:pt x="2310" y="100"/>
                      </a:lnTo>
                      <a:lnTo>
                        <a:pt x="2310" y="102"/>
                      </a:lnTo>
                      <a:lnTo>
                        <a:pt x="2305" y="105"/>
                      </a:lnTo>
                      <a:lnTo>
                        <a:pt x="2305" y="108"/>
                      </a:lnTo>
                      <a:lnTo>
                        <a:pt x="2305" y="113"/>
                      </a:lnTo>
                      <a:lnTo>
                        <a:pt x="2316" y="118"/>
                      </a:lnTo>
                      <a:lnTo>
                        <a:pt x="2318" y="126"/>
                      </a:lnTo>
                      <a:lnTo>
                        <a:pt x="2321" y="126"/>
                      </a:lnTo>
                      <a:lnTo>
                        <a:pt x="2332" y="126"/>
                      </a:lnTo>
                      <a:lnTo>
                        <a:pt x="2338" y="135"/>
                      </a:lnTo>
                      <a:lnTo>
                        <a:pt x="2344" y="135"/>
                      </a:lnTo>
                      <a:lnTo>
                        <a:pt x="2349" y="141"/>
                      </a:lnTo>
                      <a:lnTo>
                        <a:pt x="2360" y="144"/>
                      </a:lnTo>
                      <a:lnTo>
                        <a:pt x="2365" y="154"/>
                      </a:lnTo>
                      <a:lnTo>
                        <a:pt x="2374" y="157"/>
                      </a:lnTo>
                      <a:lnTo>
                        <a:pt x="2377" y="157"/>
                      </a:lnTo>
                      <a:lnTo>
                        <a:pt x="2379" y="162"/>
                      </a:lnTo>
                      <a:lnTo>
                        <a:pt x="2379" y="171"/>
                      </a:lnTo>
                      <a:lnTo>
                        <a:pt x="2382" y="171"/>
                      </a:lnTo>
                      <a:lnTo>
                        <a:pt x="2385" y="177"/>
                      </a:lnTo>
                      <a:lnTo>
                        <a:pt x="2390" y="185"/>
                      </a:lnTo>
                      <a:lnTo>
                        <a:pt x="2390" y="187"/>
                      </a:lnTo>
                      <a:lnTo>
                        <a:pt x="2385" y="201"/>
                      </a:lnTo>
                      <a:lnTo>
                        <a:pt x="2382" y="201"/>
                      </a:lnTo>
                      <a:lnTo>
                        <a:pt x="2377" y="210"/>
                      </a:lnTo>
                      <a:lnTo>
                        <a:pt x="2374" y="210"/>
                      </a:lnTo>
                      <a:lnTo>
                        <a:pt x="2371" y="215"/>
                      </a:lnTo>
                      <a:lnTo>
                        <a:pt x="2371" y="223"/>
                      </a:lnTo>
                      <a:lnTo>
                        <a:pt x="2369" y="223"/>
                      </a:lnTo>
                      <a:lnTo>
                        <a:pt x="2369" y="229"/>
                      </a:lnTo>
                      <a:lnTo>
                        <a:pt x="2369" y="231"/>
                      </a:lnTo>
                      <a:lnTo>
                        <a:pt x="2365" y="231"/>
                      </a:lnTo>
                      <a:lnTo>
                        <a:pt x="2369" y="234"/>
                      </a:lnTo>
                      <a:lnTo>
                        <a:pt x="2362" y="238"/>
                      </a:lnTo>
                      <a:lnTo>
                        <a:pt x="2365" y="246"/>
                      </a:lnTo>
                      <a:lnTo>
                        <a:pt x="2365" y="248"/>
                      </a:lnTo>
                      <a:lnTo>
                        <a:pt x="2365" y="251"/>
                      </a:lnTo>
                      <a:lnTo>
                        <a:pt x="2365" y="254"/>
                      </a:lnTo>
                      <a:lnTo>
                        <a:pt x="2369" y="254"/>
                      </a:lnTo>
                      <a:lnTo>
                        <a:pt x="2365" y="259"/>
                      </a:lnTo>
                      <a:lnTo>
                        <a:pt x="2369" y="262"/>
                      </a:lnTo>
                      <a:lnTo>
                        <a:pt x="2365" y="264"/>
                      </a:lnTo>
                      <a:lnTo>
                        <a:pt x="2369" y="264"/>
                      </a:lnTo>
                      <a:lnTo>
                        <a:pt x="2365" y="267"/>
                      </a:lnTo>
                      <a:lnTo>
                        <a:pt x="2369" y="267"/>
                      </a:lnTo>
                      <a:lnTo>
                        <a:pt x="2365" y="270"/>
                      </a:lnTo>
                      <a:lnTo>
                        <a:pt x="2365" y="274"/>
                      </a:lnTo>
                      <a:lnTo>
                        <a:pt x="2369" y="274"/>
                      </a:lnTo>
                      <a:lnTo>
                        <a:pt x="2369" y="276"/>
                      </a:lnTo>
                      <a:lnTo>
                        <a:pt x="2365" y="279"/>
                      </a:lnTo>
                      <a:lnTo>
                        <a:pt x="2365" y="282"/>
                      </a:lnTo>
                      <a:lnTo>
                        <a:pt x="2374" y="287"/>
                      </a:lnTo>
                      <a:lnTo>
                        <a:pt x="2379" y="287"/>
                      </a:lnTo>
                      <a:lnTo>
                        <a:pt x="2382" y="292"/>
                      </a:lnTo>
                      <a:lnTo>
                        <a:pt x="2390" y="295"/>
                      </a:lnTo>
                      <a:lnTo>
                        <a:pt x="2398" y="303"/>
                      </a:lnTo>
                      <a:lnTo>
                        <a:pt x="2404" y="303"/>
                      </a:lnTo>
                      <a:lnTo>
                        <a:pt x="2410" y="306"/>
                      </a:lnTo>
                      <a:lnTo>
                        <a:pt x="2421" y="309"/>
                      </a:lnTo>
                      <a:lnTo>
                        <a:pt x="2423" y="315"/>
                      </a:lnTo>
                      <a:lnTo>
                        <a:pt x="2426" y="315"/>
                      </a:lnTo>
                      <a:lnTo>
                        <a:pt x="2426" y="320"/>
                      </a:lnTo>
                      <a:lnTo>
                        <a:pt x="2429" y="325"/>
                      </a:lnTo>
                      <a:lnTo>
                        <a:pt x="2426" y="328"/>
                      </a:lnTo>
                      <a:lnTo>
                        <a:pt x="2431" y="339"/>
                      </a:lnTo>
                      <a:lnTo>
                        <a:pt x="2434" y="339"/>
                      </a:lnTo>
                      <a:lnTo>
                        <a:pt x="2434" y="343"/>
                      </a:lnTo>
                      <a:lnTo>
                        <a:pt x="2434" y="345"/>
                      </a:lnTo>
                      <a:lnTo>
                        <a:pt x="2434" y="348"/>
                      </a:lnTo>
                      <a:lnTo>
                        <a:pt x="2440" y="351"/>
                      </a:lnTo>
                      <a:lnTo>
                        <a:pt x="2440" y="353"/>
                      </a:lnTo>
                      <a:lnTo>
                        <a:pt x="2440" y="359"/>
                      </a:lnTo>
                      <a:lnTo>
                        <a:pt x="2446" y="361"/>
                      </a:lnTo>
                      <a:lnTo>
                        <a:pt x="2446" y="364"/>
                      </a:lnTo>
                      <a:lnTo>
                        <a:pt x="2446" y="367"/>
                      </a:lnTo>
                      <a:lnTo>
                        <a:pt x="2443" y="372"/>
                      </a:lnTo>
                      <a:lnTo>
                        <a:pt x="2443" y="378"/>
                      </a:lnTo>
                      <a:lnTo>
                        <a:pt x="2440" y="384"/>
                      </a:lnTo>
                      <a:lnTo>
                        <a:pt x="2438" y="386"/>
                      </a:lnTo>
                      <a:lnTo>
                        <a:pt x="2438" y="389"/>
                      </a:lnTo>
                      <a:lnTo>
                        <a:pt x="2423" y="389"/>
                      </a:lnTo>
                      <a:lnTo>
                        <a:pt x="2418" y="386"/>
                      </a:lnTo>
                      <a:lnTo>
                        <a:pt x="2415" y="389"/>
                      </a:lnTo>
                      <a:lnTo>
                        <a:pt x="2415" y="392"/>
                      </a:lnTo>
                      <a:lnTo>
                        <a:pt x="2410" y="397"/>
                      </a:lnTo>
                      <a:lnTo>
                        <a:pt x="2412" y="402"/>
                      </a:lnTo>
                      <a:lnTo>
                        <a:pt x="2410" y="402"/>
                      </a:lnTo>
                      <a:lnTo>
                        <a:pt x="2407" y="414"/>
                      </a:lnTo>
                      <a:lnTo>
                        <a:pt x="2404" y="417"/>
                      </a:lnTo>
                      <a:lnTo>
                        <a:pt x="2402" y="417"/>
                      </a:lnTo>
                      <a:lnTo>
                        <a:pt x="2398" y="425"/>
                      </a:lnTo>
                      <a:lnTo>
                        <a:pt x="2393" y="428"/>
                      </a:lnTo>
                      <a:lnTo>
                        <a:pt x="2398" y="438"/>
                      </a:lnTo>
                      <a:lnTo>
                        <a:pt x="2393" y="450"/>
                      </a:lnTo>
                      <a:lnTo>
                        <a:pt x="2387" y="463"/>
                      </a:lnTo>
                      <a:lnTo>
                        <a:pt x="2393" y="474"/>
                      </a:lnTo>
                      <a:lnTo>
                        <a:pt x="2398" y="479"/>
                      </a:lnTo>
                      <a:lnTo>
                        <a:pt x="2407" y="479"/>
                      </a:lnTo>
                      <a:lnTo>
                        <a:pt x="2407" y="486"/>
                      </a:lnTo>
                      <a:lnTo>
                        <a:pt x="2410" y="491"/>
                      </a:lnTo>
                      <a:lnTo>
                        <a:pt x="2415" y="491"/>
                      </a:lnTo>
                      <a:lnTo>
                        <a:pt x="2418" y="497"/>
                      </a:lnTo>
                      <a:lnTo>
                        <a:pt x="2423" y="499"/>
                      </a:lnTo>
                      <a:lnTo>
                        <a:pt x="2426" y="502"/>
                      </a:lnTo>
                      <a:lnTo>
                        <a:pt x="2423" y="510"/>
                      </a:lnTo>
                      <a:lnTo>
                        <a:pt x="2423" y="515"/>
                      </a:lnTo>
                      <a:lnTo>
                        <a:pt x="2421" y="519"/>
                      </a:lnTo>
                      <a:lnTo>
                        <a:pt x="2423" y="527"/>
                      </a:lnTo>
                      <a:lnTo>
                        <a:pt x="2426" y="535"/>
                      </a:lnTo>
                      <a:lnTo>
                        <a:pt x="2429" y="540"/>
                      </a:lnTo>
                      <a:lnTo>
                        <a:pt x="2426" y="548"/>
                      </a:lnTo>
                      <a:lnTo>
                        <a:pt x="2429" y="548"/>
                      </a:lnTo>
                      <a:lnTo>
                        <a:pt x="2431" y="552"/>
                      </a:lnTo>
                      <a:lnTo>
                        <a:pt x="2440" y="555"/>
                      </a:lnTo>
                      <a:lnTo>
                        <a:pt x="2440" y="558"/>
                      </a:lnTo>
                      <a:lnTo>
                        <a:pt x="2434" y="558"/>
                      </a:lnTo>
                      <a:lnTo>
                        <a:pt x="2434" y="560"/>
                      </a:lnTo>
                      <a:lnTo>
                        <a:pt x="2434" y="563"/>
                      </a:lnTo>
                      <a:lnTo>
                        <a:pt x="2429" y="566"/>
                      </a:lnTo>
                      <a:lnTo>
                        <a:pt x="2438" y="574"/>
                      </a:lnTo>
                      <a:lnTo>
                        <a:pt x="2434" y="582"/>
                      </a:lnTo>
                      <a:lnTo>
                        <a:pt x="2438" y="584"/>
                      </a:lnTo>
                      <a:lnTo>
                        <a:pt x="2438" y="588"/>
                      </a:lnTo>
                      <a:lnTo>
                        <a:pt x="2443" y="596"/>
                      </a:lnTo>
                      <a:lnTo>
                        <a:pt x="2446" y="601"/>
                      </a:lnTo>
                      <a:lnTo>
                        <a:pt x="2446" y="599"/>
                      </a:lnTo>
                      <a:lnTo>
                        <a:pt x="2448" y="599"/>
                      </a:lnTo>
                      <a:lnTo>
                        <a:pt x="2456" y="599"/>
                      </a:lnTo>
                      <a:lnTo>
                        <a:pt x="2459" y="599"/>
                      </a:lnTo>
                      <a:lnTo>
                        <a:pt x="2456" y="601"/>
                      </a:lnTo>
                      <a:lnTo>
                        <a:pt x="2456" y="604"/>
                      </a:lnTo>
                      <a:lnTo>
                        <a:pt x="2454" y="607"/>
                      </a:lnTo>
                      <a:lnTo>
                        <a:pt x="2454" y="612"/>
                      </a:lnTo>
                      <a:lnTo>
                        <a:pt x="2459" y="609"/>
                      </a:lnTo>
                      <a:lnTo>
                        <a:pt x="2462" y="615"/>
                      </a:lnTo>
                      <a:lnTo>
                        <a:pt x="2464" y="615"/>
                      </a:lnTo>
                      <a:lnTo>
                        <a:pt x="2464" y="618"/>
                      </a:lnTo>
                      <a:lnTo>
                        <a:pt x="2467" y="624"/>
                      </a:lnTo>
                      <a:lnTo>
                        <a:pt x="2467" y="629"/>
                      </a:lnTo>
                      <a:lnTo>
                        <a:pt x="2467" y="632"/>
                      </a:lnTo>
                      <a:lnTo>
                        <a:pt x="2473" y="637"/>
                      </a:lnTo>
                      <a:lnTo>
                        <a:pt x="2471" y="640"/>
                      </a:lnTo>
                      <a:lnTo>
                        <a:pt x="2473" y="640"/>
                      </a:lnTo>
                      <a:lnTo>
                        <a:pt x="2476" y="645"/>
                      </a:lnTo>
                      <a:lnTo>
                        <a:pt x="2476" y="648"/>
                      </a:lnTo>
                      <a:lnTo>
                        <a:pt x="2479" y="653"/>
                      </a:lnTo>
                      <a:lnTo>
                        <a:pt x="2484" y="657"/>
                      </a:lnTo>
                      <a:lnTo>
                        <a:pt x="2487" y="660"/>
                      </a:lnTo>
                      <a:lnTo>
                        <a:pt x="2484" y="662"/>
                      </a:lnTo>
                      <a:lnTo>
                        <a:pt x="2481" y="665"/>
                      </a:lnTo>
                      <a:lnTo>
                        <a:pt x="2484" y="670"/>
                      </a:lnTo>
                      <a:lnTo>
                        <a:pt x="2481" y="676"/>
                      </a:lnTo>
                      <a:lnTo>
                        <a:pt x="2479" y="676"/>
                      </a:lnTo>
                      <a:lnTo>
                        <a:pt x="2481" y="681"/>
                      </a:lnTo>
                      <a:lnTo>
                        <a:pt x="2481" y="684"/>
                      </a:lnTo>
                      <a:lnTo>
                        <a:pt x="2479" y="684"/>
                      </a:lnTo>
                      <a:lnTo>
                        <a:pt x="2481" y="687"/>
                      </a:lnTo>
                      <a:lnTo>
                        <a:pt x="2484" y="687"/>
                      </a:lnTo>
                      <a:lnTo>
                        <a:pt x="2487" y="689"/>
                      </a:lnTo>
                      <a:lnTo>
                        <a:pt x="2490" y="687"/>
                      </a:lnTo>
                      <a:lnTo>
                        <a:pt x="2490" y="689"/>
                      </a:lnTo>
                      <a:lnTo>
                        <a:pt x="2495" y="687"/>
                      </a:lnTo>
                      <a:lnTo>
                        <a:pt x="2498" y="687"/>
                      </a:lnTo>
                      <a:lnTo>
                        <a:pt x="2500" y="687"/>
                      </a:lnTo>
                      <a:lnTo>
                        <a:pt x="2503" y="689"/>
                      </a:lnTo>
                      <a:lnTo>
                        <a:pt x="2507" y="687"/>
                      </a:lnTo>
                      <a:lnTo>
                        <a:pt x="2512" y="689"/>
                      </a:lnTo>
                      <a:lnTo>
                        <a:pt x="2515" y="687"/>
                      </a:lnTo>
                      <a:lnTo>
                        <a:pt x="2517" y="689"/>
                      </a:lnTo>
                      <a:lnTo>
                        <a:pt x="2517" y="687"/>
                      </a:lnTo>
                      <a:lnTo>
                        <a:pt x="2523" y="687"/>
                      </a:lnTo>
                      <a:lnTo>
                        <a:pt x="2525" y="684"/>
                      </a:lnTo>
                      <a:lnTo>
                        <a:pt x="2528" y="684"/>
                      </a:lnTo>
                      <a:lnTo>
                        <a:pt x="2531" y="681"/>
                      </a:lnTo>
                      <a:lnTo>
                        <a:pt x="2540" y="678"/>
                      </a:lnTo>
                      <a:lnTo>
                        <a:pt x="2540" y="676"/>
                      </a:lnTo>
                      <a:lnTo>
                        <a:pt x="2542" y="676"/>
                      </a:lnTo>
                      <a:lnTo>
                        <a:pt x="2542" y="673"/>
                      </a:lnTo>
                      <a:lnTo>
                        <a:pt x="2548" y="673"/>
                      </a:lnTo>
                      <a:lnTo>
                        <a:pt x="2550" y="670"/>
                      </a:lnTo>
                      <a:lnTo>
                        <a:pt x="2550" y="668"/>
                      </a:lnTo>
                      <a:lnTo>
                        <a:pt x="2553" y="665"/>
                      </a:lnTo>
                      <a:lnTo>
                        <a:pt x="2559" y="665"/>
                      </a:lnTo>
                      <a:lnTo>
                        <a:pt x="2569" y="668"/>
                      </a:lnTo>
                      <a:lnTo>
                        <a:pt x="2572" y="665"/>
                      </a:lnTo>
                      <a:lnTo>
                        <a:pt x="2576" y="662"/>
                      </a:lnTo>
                      <a:lnTo>
                        <a:pt x="2581" y="662"/>
                      </a:lnTo>
                      <a:lnTo>
                        <a:pt x="2584" y="662"/>
                      </a:lnTo>
                      <a:lnTo>
                        <a:pt x="2581" y="668"/>
                      </a:lnTo>
                      <a:lnTo>
                        <a:pt x="2584" y="670"/>
                      </a:lnTo>
                      <a:lnTo>
                        <a:pt x="2592" y="676"/>
                      </a:lnTo>
                      <a:lnTo>
                        <a:pt x="2597" y="676"/>
                      </a:lnTo>
                      <a:lnTo>
                        <a:pt x="2597" y="673"/>
                      </a:lnTo>
                      <a:lnTo>
                        <a:pt x="2600" y="676"/>
                      </a:lnTo>
                      <a:lnTo>
                        <a:pt x="2602" y="681"/>
                      </a:lnTo>
                      <a:lnTo>
                        <a:pt x="2609" y="673"/>
                      </a:lnTo>
                      <a:lnTo>
                        <a:pt x="2611" y="670"/>
                      </a:lnTo>
                      <a:lnTo>
                        <a:pt x="2614" y="668"/>
                      </a:lnTo>
                      <a:lnTo>
                        <a:pt x="2617" y="668"/>
                      </a:lnTo>
                      <a:lnTo>
                        <a:pt x="2620" y="662"/>
                      </a:lnTo>
                      <a:lnTo>
                        <a:pt x="2622" y="662"/>
                      </a:lnTo>
                      <a:lnTo>
                        <a:pt x="2628" y="662"/>
                      </a:lnTo>
                      <a:lnTo>
                        <a:pt x="2628" y="668"/>
                      </a:lnTo>
                      <a:lnTo>
                        <a:pt x="2628" y="670"/>
                      </a:lnTo>
                      <a:lnTo>
                        <a:pt x="2628" y="673"/>
                      </a:lnTo>
                      <a:lnTo>
                        <a:pt x="2628" y="676"/>
                      </a:lnTo>
                      <a:lnTo>
                        <a:pt x="2630" y="678"/>
                      </a:lnTo>
                      <a:lnTo>
                        <a:pt x="2633" y="684"/>
                      </a:lnTo>
                      <a:lnTo>
                        <a:pt x="2636" y="684"/>
                      </a:lnTo>
                      <a:lnTo>
                        <a:pt x="2638" y="687"/>
                      </a:lnTo>
                      <a:lnTo>
                        <a:pt x="2638" y="689"/>
                      </a:lnTo>
                      <a:lnTo>
                        <a:pt x="2641" y="689"/>
                      </a:lnTo>
                      <a:lnTo>
                        <a:pt x="2638" y="693"/>
                      </a:lnTo>
                      <a:lnTo>
                        <a:pt x="2641" y="696"/>
                      </a:lnTo>
                      <a:lnTo>
                        <a:pt x="2647" y="698"/>
                      </a:lnTo>
                      <a:lnTo>
                        <a:pt x="2647" y="696"/>
                      </a:lnTo>
                      <a:lnTo>
                        <a:pt x="2658" y="689"/>
                      </a:lnTo>
                      <a:lnTo>
                        <a:pt x="2658" y="693"/>
                      </a:lnTo>
                      <a:lnTo>
                        <a:pt x="2663" y="696"/>
                      </a:lnTo>
                      <a:lnTo>
                        <a:pt x="2669" y="696"/>
                      </a:lnTo>
                      <a:lnTo>
                        <a:pt x="2674" y="698"/>
                      </a:lnTo>
                      <a:lnTo>
                        <a:pt x="2678" y="698"/>
                      </a:lnTo>
                      <a:lnTo>
                        <a:pt x="2680" y="698"/>
                      </a:lnTo>
                      <a:lnTo>
                        <a:pt x="2680" y="701"/>
                      </a:lnTo>
                      <a:lnTo>
                        <a:pt x="2680" y="704"/>
                      </a:lnTo>
                      <a:lnTo>
                        <a:pt x="2683" y="706"/>
                      </a:lnTo>
                      <a:lnTo>
                        <a:pt x="2683" y="712"/>
                      </a:lnTo>
                      <a:lnTo>
                        <a:pt x="2686" y="714"/>
                      </a:lnTo>
                      <a:lnTo>
                        <a:pt x="2680" y="720"/>
                      </a:lnTo>
                      <a:lnTo>
                        <a:pt x="2680" y="726"/>
                      </a:lnTo>
                      <a:lnTo>
                        <a:pt x="2678" y="729"/>
                      </a:lnTo>
                      <a:lnTo>
                        <a:pt x="2680" y="734"/>
                      </a:lnTo>
                      <a:lnTo>
                        <a:pt x="2683" y="737"/>
                      </a:lnTo>
                      <a:lnTo>
                        <a:pt x="2689" y="742"/>
                      </a:lnTo>
                      <a:lnTo>
                        <a:pt x="2689" y="745"/>
                      </a:lnTo>
                      <a:lnTo>
                        <a:pt x="2686" y="745"/>
                      </a:lnTo>
                      <a:lnTo>
                        <a:pt x="2683" y="747"/>
                      </a:lnTo>
                      <a:lnTo>
                        <a:pt x="2683" y="750"/>
                      </a:lnTo>
                      <a:lnTo>
                        <a:pt x="2680" y="756"/>
                      </a:lnTo>
                      <a:lnTo>
                        <a:pt x="2680" y="758"/>
                      </a:lnTo>
                      <a:lnTo>
                        <a:pt x="2678" y="762"/>
                      </a:lnTo>
                      <a:lnTo>
                        <a:pt x="2680" y="765"/>
                      </a:lnTo>
                      <a:lnTo>
                        <a:pt x="2680" y="767"/>
                      </a:lnTo>
                      <a:lnTo>
                        <a:pt x="2674" y="770"/>
                      </a:lnTo>
                      <a:lnTo>
                        <a:pt x="2674" y="775"/>
                      </a:lnTo>
                      <a:lnTo>
                        <a:pt x="2669" y="775"/>
                      </a:lnTo>
                      <a:lnTo>
                        <a:pt x="2666" y="778"/>
                      </a:lnTo>
                      <a:lnTo>
                        <a:pt x="2669" y="783"/>
                      </a:lnTo>
                      <a:lnTo>
                        <a:pt x="2666" y="783"/>
                      </a:lnTo>
                      <a:lnTo>
                        <a:pt x="2661" y="786"/>
                      </a:lnTo>
                      <a:lnTo>
                        <a:pt x="2661" y="794"/>
                      </a:lnTo>
                      <a:lnTo>
                        <a:pt x="2655" y="798"/>
                      </a:lnTo>
                      <a:lnTo>
                        <a:pt x="2638" y="794"/>
                      </a:lnTo>
                      <a:lnTo>
                        <a:pt x="2638" y="800"/>
                      </a:lnTo>
                      <a:lnTo>
                        <a:pt x="2636" y="803"/>
                      </a:lnTo>
                      <a:lnTo>
                        <a:pt x="2636" y="806"/>
                      </a:lnTo>
                      <a:lnTo>
                        <a:pt x="2638" y="811"/>
                      </a:lnTo>
                      <a:lnTo>
                        <a:pt x="2636" y="816"/>
                      </a:lnTo>
                      <a:lnTo>
                        <a:pt x="2636" y="819"/>
                      </a:lnTo>
                      <a:lnTo>
                        <a:pt x="2636" y="822"/>
                      </a:lnTo>
                      <a:lnTo>
                        <a:pt x="2636" y="831"/>
                      </a:lnTo>
                      <a:lnTo>
                        <a:pt x="2636" y="834"/>
                      </a:lnTo>
                      <a:lnTo>
                        <a:pt x="2630" y="834"/>
                      </a:lnTo>
                      <a:lnTo>
                        <a:pt x="2628" y="836"/>
                      </a:lnTo>
                      <a:lnTo>
                        <a:pt x="2625" y="836"/>
                      </a:lnTo>
                      <a:lnTo>
                        <a:pt x="2628" y="842"/>
                      </a:lnTo>
                      <a:lnTo>
                        <a:pt x="2620" y="850"/>
                      </a:lnTo>
                      <a:lnTo>
                        <a:pt x="2620" y="852"/>
                      </a:lnTo>
                      <a:lnTo>
                        <a:pt x="2614" y="855"/>
                      </a:lnTo>
                      <a:lnTo>
                        <a:pt x="2611" y="860"/>
                      </a:lnTo>
                      <a:lnTo>
                        <a:pt x="2614" y="867"/>
                      </a:lnTo>
                      <a:lnTo>
                        <a:pt x="2617" y="867"/>
                      </a:lnTo>
                      <a:lnTo>
                        <a:pt x="2620" y="867"/>
                      </a:lnTo>
                      <a:lnTo>
                        <a:pt x="2625" y="875"/>
                      </a:lnTo>
                      <a:lnTo>
                        <a:pt x="2625" y="877"/>
                      </a:lnTo>
                      <a:lnTo>
                        <a:pt x="2628" y="880"/>
                      </a:lnTo>
                      <a:lnTo>
                        <a:pt x="2625" y="885"/>
                      </a:lnTo>
                      <a:lnTo>
                        <a:pt x="2622" y="888"/>
                      </a:lnTo>
                      <a:lnTo>
                        <a:pt x="2620" y="888"/>
                      </a:lnTo>
                      <a:lnTo>
                        <a:pt x="2617" y="891"/>
                      </a:lnTo>
                      <a:lnTo>
                        <a:pt x="2622" y="896"/>
                      </a:lnTo>
                      <a:lnTo>
                        <a:pt x="2620" y="903"/>
                      </a:lnTo>
                      <a:lnTo>
                        <a:pt x="2625" y="905"/>
                      </a:lnTo>
                      <a:lnTo>
                        <a:pt x="2625" y="911"/>
                      </a:lnTo>
                      <a:lnTo>
                        <a:pt x="2630" y="919"/>
                      </a:lnTo>
                      <a:lnTo>
                        <a:pt x="2633" y="921"/>
                      </a:lnTo>
                      <a:lnTo>
                        <a:pt x="2636" y="921"/>
                      </a:lnTo>
                      <a:lnTo>
                        <a:pt x="2638" y="927"/>
                      </a:lnTo>
                      <a:lnTo>
                        <a:pt x="2641" y="929"/>
                      </a:lnTo>
                      <a:lnTo>
                        <a:pt x="2641" y="932"/>
                      </a:lnTo>
                      <a:lnTo>
                        <a:pt x="2641" y="936"/>
                      </a:lnTo>
                      <a:lnTo>
                        <a:pt x="2641" y="938"/>
                      </a:lnTo>
                      <a:lnTo>
                        <a:pt x="2638" y="938"/>
                      </a:lnTo>
                      <a:lnTo>
                        <a:pt x="2630" y="932"/>
                      </a:lnTo>
                      <a:lnTo>
                        <a:pt x="2628" y="936"/>
                      </a:lnTo>
                      <a:lnTo>
                        <a:pt x="2625" y="936"/>
                      </a:lnTo>
                      <a:lnTo>
                        <a:pt x="2625" y="938"/>
                      </a:lnTo>
                      <a:lnTo>
                        <a:pt x="2622" y="941"/>
                      </a:lnTo>
                      <a:lnTo>
                        <a:pt x="2617" y="938"/>
                      </a:lnTo>
                      <a:lnTo>
                        <a:pt x="2617" y="941"/>
                      </a:lnTo>
                      <a:lnTo>
                        <a:pt x="2614" y="941"/>
                      </a:lnTo>
                      <a:lnTo>
                        <a:pt x="2611" y="946"/>
                      </a:lnTo>
                      <a:lnTo>
                        <a:pt x="2617" y="952"/>
                      </a:lnTo>
                      <a:lnTo>
                        <a:pt x="2622" y="954"/>
                      </a:lnTo>
                      <a:lnTo>
                        <a:pt x="2622" y="957"/>
                      </a:lnTo>
                      <a:lnTo>
                        <a:pt x="2614" y="960"/>
                      </a:lnTo>
                      <a:lnTo>
                        <a:pt x="2609" y="960"/>
                      </a:lnTo>
                      <a:lnTo>
                        <a:pt x="2602" y="962"/>
                      </a:lnTo>
                      <a:lnTo>
                        <a:pt x="2600" y="960"/>
                      </a:lnTo>
                      <a:lnTo>
                        <a:pt x="2597" y="960"/>
                      </a:lnTo>
                      <a:lnTo>
                        <a:pt x="2597" y="962"/>
                      </a:lnTo>
                      <a:lnTo>
                        <a:pt x="2597" y="965"/>
                      </a:lnTo>
                      <a:lnTo>
                        <a:pt x="2600" y="968"/>
                      </a:lnTo>
                      <a:lnTo>
                        <a:pt x="2602" y="968"/>
                      </a:lnTo>
                      <a:lnTo>
                        <a:pt x="2605" y="968"/>
                      </a:lnTo>
                      <a:lnTo>
                        <a:pt x="2609" y="968"/>
                      </a:lnTo>
                      <a:lnTo>
                        <a:pt x="2611" y="968"/>
                      </a:lnTo>
                      <a:lnTo>
                        <a:pt x="2614" y="968"/>
                      </a:lnTo>
                      <a:lnTo>
                        <a:pt x="2620" y="972"/>
                      </a:lnTo>
                      <a:lnTo>
                        <a:pt x="2628" y="968"/>
                      </a:lnTo>
                      <a:lnTo>
                        <a:pt x="2633" y="974"/>
                      </a:lnTo>
                      <a:lnTo>
                        <a:pt x="2638" y="977"/>
                      </a:lnTo>
                      <a:lnTo>
                        <a:pt x="2641" y="985"/>
                      </a:lnTo>
                      <a:lnTo>
                        <a:pt x="2647" y="985"/>
                      </a:lnTo>
                      <a:lnTo>
                        <a:pt x="2647" y="988"/>
                      </a:lnTo>
                      <a:lnTo>
                        <a:pt x="2641" y="993"/>
                      </a:lnTo>
                      <a:lnTo>
                        <a:pt x="2630" y="996"/>
                      </a:lnTo>
                      <a:lnTo>
                        <a:pt x="2628" y="1004"/>
                      </a:lnTo>
                      <a:lnTo>
                        <a:pt x="2622" y="1004"/>
                      </a:lnTo>
                      <a:lnTo>
                        <a:pt x="2620" y="1004"/>
                      </a:lnTo>
                      <a:lnTo>
                        <a:pt x="2617" y="1004"/>
                      </a:lnTo>
                      <a:lnTo>
                        <a:pt x="2620" y="1007"/>
                      </a:lnTo>
                      <a:lnTo>
                        <a:pt x="2614" y="1021"/>
                      </a:lnTo>
                      <a:lnTo>
                        <a:pt x="2617" y="1023"/>
                      </a:lnTo>
                      <a:lnTo>
                        <a:pt x="2609" y="1029"/>
                      </a:lnTo>
                      <a:lnTo>
                        <a:pt x="2611" y="1034"/>
                      </a:lnTo>
                      <a:lnTo>
                        <a:pt x="2609" y="1031"/>
                      </a:lnTo>
                      <a:lnTo>
                        <a:pt x="2605" y="1037"/>
                      </a:lnTo>
                      <a:lnTo>
                        <a:pt x="2602" y="1039"/>
                      </a:lnTo>
                      <a:lnTo>
                        <a:pt x="2602" y="1043"/>
                      </a:lnTo>
                      <a:lnTo>
                        <a:pt x="2605" y="1046"/>
                      </a:lnTo>
                      <a:lnTo>
                        <a:pt x="2602" y="1049"/>
                      </a:lnTo>
                      <a:lnTo>
                        <a:pt x="2605" y="1054"/>
                      </a:lnTo>
                      <a:lnTo>
                        <a:pt x="2600" y="1059"/>
                      </a:lnTo>
                      <a:lnTo>
                        <a:pt x="2597" y="1059"/>
                      </a:lnTo>
                      <a:lnTo>
                        <a:pt x="2600" y="1062"/>
                      </a:lnTo>
                      <a:lnTo>
                        <a:pt x="2602" y="1062"/>
                      </a:lnTo>
                      <a:lnTo>
                        <a:pt x="2602" y="1065"/>
                      </a:lnTo>
                      <a:lnTo>
                        <a:pt x="2605" y="1065"/>
                      </a:lnTo>
                      <a:lnTo>
                        <a:pt x="2605" y="1067"/>
                      </a:lnTo>
                      <a:lnTo>
                        <a:pt x="2609" y="1070"/>
                      </a:lnTo>
                      <a:lnTo>
                        <a:pt x="2609" y="1073"/>
                      </a:lnTo>
                      <a:lnTo>
                        <a:pt x="2609" y="1076"/>
                      </a:lnTo>
                      <a:lnTo>
                        <a:pt x="2611" y="1076"/>
                      </a:lnTo>
                      <a:lnTo>
                        <a:pt x="2611" y="1079"/>
                      </a:lnTo>
                      <a:lnTo>
                        <a:pt x="2614" y="1079"/>
                      </a:lnTo>
                      <a:lnTo>
                        <a:pt x="2617" y="1084"/>
                      </a:lnTo>
                      <a:lnTo>
                        <a:pt x="2622" y="1084"/>
                      </a:lnTo>
                      <a:lnTo>
                        <a:pt x="2620" y="1090"/>
                      </a:lnTo>
                      <a:lnTo>
                        <a:pt x="2622" y="1092"/>
                      </a:lnTo>
                      <a:lnTo>
                        <a:pt x="2620" y="1101"/>
                      </a:lnTo>
                      <a:lnTo>
                        <a:pt x="2620" y="1103"/>
                      </a:lnTo>
                      <a:lnTo>
                        <a:pt x="2628" y="1106"/>
                      </a:lnTo>
                      <a:lnTo>
                        <a:pt x="2628" y="1110"/>
                      </a:lnTo>
                      <a:lnTo>
                        <a:pt x="2630" y="1110"/>
                      </a:lnTo>
                      <a:lnTo>
                        <a:pt x="2633" y="1112"/>
                      </a:lnTo>
                      <a:lnTo>
                        <a:pt x="2641" y="1115"/>
                      </a:lnTo>
                      <a:lnTo>
                        <a:pt x="2641" y="1112"/>
                      </a:lnTo>
                      <a:lnTo>
                        <a:pt x="2647" y="1115"/>
                      </a:lnTo>
                      <a:lnTo>
                        <a:pt x="2650" y="1115"/>
                      </a:lnTo>
                      <a:lnTo>
                        <a:pt x="2655" y="1115"/>
                      </a:lnTo>
                      <a:lnTo>
                        <a:pt x="2658" y="1118"/>
                      </a:lnTo>
                      <a:lnTo>
                        <a:pt x="2658" y="1120"/>
                      </a:lnTo>
                      <a:lnTo>
                        <a:pt x="2661" y="1118"/>
                      </a:lnTo>
                      <a:lnTo>
                        <a:pt x="2666" y="1118"/>
                      </a:lnTo>
                      <a:lnTo>
                        <a:pt x="2669" y="1120"/>
                      </a:lnTo>
                      <a:lnTo>
                        <a:pt x="2666" y="1123"/>
                      </a:lnTo>
                      <a:lnTo>
                        <a:pt x="2666" y="1126"/>
                      </a:lnTo>
                      <a:lnTo>
                        <a:pt x="2669" y="1126"/>
                      </a:lnTo>
                      <a:lnTo>
                        <a:pt x="2674" y="1128"/>
                      </a:lnTo>
                      <a:lnTo>
                        <a:pt x="2674" y="1134"/>
                      </a:lnTo>
                      <a:lnTo>
                        <a:pt x="2671" y="1136"/>
                      </a:lnTo>
                      <a:lnTo>
                        <a:pt x="2686" y="1142"/>
                      </a:lnTo>
                      <a:lnTo>
                        <a:pt x="2686" y="1148"/>
                      </a:lnTo>
                      <a:lnTo>
                        <a:pt x="2691" y="1145"/>
                      </a:lnTo>
                      <a:lnTo>
                        <a:pt x="2694" y="1148"/>
                      </a:lnTo>
                      <a:lnTo>
                        <a:pt x="2702" y="1148"/>
                      </a:lnTo>
                      <a:lnTo>
                        <a:pt x="2707" y="1148"/>
                      </a:lnTo>
                      <a:lnTo>
                        <a:pt x="2707" y="1153"/>
                      </a:lnTo>
                      <a:lnTo>
                        <a:pt x="2714" y="1153"/>
                      </a:lnTo>
                      <a:lnTo>
                        <a:pt x="2714" y="1156"/>
                      </a:lnTo>
                      <a:lnTo>
                        <a:pt x="2719" y="1159"/>
                      </a:lnTo>
                      <a:lnTo>
                        <a:pt x="2722" y="1159"/>
                      </a:lnTo>
                      <a:lnTo>
                        <a:pt x="2724" y="1156"/>
                      </a:lnTo>
                      <a:lnTo>
                        <a:pt x="2724" y="1161"/>
                      </a:lnTo>
                      <a:lnTo>
                        <a:pt x="2716" y="1170"/>
                      </a:lnTo>
                      <a:lnTo>
                        <a:pt x="2716" y="1175"/>
                      </a:lnTo>
                      <a:lnTo>
                        <a:pt x="2724" y="1175"/>
                      </a:lnTo>
                      <a:lnTo>
                        <a:pt x="2719" y="1181"/>
                      </a:lnTo>
                      <a:lnTo>
                        <a:pt x="2727" y="1189"/>
                      </a:lnTo>
                      <a:lnTo>
                        <a:pt x="2719" y="1192"/>
                      </a:lnTo>
                      <a:lnTo>
                        <a:pt x="2719" y="1195"/>
                      </a:lnTo>
                      <a:lnTo>
                        <a:pt x="2722" y="1197"/>
                      </a:lnTo>
                      <a:lnTo>
                        <a:pt x="2727" y="1197"/>
                      </a:lnTo>
                      <a:lnTo>
                        <a:pt x="2730" y="1200"/>
                      </a:lnTo>
                      <a:lnTo>
                        <a:pt x="2732" y="1203"/>
                      </a:lnTo>
                      <a:lnTo>
                        <a:pt x="2732" y="1208"/>
                      </a:lnTo>
                      <a:lnTo>
                        <a:pt x="2727" y="1211"/>
                      </a:lnTo>
                      <a:lnTo>
                        <a:pt x="2724" y="1211"/>
                      </a:lnTo>
                      <a:lnTo>
                        <a:pt x="2727" y="1208"/>
                      </a:lnTo>
                      <a:lnTo>
                        <a:pt x="2724" y="1205"/>
                      </a:lnTo>
                      <a:lnTo>
                        <a:pt x="2722" y="1208"/>
                      </a:lnTo>
                      <a:lnTo>
                        <a:pt x="2716" y="1205"/>
                      </a:lnTo>
                      <a:lnTo>
                        <a:pt x="2714" y="1208"/>
                      </a:lnTo>
                      <a:lnTo>
                        <a:pt x="2705" y="1211"/>
                      </a:lnTo>
                      <a:lnTo>
                        <a:pt x="2705" y="1213"/>
                      </a:lnTo>
                      <a:lnTo>
                        <a:pt x="2699" y="1211"/>
                      </a:lnTo>
                      <a:lnTo>
                        <a:pt x="2697" y="1213"/>
                      </a:lnTo>
                      <a:lnTo>
                        <a:pt x="2697" y="1217"/>
                      </a:lnTo>
                      <a:lnTo>
                        <a:pt x="2699" y="1220"/>
                      </a:lnTo>
                      <a:lnTo>
                        <a:pt x="2697" y="1222"/>
                      </a:lnTo>
                      <a:lnTo>
                        <a:pt x="2699" y="1225"/>
                      </a:lnTo>
                      <a:lnTo>
                        <a:pt x="2705" y="1225"/>
                      </a:lnTo>
                      <a:lnTo>
                        <a:pt x="2707" y="1233"/>
                      </a:lnTo>
                      <a:lnTo>
                        <a:pt x="2714" y="1233"/>
                      </a:lnTo>
                      <a:lnTo>
                        <a:pt x="2714" y="1236"/>
                      </a:lnTo>
                      <a:lnTo>
                        <a:pt x="2719" y="1238"/>
                      </a:lnTo>
                      <a:lnTo>
                        <a:pt x="2719" y="1236"/>
                      </a:lnTo>
                      <a:lnTo>
                        <a:pt x="2727" y="1241"/>
                      </a:lnTo>
                      <a:lnTo>
                        <a:pt x="2732" y="1241"/>
                      </a:lnTo>
                      <a:lnTo>
                        <a:pt x="2735" y="1238"/>
                      </a:lnTo>
                      <a:lnTo>
                        <a:pt x="2735" y="1241"/>
                      </a:lnTo>
                      <a:lnTo>
                        <a:pt x="2738" y="1241"/>
                      </a:lnTo>
                      <a:lnTo>
                        <a:pt x="2743" y="1250"/>
                      </a:lnTo>
                      <a:lnTo>
                        <a:pt x="2747" y="1247"/>
                      </a:lnTo>
                      <a:lnTo>
                        <a:pt x="2755" y="1247"/>
                      </a:lnTo>
                      <a:lnTo>
                        <a:pt x="2755" y="1250"/>
                      </a:lnTo>
                      <a:lnTo>
                        <a:pt x="2752" y="1253"/>
                      </a:lnTo>
                      <a:lnTo>
                        <a:pt x="2752" y="1256"/>
                      </a:lnTo>
                      <a:lnTo>
                        <a:pt x="2749" y="1256"/>
                      </a:lnTo>
                      <a:lnTo>
                        <a:pt x="2749" y="1258"/>
                      </a:lnTo>
                      <a:lnTo>
                        <a:pt x="2743" y="1261"/>
                      </a:lnTo>
                      <a:lnTo>
                        <a:pt x="2738" y="1272"/>
                      </a:lnTo>
                      <a:lnTo>
                        <a:pt x="2738" y="1277"/>
                      </a:lnTo>
                      <a:lnTo>
                        <a:pt x="2740" y="1280"/>
                      </a:lnTo>
                      <a:lnTo>
                        <a:pt x="2738" y="1282"/>
                      </a:lnTo>
                      <a:lnTo>
                        <a:pt x="2740" y="1291"/>
                      </a:lnTo>
                      <a:lnTo>
                        <a:pt x="2735" y="1291"/>
                      </a:lnTo>
                      <a:lnTo>
                        <a:pt x="2735" y="1294"/>
                      </a:lnTo>
                      <a:lnTo>
                        <a:pt x="2738" y="1294"/>
                      </a:lnTo>
                      <a:lnTo>
                        <a:pt x="2738" y="1297"/>
                      </a:lnTo>
                      <a:lnTo>
                        <a:pt x="2740" y="1299"/>
                      </a:lnTo>
                      <a:lnTo>
                        <a:pt x="2743" y="1305"/>
                      </a:lnTo>
                      <a:lnTo>
                        <a:pt x="2752" y="1307"/>
                      </a:lnTo>
                      <a:lnTo>
                        <a:pt x="2755" y="1305"/>
                      </a:lnTo>
                      <a:lnTo>
                        <a:pt x="2763" y="1302"/>
                      </a:lnTo>
                      <a:lnTo>
                        <a:pt x="2771" y="1305"/>
                      </a:lnTo>
                      <a:lnTo>
                        <a:pt x="2776" y="1297"/>
                      </a:lnTo>
                      <a:lnTo>
                        <a:pt x="2783" y="1297"/>
                      </a:lnTo>
                      <a:lnTo>
                        <a:pt x="2785" y="1297"/>
                      </a:lnTo>
                      <a:lnTo>
                        <a:pt x="2785" y="1302"/>
                      </a:lnTo>
                      <a:lnTo>
                        <a:pt x="2791" y="1302"/>
                      </a:lnTo>
                      <a:lnTo>
                        <a:pt x="2793" y="1305"/>
                      </a:lnTo>
                      <a:lnTo>
                        <a:pt x="2796" y="1299"/>
                      </a:lnTo>
                      <a:lnTo>
                        <a:pt x="2809" y="1294"/>
                      </a:lnTo>
                      <a:lnTo>
                        <a:pt x="2812" y="1291"/>
                      </a:lnTo>
                      <a:lnTo>
                        <a:pt x="2816" y="1294"/>
                      </a:lnTo>
                      <a:lnTo>
                        <a:pt x="2829" y="1291"/>
                      </a:lnTo>
                      <a:lnTo>
                        <a:pt x="2832" y="1289"/>
                      </a:lnTo>
                      <a:lnTo>
                        <a:pt x="2832" y="1291"/>
                      </a:lnTo>
                      <a:lnTo>
                        <a:pt x="2835" y="1299"/>
                      </a:lnTo>
                      <a:lnTo>
                        <a:pt x="2835" y="1302"/>
                      </a:lnTo>
                      <a:lnTo>
                        <a:pt x="2832" y="1310"/>
                      </a:lnTo>
                      <a:lnTo>
                        <a:pt x="2829" y="1313"/>
                      </a:lnTo>
                      <a:lnTo>
                        <a:pt x="2835" y="1316"/>
                      </a:lnTo>
                      <a:lnTo>
                        <a:pt x="2840" y="1310"/>
                      </a:lnTo>
                      <a:lnTo>
                        <a:pt x="2845" y="1310"/>
                      </a:lnTo>
                      <a:lnTo>
                        <a:pt x="2852" y="1305"/>
                      </a:lnTo>
                      <a:lnTo>
                        <a:pt x="2860" y="1302"/>
                      </a:lnTo>
                      <a:lnTo>
                        <a:pt x="2870" y="1305"/>
                      </a:lnTo>
                      <a:lnTo>
                        <a:pt x="2878" y="1299"/>
                      </a:lnTo>
                      <a:lnTo>
                        <a:pt x="2887" y="1302"/>
                      </a:lnTo>
                      <a:lnTo>
                        <a:pt x="2890" y="1299"/>
                      </a:lnTo>
                      <a:lnTo>
                        <a:pt x="2895" y="1297"/>
                      </a:lnTo>
                      <a:lnTo>
                        <a:pt x="2895" y="1294"/>
                      </a:lnTo>
                      <a:lnTo>
                        <a:pt x="2901" y="1291"/>
                      </a:lnTo>
                      <a:lnTo>
                        <a:pt x="2906" y="1289"/>
                      </a:lnTo>
                      <a:lnTo>
                        <a:pt x="2909" y="1286"/>
                      </a:lnTo>
                      <a:lnTo>
                        <a:pt x="2912" y="1282"/>
                      </a:lnTo>
                      <a:lnTo>
                        <a:pt x="2918" y="1282"/>
                      </a:lnTo>
                      <a:lnTo>
                        <a:pt x="2923" y="1277"/>
                      </a:lnTo>
                      <a:lnTo>
                        <a:pt x="2923" y="1274"/>
                      </a:lnTo>
                      <a:lnTo>
                        <a:pt x="2929" y="1272"/>
                      </a:lnTo>
                      <a:lnTo>
                        <a:pt x="2931" y="1272"/>
                      </a:lnTo>
                      <a:lnTo>
                        <a:pt x="2929" y="1277"/>
                      </a:lnTo>
                      <a:lnTo>
                        <a:pt x="2929" y="1280"/>
                      </a:lnTo>
                      <a:lnTo>
                        <a:pt x="2934" y="1280"/>
                      </a:lnTo>
                      <a:lnTo>
                        <a:pt x="2934" y="1282"/>
                      </a:lnTo>
                      <a:lnTo>
                        <a:pt x="2934" y="1289"/>
                      </a:lnTo>
                      <a:lnTo>
                        <a:pt x="2937" y="1289"/>
                      </a:lnTo>
                      <a:lnTo>
                        <a:pt x="2937" y="1291"/>
                      </a:lnTo>
                      <a:lnTo>
                        <a:pt x="2937" y="1297"/>
                      </a:lnTo>
                      <a:lnTo>
                        <a:pt x="2939" y="1297"/>
                      </a:lnTo>
                      <a:lnTo>
                        <a:pt x="2945" y="1294"/>
                      </a:lnTo>
                      <a:lnTo>
                        <a:pt x="2947" y="1294"/>
                      </a:lnTo>
                      <a:lnTo>
                        <a:pt x="2947" y="1291"/>
                      </a:lnTo>
                      <a:lnTo>
                        <a:pt x="2947" y="1286"/>
                      </a:lnTo>
                      <a:lnTo>
                        <a:pt x="2950" y="1286"/>
                      </a:lnTo>
                      <a:lnTo>
                        <a:pt x="2954" y="1280"/>
                      </a:lnTo>
                      <a:lnTo>
                        <a:pt x="2956" y="1280"/>
                      </a:lnTo>
                      <a:lnTo>
                        <a:pt x="2962" y="1280"/>
                      </a:lnTo>
                      <a:lnTo>
                        <a:pt x="2962" y="1277"/>
                      </a:lnTo>
                      <a:lnTo>
                        <a:pt x="2967" y="1280"/>
                      </a:lnTo>
                      <a:lnTo>
                        <a:pt x="2967" y="1277"/>
                      </a:lnTo>
                      <a:lnTo>
                        <a:pt x="2973" y="1280"/>
                      </a:lnTo>
                      <a:lnTo>
                        <a:pt x="2973" y="1286"/>
                      </a:lnTo>
                      <a:lnTo>
                        <a:pt x="2975" y="1289"/>
                      </a:lnTo>
                      <a:lnTo>
                        <a:pt x="2978" y="1289"/>
                      </a:lnTo>
                      <a:lnTo>
                        <a:pt x="2983" y="1286"/>
                      </a:lnTo>
                      <a:lnTo>
                        <a:pt x="2987" y="1282"/>
                      </a:lnTo>
                      <a:lnTo>
                        <a:pt x="2987" y="1280"/>
                      </a:lnTo>
                      <a:lnTo>
                        <a:pt x="2983" y="1266"/>
                      </a:lnTo>
                      <a:lnTo>
                        <a:pt x="2990" y="1266"/>
                      </a:lnTo>
                      <a:lnTo>
                        <a:pt x="2992" y="1261"/>
                      </a:lnTo>
                      <a:lnTo>
                        <a:pt x="2995" y="1264"/>
                      </a:lnTo>
                      <a:lnTo>
                        <a:pt x="2998" y="1269"/>
                      </a:lnTo>
                      <a:lnTo>
                        <a:pt x="3000" y="1269"/>
                      </a:lnTo>
                      <a:lnTo>
                        <a:pt x="3003" y="1272"/>
                      </a:lnTo>
                      <a:lnTo>
                        <a:pt x="3008" y="1272"/>
                      </a:lnTo>
                      <a:lnTo>
                        <a:pt x="3008" y="1269"/>
                      </a:lnTo>
                      <a:lnTo>
                        <a:pt x="3006" y="1269"/>
                      </a:lnTo>
                      <a:lnTo>
                        <a:pt x="3003" y="1266"/>
                      </a:lnTo>
                      <a:lnTo>
                        <a:pt x="3000" y="1264"/>
                      </a:lnTo>
                      <a:lnTo>
                        <a:pt x="3000" y="1261"/>
                      </a:lnTo>
                      <a:lnTo>
                        <a:pt x="3003" y="1256"/>
                      </a:lnTo>
                      <a:lnTo>
                        <a:pt x="3006" y="1256"/>
                      </a:lnTo>
                      <a:lnTo>
                        <a:pt x="3008" y="1253"/>
                      </a:lnTo>
                      <a:lnTo>
                        <a:pt x="3008" y="1247"/>
                      </a:lnTo>
                      <a:lnTo>
                        <a:pt x="3006" y="1247"/>
                      </a:lnTo>
                      <a:lnTo>
                        <a:pt x="3006" y="1241"/>
                      </a:lnTo>
                      <a:lnTo>
                        <a:pt x="3000" y="1233"/>
                      </a:lnTo>
                      <a:lnTo>
                        <a:pt x="3003" y="1233"/>
                      </a:lnTo>
                      <a:lnTo>
                        <a:pt x="3000" y="1233"/>
                      </a:lnTo>
                      <a:lnTo>
                        <a:pt x="2992" y="1233"/>
                      </a:lnTo>
                      <a:lnTo>
                        <a:pt x="2990" y="1233"/>
                      </a:lnTo>
                      <a:lnTo>
                        <a:pt x="2981" y="1236"/>
                      </a:lnTo>
                      <a:lnTo>
                        <a:pt x="2973" y="1238"/>
                      </a:lnTo>
                      <a:lnTo>
                        <a:pt x="2970" y="1238"/>
                      </a:lnTo>
                      <a:lnTo>
                        <a:pt x="2964" y="1233"/>
                      </a:lnTo>
                      <a:lnTo>
                        <a:pt x="2967" y="1222"/>
                      </a:lnTo>
                      <a:lnTo>
                        <a:pt x="2978" y="1220"/>
                      </a:lnTo>
                      <a:lnTo>
                        <a:pt x="2981" y="1217"/>
                      </a:lnTo>
                      <a:lnTo>
                        <a:pt x="2990" y="1213"/>
                      </a:lnTo>
                      <a:lnTo>
                        <a:pt x="2990" y="1211"/>
                      </a:lnTo>
                      <a:lnTo>
                        <a:pt x="2992" y="1211"/>
                      </a:lnTo>
                      <a:lnTo>
                        <a:pt x="2995" y="1208"/>
                      </a:lnTo>
                      <a:lnTo>
                        <a:pt x="2995" y="1205"/>
                      </a:lnTo>
                      <a:lnTo>
                        <a:pt x="3000" y="1205"/>
                      </a:lnTo>
                      <a:lnTo>
                        <a:pt x="3006" y="1208"/>
                      </a:lnTo>
                      <a:lnTo>
                        <a:pt x="3008" y="1205"/>
                      </a:lnTo>
                      <a:lnTo>
                        <a:pt x="3016" y="1203"/>
                      </a:lnTo>
                      <a:lnTo>
                        <a:pt x="3014" y="1203"/>
                      </a:lnTo>
                      <a:lnTo>
                        <a:pt x="3014" y="1200"/>
                      </a:lnTo>
                      <a:lnTo>
                        <a:pt x="3008" y="1197"/>
                      </a:lnTo>
                      <a:lnTo>
                        <a:pt x="3006" y="1189"/>
                      </a:lnTo>
                      <a:lnTo>
                        <a:pt x="3000" y="1189"/>
                      </a:lnTo>
                      <a:lnTo>
                        <a:pt x="3000" y="1187"/>
                      </a:lnTo>
                      <a:lnTo>
                        <a:pt x="2998" y="1184"/>
                      </a:lnTo>
                      <a:lnTo>
                        <a:pt x="3000" y="1181"/>
                      </a:lnTo>
                      <a:lnTo>
                        <a:pt x="3003" y="1178"/>
                      </a:lnTo>
                      <a:lnTo>
                        <a:pt x="3003" y="1175"/>
                      </a:lnTo>
                      <a:lnTo>
                        <a:pt x="3006" y="1172"/>
                      </a:lnTo>
                      <a:lnTo>
                        <a:pt x="3014" y="1175"/>
                      </a:lnTo>
                      <a:lnTo>
                        <a:pt x="3023" y="1170"/>
                      </a:lnTo>
                      <a:lnTo>
                        <a:pt x="3028" y="1172"/>
                      </a:lnTo>
                      <a:lnTo>
                        <a:pt x="3028" y="1175"/>
                      </a:lnTo>
                      <a:lnTo>
                        <a:pt x="3031" y="1181"/>
                      </a:lnTo>
                      <a:lnTo>
                        <a:pt x="3028" y="1181"/>
                      </a:lnTo>
                      <a:lnTo>
                        <a:pt x="3025" y="1187"/>
                      </a:lnTo>
                      <a:lnTo>
                        <a:pt x="3028" y="1187"/>
                      </a:lnTo>
                      <a:lnTo>
                        <a:pt x="3023" y="1192"/>
                      </a:lnTo>
                      <a:lnTo>
                        <a:pt x="3023" y="1195"/>
                      </a:lnTo>
                      <a:lnTo>
                        <a:pt x="3019" y="1197"/>
                      </a:lnTo>
                      <a:lnTo>
                        <a:pt x="3025" y="1203"/>
                      </a:lnTo>
                      <a:lnTo>
                        <a:pt x="3028" y="1203"/>
                      </a:lnTo>
                      <a:lnTo>
                        <a:pt x="3034" y="1200"/>
                      </a:lnTo>
                      <a:lnTo>
                        <a:pt x="3047" y="1197"/>
                      </a:lnTo>
                      <a:lnTo>
                        <a:pt x="3052" y="1189"/>
                      </a:lnTo>
                      <a:lnTo>
                        <a:pt x="3059" y="1189"/>
                      </a:lnTo>
                      <a:lnTo>
                        <a:pt x="3061" y="1187"/>
                      </a:lnTo>
                      <a:lnTo>
                        <a:pt x="3059" y="1187"/>
                      </a:lnTo>
                      <a:lnTo>
                        <a:pt x="3064" y="1181"/>
                      </a:lnTo>
                      <a:lnTo>
                        <a:pt x="3064" y="1187"/>
                      </a:lnTo>
                      <a:lnTo>
                        <a:pt x="3069" y="1187"/>
                      </a:lnTo>
                      <a:lnTo>
                        <a:pt x="3072" y="1192"/>
                      </a:lnTo>
                      <a:lnTo>
                        <a:pt x="3064" y="1197"/>
                      </a:lnTo>
                      <a:lnTo>
                        <a:pt x="3061" y="1200"/>
                      </a:lnTo>
                      <a:lnTo>
                        <a:pt x="3061" y="1203"/>
                      </a:lnTo>
                      <a:lnTo>
                        <a:pt x="3064" y="1205"/>
                      </a:lnTo>
                      <a:lnTo>
                        <a:pt x="3075" y="1203"/>
                      </a:lnTo>
                      <a:lnTo>
                        <a:pt x="3077" y="1203"/>
                      </a:lnTo>
                      <a:lnTo>
                        <a:pt x="3080" y="1200"/>
                      </a:lnTo>
                      <a:lnTo>
                        <a:pt x="3083" y="1200"/>
                      </a:lnTo>
                      <a:lnTo>
                        <a:pt x="3094" y="1192"/>
                      </a:lnTo>
                      <a:lnTo>
                        <a:pt x="3100" y="1195"/>
                      </a:lnTo>
                      <a:lnTo>
                        <a:pt x="3105" y="1181"/>
                      </a:lnTo>
                      <a:lnTo>
                        <a:pt x="3103" y="1178"/>
                      </a:lnTo>
                      <a:lnTo>
                        <a:pt x="3105" y="1178"/>
                      </a:lnTo>
                      <a:lnTo>
                        <a:pt x="3113" y="1184"/>
                      </a:lnTo>
                      <a:lnTo>
                        <a:pt x="3116" y="1184"/>
                      </a:lnTo>
                      <a:lnTo>
                        <a:pt x="3119" y="1187"/>
                      </a:lnTo>
                      <a:lnTo>
                        <a:pt x="3121" y="1189"/>
                      </a:lnTo>
                      <a:lnTo>
                        <a:pt x="3128" y="1189"/>
                      </a:lnTo>
                      <a:lnTo>
                        <a:pt x="3130" y="1192"/>
                      </a:lnTo>
                      <a:lnTo>
                        <a:pt x="3133" y="1195"/>
                      </a:lnTo>
                      <a:lnTo>
                        <a:pt x="3130" y="1203"/>
                      </a:lnTo>
                      <a:lnTo>
                        <a:pt x="3136" y="1203"/>
                      </a:lnTo>
                      <a:lnTo>
                        <a:pt x="3138" y="1203"/>
                      </a:lnTo>
                      <a:lnTo>
                        <a:pt x="3146" y="1197"/>
                      </a:lnTo>
                      <a:lnTo>
                        <a:pt x="3152" y="1197"/>
                      </a:lnTo>
                      <a:lnTo>
                        <a:pt x="3154" y="1192"/>
                      </a:lnTo>
                      <a:lnTo>
                        <a:pt x="3161" y="1192"/>
                      </a:lnTo>
                      <a:lnTo>
                        <a:pt x="3163" y="1189"/>
                      </a:lnTo>
                      <a:lnTo>
                        <a:pt x="3177" y="1187"/>
                      </a:lnTo>
                      <a:lnTo>
                        <a:pt x="3185" y="1189"/>
                      </a:lnTo>
                      <a:lnTo>
                        <a:pt x="3188" y="1187"/>
                      </a:lnTo>
                      <a:lnTo>
                        <a:pt x="3190" y="1187"/>
                      </a:lnTo>
                      <a:lnTo>
                        <a:pt x="3190" y="1184"/>
                      </a:lnTo>
                      <a:lnTo>
                        <a:pt x="3194" y="1178"/>
                      </a:lnTo>
                      <a:lnTo>
                        <a:pt x="3190" y="1175"/>
                      </a:lnTo>
                      <a:lnTo>
                        <a:pt x="3205" y="1167"/>
                      </a:lnTo>
                      <a:lnTo>
                        <a:pt x="3207" y="1167"/>
                      </a:lnTo>
                      <a:lnTo>
                        <a:pt x="3213" y="1164"/>
                      </a:lnTo>
                      <a:lnTo>
                        <a:pt x="3215" y="1164"/>
                      </a:lnTo>
                      <a:lnTo>
                        <a:pt x="3227" y="1161"/>
                      </a:lnTo>
                      <a:lnTo>
                        <a:pt x="3232" y="1156"/>
                      </a:lnTo>
                      <a:lnTo>
                        <a:pt x="3230" y="1153"/>
                      </a:lnTo>
                      <a:lnTo>
                        <a:pt x="3230" y="1151"/>
                      </a:lnTo>
                      <a:lnTo>
                        <a:pt x="3232" y="1148"/>
                      </a:lnTo>
                      <a:lnTo>
                        <a:pt x="3238" y="1142"/>
                      </a:lnTo>
                      <a:lnTo>
                        <a:pt x="3240" y="1142"/>
                      </a:lnTo>
                      <a:lnTo>
                        <a:pt x="3246" y="1139"/>
                      </a:lnTo>
                      <a:lnTo>
                        <a:pt x="3249" y="1136"/>
                      </a:lnTo>
                      <a:lnTo>
                        <a:pt x="3251" y="1136"/>
                      </a:lnTo>
                      <a:lnTo>
                        <a:pt x="3257" y="1134"/>
                      </a:lnTo>
                      <a:lnTo>
                        <a:pt x="3259" y="1131"/>
                      </a:lnTo>
                      <a:lnTo>
                        <a:pt x="3266" y="1134"/>
                      </a:lnTo>
                      <a:lnTo>
                        <a:pt x="3274" y="1128"/>
                      </a:lnTo>
                      <a:lnTo>
                        <a:pt x="3282" y="1126"/>
                      </a:lnTo>
                      <a:lnTo>
                        <a:pt x="3287" y="1123"/>
                      </a:lnTo>
                      <a:lnTo>
                        <a:pt x="3287" y="1126"/>
                      </a:lnTo>
                      <a:lnTo>
                        <a:pt x="3292" y="1126"/>
                      </a:lnTo>
                      <a:lnTo>
                        <a:pt x="3299" y="1126"/>
                      </a:lnTo>
                      <a:lnTo>
                        <a:pt x="3301" y="1126"/>
                      </a:lnTo>
                      <a:lnTo>
                        <a:pt x="3312" y="1128"/>
                      </a:lnTo>
                      <a:lnTo>
                        <a:pt x="3315" y="1126"/>
                      </a:lnTo>
                      <a:lnTo>
                        <a:pt x="3323" y="1120"/>
                      </a:lnTo>
                      <a:lnTo>
                        <a:pt x="3335" y="1120"/>
                      </a:lnTo>
                      <a:lnTo>
                        <a:pt x="3340" y="1120"/>
                      </a:lnTo>
                      <a:lnTo>
                        <a:pt x="3343" y="1112"/>
                      </a:lnTo>
                      <a:lnTo>
                        <a:pt x="3348" y="1110"/>
                      </a:lnTo>
                      <a:lnTo>
                        <a:pt x="3351" y="1106"/>
                      </a:lnTo>
                      <a:lnTo>
                        <a:pt x="3353" y="1106"/>
                      </a:lnTo>
                      <a:lnTo>
                        <a:pt x="3356" y="1110"/>
                      </a:lnTo>
                      <a:lnTo>
                        <a:pt x="3361" y="1110"/>
                      </a:lnTo>
                      <a:lnTo>
                        <a:pt x="3365" y="1110"/>
                      </a:lnTo>
                      <a:lnTo>
                        <a:pt x="3370" y="1106"/>
                      </a:lnTo>
                      <a:lnTo>
                        <a:pt x="3376" y="1103"/>
                      </a:lnTo>
                      <a:lnTo>
                        <a:pt x="3376" y="1101"/>
                      </a:lnTo>
                      <a:lnTo>
                        <a:pt x="3386" y="1101"/>
                      </a:lnTo>
                      <a:lnTo>
                        <a:pt x="3392" y="1103"/>
                      </a:lnTo>
                      <a:lnTo>
                        <a:pt x="3397" y="1103"/>
                      </a:lnTo>
                      <a:lnTo>
                        <a:pt x="3404" y="1110"/>
                      </a:lnTo>
                      <a:lnTo>
                        <a:pt x="3409" y="1115"/>
                      </a:lnTo>
                      <a:lnTo>
                        <a:pt x="3412" y="1126"/>
                      </a:lnTo>
                      <a:lnTo>
                        <a:pt x="3412" y="1128"/>
                      </a:lnTo>
                      <a:lnTo>
                        <a:pt x="3409" y="1134"/>
                      </a:lnTo>
                      <a:lnTo>
                        <a:pt x="3412" y="1136"/>
                      </a:lnTo>
                      <a:lnTo>
                        <a:pt x="3414" y="1136"/>
                      </a:lnTo>
                      <a:lnTo>
                        <a:pt x="3414" y="1139"/>
                      </a:lnTo>
                      <a:lnTo>
                        <a:pt x="3414" y="1145"/>
                      </a:lnTo>
                      <a:lnTo>
                        <a:pt x="3420" y="1145"/>
                      </a:lnTo>
                      <a:lnTo>
                        <a:pt x="3422" y="1148"/>
                      </a:lnTo>
                      <a:lnTo>
                        <a:pt x="3425" y="1148"/>
                      </a:lnTo>
                      <a:lnTo>
                        <a:pt x="3428" y="1151"/>
                      </a:lnTo>
                      <a:lnTo>
                        <a:pt x="3430" y="1156"/>
                      </a:lnTo>
                      <a:lnTo>
                        <a:pt x="3428" y="1159"/>
                      </a:lnTo>
                      <a:lnTo>
                        <a:pt x="3428" y="1164"/>
                      </a:lnTo>
                      <a:lnTo>
                        <a:pt x="3437" y="1161"/>
                      </a:lnTo>
                      <a:lnTo>
                        <a:pt x="3439" y="1164"/>
                      </a:lnTo>
                      <a:lnTo>
                        <a:pt x="3442" y="1161"/>
                      </a:lnTo>
                      <a:lnTo>
                        <a:pt x="3445" y="1164"/>
                      </a:lnTo>
                      <a:lnTo>
                        <a:pt x="3442" y="1172"/>
                      </a:lnTo>
                      <a:lnTo>
                        <a:pt x="3442" y="1175"/>
                      </a:lnTo>
                      <a:lnTo>
                        <a:pt x="3442" y="1184"/>
                      </a:lnTo>
                      <a:lnTo>
                        <a:pt x="3445" y="1184"/>
                      </a:lnTo>
                      <a:lnTo>
                        <a:pt x="3447" y="1187"/>
                      </a:lnTo>
                      <a:lnTo>
                        <a:pt x="3450" y="1184"/>
                      </a:lnTo>
                      <a:lnTo>
                        <a:pt x="3455" y="1189"/>
                      </a:lnTo>
                      <a:lnTo>
                        <a:pt x="3458" y="1187"/>
                      </a:lnTo>
                      <a:lnTo>
                        <a:pt x="3458" y="1184"/>
                      </a:lnTo>
                      <a:lnTo>
                        <a:pt x="3461" y="1187"/>
                      </a:lnTo>
                      <a:lnTo>
                        <a:pt x="3464" y="1192"/>
                      </a:lnTo>
                      <a:lnTo>
                        <a:pt x="3466" y="1192"/>
                      </a:lnTo>
                      <a:lnTo>
                        <a:pt x="3473" y="1181"/>
                      </a:lnTo>
                      <a:lnTo>
                        <a:pt x="3475" y="1187"/>
                      </a:lnTo>
                      <a:lnTo>
                        <a:pt x="3481" y="1184"/>
                      </a:lnTo>
                      <a:lnTo>
                        <a:pt x="3486" y="1189"/>
                      </a:lnTo>
                      <a:lnTo>
                        <a:pt x="3489" y="1189"/>
                      </a:lnTo>
                      <a:lnTo>
                        <a:pt x="3491" y="1189"/>
                      </a:lnTo>
                      <a:lnTo>
                        <a:pt x="3486" y="1195"/>
                      </a:lnTo>
                      <a:lnTo>
                        <a:pt x="3486" y="1197"/>
                      </a:lnTo>
                      <a:lnTo>
                        <a:pt x="3489" y="1197"/>
                      </a:lnTo>
                      <a:lnTo>
                        <a:pt x="3486" y="1195"/>
                      </a:lnTo>
                      <a:lnTo>
                        <a:pt x="3489" y="1195"/>
                      </a:lnTo>
                      <a:lnTo>
                        <a:pt x="3494" y="1195"/>
                      </a:lnTo>
                      <a:lnTo>
                        <a:pt x="3497" y="1197"/>
                      </a:lnTo>
                      <a:lnTo>
                        <a:pt x="3499" y="1197"/>
                      </a:lnTo>
                      <a:lnTo>
                        <a:pt x="3508" y="1187"/>
                      </a:lnTo>
                      <a:lnTo>
                        <a:pt x="3506" y="1184"/>
                      </a:lnTo>
                      <a:lnTo>
                        <a:pt x="3508" y="1184"/>
                      </a:lnTo>
                      <a:lnTo>
                        <a:pt x="3511" y="1187"/>
                      </a:lnTo>
                      <a:lnTo>
                        <a:pt x="3517" y="1189"/>
                      </a:lnTo>
                      <a:lnTo>
                        <a:pt x="3519" y="1187"/>
                      </a:lnTo>
                      <a:lnTo>
                        <a:pt x="3522" y="1187"/>
                      </a:lnTo>
                      <a:lnTo>
                        <a:pt x="3525" y="1184"/>
                      </a:lnTo>
                      <a:lnTo>
                        <a:pt x="3530" y="1181"/>
                      </a:lnTo>
                      <a:lnTo>
                        <a:pt x="3536" y="1181"/>
                      </a:lnTo>
                      <a:lnTo>
                        <a:pt x="3539" y="1184"/>
                      </a:lnTo>
                      <a:lnTo>
                        <a:pt x="3542" y="1184"/>
                      </a:lnTo>
                      <a:lnTo>
                        <a:pt x="3542" y="1181"/>
                      </a:lnTo>
                      <a:lnTo>
                        <a:pt x="3539" y="1178"/>
                      </a:lnTo>
                      <a:lnTo>
                        <a:pt x="3539" y="1175"/>
                      </a:lnTo>
                      <a:lnTo>
                        <a:pt x="3544" y="1172"/>
                      </a:lnTo>
                      <a:lnTo>
                        <a:pt x="3544" y="1170"/>
                      </a:lnTo>
                      <a:lnTo>
                        <a:pt x="3547" y="1170"/>
                      </a:lnTo>
                      <a:lnTo>
                        <a:pt x="3552" y="1172"/>
                      </a:lnTo>
                      <a:lnTo>
                        <a:pt x="3555" y="1172"/>
                      </a:lnTo>
                      <a:lnTo>
                        <a:pt x="3558" y="1172"/>
                      </a:lnTo>
                      <a:lnTo>
                        <a:pt x="3555" y="1178"/>
                      </a:lnTo>
                      <a:lnTo>
                        <a:pt x="3558" y="1178"/>
                      </a:lnTo>
                      <a:lnTo>
                        <a:pt x="3558" y="1187"/>
                      </a:lnTo>
                      <a:lnTo>
                        <a:pt x="3560" y="1187"/>
                      </a:lnTo>
                      <a:lnTo>
                        <a:pt x="3563" y="1187"/>
                      </a:lnTo>
                      <a:lnTo>
                        <a:pt x="3560" y="1181"/>
                      </a:lnTo>
                      <a:lnTo>
                        <a:pt x="3560" y="1178"/>
                      </a:lnTo>
                      <a:lnTo>
                        <a:pt x="3563" y="1181"/>
                      </a:lnTo>
                      <a:lnTo>
                        <a:pt x="3563" y="1178"/>
                      </a:lnTo>
                      <a:lnTo>
                        <a:pt x="3563" y="1175"/>
                      </a:lnTo>
                      <a:lnTo>
                        <a:pt x="3566" y="1178"/>
                      </a:lnTo>
                      <a:lnTo>
                        <a:pt x="3572" y="1175"/>
                      </a:lnTo>
                      <a:lnTo>
                        <a:pt x="3575" y="1181"/>
                      </a:lnTo>
                      <a:lnTo>
                        <a:pt x="3577" y="1178"/>
                      </a:lnTo>
                      <a:lnTo>
                        <a:pt x="3580" y="1181"/>
                      </a:lnTo>
                      <a:lnTo>
                        <a:pt x="3583" y="1181"/>
                      </a:lnTo>
                      <a:lnTo>
                        <a:pt x="3586" y="1181"/>
                      </a:lnTo>
                      <a:lnTo>
                        <a:pt x="3588" y="1187"/>
                      </a:lnTo>
                      <a:lnTo>
                        <a:pt x="3588" y="1184"/>
                      </a:lnTo>
                      <a:lnTo>
                        <a:pt x="3594" y="1181"/>
                      </a:lnTo>
                      <a:lnTo>
                        <a:pt x="3602" y="1187"/>
                      </a:lnTo>
                      <a:lnTo>
                        <a:pt x="3605" y="1184"/>
                      </a:lnTo>
                      <a:lnTo>
                        <a:pt x="3611" y="1184"/>
                      </a:lnTo>
                      <a:lnTo>
                        <a:pt x="3613" y="1184"/>
                      </a:lnTo>
                      <a:lnTo>
                        <a:pt x="3616" y="1189"/>
                      </a:lnTo>
                      <a:lnTo>
                        <a:pt x="3619" y="1187"/>
                      </a:lnTo>
                      <a:lnTo>
                        <a:pt x="3621" y="1187"/>
                      </a:lnTo>
                      <a:lnTo>
                        <a:pt x="3621" y="1192"/>
                      </a:lnTo>
                      <a:lnTo>
                        <a:pt x="3624" y="1195"/>
                      </a:lnTo>
                      <a:lnTo>
                        <a:pt x="3627" y="1195"/>
                      </a:lnTo>
                      <a:lnTo>
                        <a:pt x="3629" y="1197"/>
                      </a:lnTo>
                      <a:lnTo>
                        <a:pt x="3627" y="1200"/>
                      </a:lnTo>
                      <a:lnTo>
                        <a:pt x="3632" y="1205"/>
                      </a:lnTo>
                      <a:lnTo>
                        <a:pt x="3637" y="1211"/>
                      </a:lnTo>
                      <a:lnTo>
                        <a:pt x="3637" y="1213"/>
                      </a:lnTo>
                      <a:lnTo>
                        <a:pt x="3637" y="1217"/>
                      </a:lnTo>
                      <a:lnTo>
                        <a:pt x="3635" y="1220"/>
                      </a:lnTo>
                      <a:lnTo>
                        <a:pt x="3632" y="1220"/>
                      </a:lnTo>
                      <a:lnTo>
                        <a:pt x="3632" y="1225"/>
                      </a:lnTo>
                      <a:lnTo>
                        <a:pt x="3629" y="1228"/>
                      </a:lnTo>
                      <a:lnTo>
                        <a:pt x="3624" y="1230"/>
                      </a:lnTo>
                      <a:lnTo>
                        <a:pt x="3621" y="1230"/>
                      </a:lnTo>
                      <a:lnTo>
                        <a:pt x="3621" y="1233"/>
                      </a:lnTo>
                      <a:lnTo>
                        <a:pt x="3624" y="1233"/>
                      </a:lnTo>
                      <a:lnTo>
                        <a:pt x="3621" y="1236"/>
                      </a:lnTo>
                      <a:lnTo>
                        <a:pt x="3613" y="1236"/>
                      </a:lnTo>
                      <a:lnTo>
                        <a:pt x="3605" y="1244"/>
                      </a:lnTo>
                      <a:lnTo>
                        <a:pt x="3608" y="1247"/>
                      </a:lnTo>
                      <a:lnTo>
                        <a:pt x="3602" y="1247"/>
                      </a:lnTo>
                      <a:lnTo>
                        <a:pt x="3599" y="1253"/>
                      </a:lnTo>
                      <a:lnTo>
                        <a:pt x="3599" y="1256"/>
                      </a:lnTo>
                      <a:lnTo>
                        <a:pt x="3602" y="1258"/>
                      </a:lnTo>
                      <a:lnTo>
                        <a:pt x="3599" y="1261"/>
                      </a:lnTo>
                      <a:lnTo>
                        <a:pt x="3605" y="1261"/>
                      </a:lnTo>
                      <a:lnTo>
                        <a:pt x="3605" y="1264"/>
                      </a:lnTo>
                      <a:lnTo>
                        <a:pt x="3605" y="1266"/>
                      </a:lnTo>
                      <a:lnTo>
                        <a:pt x="3599" y="1266"/>
                      </a:lnTo>
                      <a:lnTo>
                        <a:pt x="3594" y="1277"/>
                      </a:lnTo>
                      <a:lnTo>
                        <a:pt x="3588" y="1280"/>
                      </a:lnTo>
                      <a:lnTo>
                        <a:pt x="3588" y="1277"/>
                      </a:lnTo>
                      <a:lnTo>
                        <a:pt x="3583" y="1277"/>
                      </a:lnTo>
                      <a:lnTo>
                        <a:pt x="3575" y="1282"/>
                      </a:lnTo>
                      <a:lnTo>
                        <a:pt x="3575" y="1286"/>
                      </a:lnTo>
                      <a:lnTo>
                        <a:pt x="3572" y="1286"/>
                      </a:lnTo>
                      <a:lnTo>
                        <a:pt x="3575" y="1282"/>
                      </a:lnTo>
                      <a:lnTo>
                        <a:pt x="3572" y="1280"/>
                      </a:lnTo>
                      <a:lnTo>
                        <a:pt x="3552" y="1289"/>
                      </a:lnTo>
                      <a:lnTo>
                        <a:pt x="3547" y="1289"/>
                      </a:lnTo>
                      <a:lnTo>
                        <a:pt x="3544" y="1289"/>
                      </a:lnTo>
                      <a:lnTo>
                        <a:pt x="3542" y="1289"/>
                      </a:lnTo>
                      <a:lnTo>
                        <a:pt x="3542" y="1286"/>
                      </a:lnTo>
                      <a:lnTo>
                        <a:pt x="3536" y="1286"/>
                      </a:lnTo>
                      <a:lnTo>
                        <a:pt x="3533" y="1286"/>
                      </a:lnTo>
                      <a:lnTo>
                        <a:pt x="3530" y="1289"/>
                      </a:lnTo>
                      <a:lnTo>
                        <a:pt x="3527" y="1294"/>
                      </a:lnTo>
                      <a:lnTo>
                        <a:pt x="3525" y="1297"/>
                      </a:lnTo>
                      <a:lnTo>
                        <a:pt x="3522" y="1297"/>
                      </a:lnTo>
                      <a:lnTo>
                        <a:pt x="3514" y="1299"/>
                      </a:lnTo>
                      <a:lnTo>
                        <a:pt x="3514" y="1297"/>
                      </a:lnTo>
                      <a:lnTo>
                        <a:pt x="3511" y="1297"/>
                      </a:lnTo>
                      <a:lnTo>
                        <a:pt x="3511" y="1294"/>
                      </a:lnTo>
                      <a:lnTo>
                        <a:pt x="3508" y="1294"/>
                      </a:lnTo>
                      <a:lnTo>
                        <a:pt x="3511" y="1289"/>
                      </a:lnTo>
                      <a:lnTo>
                        <a:pt x="3508" y="1286"/>
                      </a:lnTo>
                      <a:lnTo>
                        <a:pt x="3503" y="1286"/>
                      </a:lnTo>
                      <a:lnTo>
                        <a:pt x="3499" y="1286"/>
                      </a:lnTo>
                      <a:lnTo>
                        <a:pt x="3494" y="1291"/>
                      </a:lnTo>
                      <a:lnTo>
                        <a:pt x="3489" y="1294"/>
                      </a:lnTo>
                      <a:lnTo>
                        <a:pt x="3483" y="1299"/>
                      </a:lnTo>
                      <a:lnTo>
                        <a:pt x="3478" y="1302"/>
                      </a:lnTo>
                      <a:lnTo>
                        <a:pt x="3470" y="1297"/>
                      </a:lnTo>
                      <a:lnTo>
                        <a:pt x="3461" y="1302"/>
                      </a:lnTo>
                      <a:lnTo>
                        <a:pt x="3458" y="1302"/>
                      </a:lnTo>
                      <a:lnTo>
                        <a:pt x="3447" y="1307"/>
                      </a:lnTo>
                      <a:lnTo>
                        <a:pt x="3445" y="1310"/>
                      </a:lnTo>
                      <a:lnTo>
                        <a:pt x="3445" y="1313"/>
                      </a:lnTo>
                      <a:lnTo>
                        <a:pt x="3437" y="1318"/>
                      </a:lnTo>
                      <a:lnTo>
                        <a:pt x="3430" y="1313"/>
                      </a:lnTo>
                      <a:lnTo>
                        <a:pt x="3425" y="1322"/>
                      </a:lnTo>
                      <a:lnTo>
                        <a:pt x="3422" y="1322"/>
                      </a:lnTo>
                      <a:lnTo>
                        <a:pt x="3420" y="1322"/>
                      </a:lnTo>
                      <a:lnTo>
                        <a:pt x="3417" y="1322"/>
                      </a:lnTo>
                      <a:lnTo>
                        <a:pt x="3414" y="1318"/>
                      </a:lnTo>
                      <a:lnTo>
                        <a:pt x="3412" y="1322"/>
                      </a:lnTo>
                      <a:lnTo>
                        <a:pt x="3404" y="1327"/>
                      </a:lnTo>
                      <a:lnTo>
                        <a:pt x="3397" y="1333"/>
                      </a:lnTo>
                      <a:lnTo>
                        <a:pt x="3401" y="1335"/>
                      </a:lnTo>
                      <a:lnTo>
                        <a:pt x="3397" y="1338"/>
                      </a:lnTo>
                      <a:lnTo>
                        <a:pt x="3397" y="1341"/>
                      </a:lnTo>
                      <a:lnTo>
                        <a:pt x="3395" y="1341"/>
                      </a:lnTo>
                      <a:lnTo>
                        <a:pt x="3392" y="1341"/>
                      </a:lnTo>
                      <a:lnTo>
                        <a:pt x="3386" y="1341"/>
                      </a:lnTo>
                      <a:lnTo>
                        <a:pt x="3384" y="1341"/>
                      </a:lnTo>
                      <a:lnTo>
                        <a:pt x="3381" y="1341"/>
                      </a:lnTo>
                      <a:lnTo>
                        <a:pt x="3381" y="1343"/>
                      </a:lnTo>
                      <a:lnTo>
                        <a:pt x="3381" y="1346"/>
                      </a:lnTo>
                      <a:lnTo>
                        <a:pt x="3378" y="1349"/>
                      </a:lnTo>
                      <a:lnTo>
                        <a:pt x="3381" y="1351"/>
                      </a:lnTo>
                      <a:lnTo>
                        <a:pt x="3378" y="1358"/>
                      </a:lnTo>
                      <a:lnTo>
                        <a:pt x="3381" y="1358"/>
                      </a:lnTo>
                      <a:lnTo>
                        <a:pt x="3381" y="1360"/>
                      </a:lnTo>
                      <a:lnTo>
                        <a:pt x="3378" y="1363"/>
                      </a:lnTo>
                      <a:lnTo>
                        <a:pt x="3378" y="1368"/>
                      </a:lnTo>
                      <a:lnTo>
                        <a:pt x="3376" y="1371"/>
                      </a:lnTo>
                      <a:lnTo>
                        <a:pt x="3376" y="1374"/>
                      </a:lnTo>
                      <a:lnTo>
                        <a:pt x="3373" y="1376"/>
                      </a:lnTo>
                      <a:lnTo>
                        <a:pt x="3373" y="1379"/>
                      </a:lnTo>
                      <a:lnTo>
                        <a:pt x="3373" y="1382"/>
                      </a:lnTo>
                      <a:lnTo>
                        <a:pt x="3373" y="1385"/>
                      </a:lnTo>
                      <a:lnTo>
                        <a:pt x="3370" y="1387"/>
                      </a:lnTo>
                      <a:lnTo>
                        <a:pt x="3373" y="1387"/>
                      </a:lnTo>
                      <a:lnTo>
                        <a:pt x="3373" y="1391"/>
                      </a:lnTo>
                      <a:lnTo>
                        <a:pt x="3376" y="1391"/>
                      </a:lnTo>
                      <a:lnTo>
                        <a:pt x="3373" y="1396"/>
                      </a:lnTo>
                      <a:lnTo>
                        <a:pt x="3376" y="1396"/>
                      </a:lnTo>
                      <a:lnTo>
                        <a:pt x="3373" y="1399"/>
                      </a:lnTo>
                      <a:lnTo>
                        <a:pt x="3376" y="1402"/>
                      </a:lnTo>
                      <a:lnTo>
                        <a:pt x="3370" y="1404"/>
                      </a:lnTo>
                      <a:lnTo>
                        <a:pt x="3373" y="1407"/>
                      </a:lnTo>
                      <a:lnTo>
                        <a:pt x="3368" y="1410"/>
                      </a:lnTo>
                      <a:lnTo>
                        <a:pt x="3370" y="1415"/>
                      </a:lnTo>
                      <a:lnTo>
                        <a:pt x="3368" y="1418"/>
                      </a:lnTo>
                      <a:lnTo>
                        <a:pt x="3361" y="1418"/>
                      </a:lnTo>
                      <a:lnTo>
                        <a:pt x="3359" y="1420"/>
                      </a:lnTo>
                      <a:lnTo>
                        <a:pt x="3356" y="1420"/>
                      </a:lnTo>
                      <a:lnTo>
                        <a:pt x="3356" y="1424"/>
                      </a:lnTo>
                      <a:lnTo>
                        <a:pt x="3353" y="1424"/>
                      </a:lnTo>
                      <a:lnTo>
                        <a:pt x="3348" y="1427"/>
                      </a:lnTo>
                      <a:lnTo>
                        <a:pt x="3348" y="1429"/>
                      </a:lnTo>
                      <a:lnTo>
                        <a:pt x="3348" y="1432"/>
                      </a:lnTo>
                      <a:lnTo>
                        <a:pt x="3345" y="1435"/>
                      </a:lnTo>
                      <a:lnTo>
                        <a:pt x="3345" y="1440"/>
                      </a:lnTo>
                      <a:lnTo>
                        <a:pt x="3343" y="1443"/>
                      </a:lnTo>
                      <a:lnTo>
                        <a:pt x="3345" y="1445"/>
                      </a:lnTo>
                      <a:lnTo>
                        <a:pt x="3348" y="1445"/>
                      </a:lnTo>
                      <a:lnTo>
                        <a:pt x="3348" y="1453"/>
                      </a:lnTo>
                      <a:lnTo>
                        <a:pt x="3356" y="1453"/>
                      </a:lnTo>
                      <a:lnTo>
                        <a:pt x="3365" y="1456"/>
                      </a:lnTo>
                      <a:lnTo>
                        <a:pt x="3361" y="1460"/>
                      </a:lnTo>
                      <a:lnTo>
                        <a:pt x="3368" y="1463"/>
                      </a:lnTo>
                      <a:lnTo>
                        <a:pt x="3368" y="1465"/>
                      </a:lnTo>
                      <a:lnTo>
                        <a:pt x="3370" y="1468"/>
                      </a:lnTo>
                      <a:lnTo>
                        <a:pt x="3368" y="1471"/>
                      </a:lnTo>
                      <a:lnTo>
                        <a:pt x="3376" y="1468"/>
                      </a:lnTo>
                      <a:lnTo>
                        <a:pt x="3376" y="1471"/>
                      </a:lnTo>
                      <a:lnTo>
                        <a:pt x="3384" y="1473"/>
                      </a:lnTo>
                      <a:lnTo>
                        <a:pt x="3384" y="1476"/>
                      </a:lnTo>
                      <a:lnTo>
                        <a:pt x="3386" y="1481"/>
                      </a:lnTo>
                      <a:lnTo>
                        <a:pt x="3386" y="1484"/>
                      </a:lnTo>
                      <a:lnTo>
                        <a:pt x="3389" y="1489"/>
                      </a:lnTo>
                      <a:lnTo>
                        <a:pt x="3386" y="1489"/>
                      </a:lnTo>
                      <a:lnTo>
                        <a:pt x="3395" y="1492"/>
                      </a:lnTo>
                      <a:lnTo>
                        <a:pt x="3401" y="1498"/>
                      </a:lnTo>
                      <a:lnTo>
                        <a:pt x="3404" y="1498"/>
                      </a:lnTo>
                      <a:lnTo>
                        <a:pt x="3406" y="1501"/>
                      </a:lnTo>
                      <a:lnTo>
                        <a:pt x="3409" y="1504"/>
                      </a:lnTo>
                      <a:lnTo>
                        <a:pt x="3406" y="1504"/>
                      </a:lnTo>
                      <a:lnTo>
                        <a:pt x="3401" y="1504"/>
                      </a:lnTo>
                      <a:lnTo>
                        <a:pt x="3386" y="1506"/>
                      </a:lnTo>
                      <a:lnTo>
                        <a:pt x="3384" y="1504"/>
                      </a:lnTo>
                      <a:lnTo>
                        <a:pt x="3381" y="1504"/>
                      </a:lnTo>
                      <a:lnTo>
                        <a:pt x="3378" y="1504"/>
                      </a:lnTo>
                      <a:lnTo>
                        <a:pt x="3378" y="1506"/>
                      </a:lnTo>
                      <a:lnTo>
                        <a:pt x="3376" y="1509"/>
                      </a:lnTo>
                      <a:lnTo>
                        <a:pt x="3370" y="1509"/>
                      </a:lnTo>
                      <a:lnTo>
                        <a:pt x="3368" y="1512"/>
                      </a:lnTo>
                      <a:lnTo>
                        <a:pt x="3361" y="1512"/>
                      </a:lnTo>
                      <a:lnTo>
                        <a:pt x="3359" y="1512"/>
                      </a:lnTo>
                      <a:lnTo>
                        <a:pt x="3361" y="1509"/>
                      </a:lnTo>
                      <a:lnTo>
                        <a:pt x="3365" y="1504"/>
                      </a:lnTo>
                      <a:lnTo>
                        <a:pt x="3356" y="1501"/>
                      </a:lnTo>
                      <a:lnTo>
                        <a:pt x="3351" y="1501"/>
                      </a:lnTo>
                      <a:lnTo>
                        <a:pt x="3343" y="1506"/>
                      </a:lnTo>
                      <a:lnTo>
                        <a:pt x="3343" y="1501"/>
                      </a:lnTo>
                      <a:lnTo>
                        <a:pt x="3343" y="1498"/>
                      </a:lnTo>
                      <a:lnTo>
                        <a:pt x="3345" y="1496"/>
                      </a:lnTo>
                      <a:lnTo>
                        <a:pt x="3343" y="1489"/>
                      </a:lnTo>
                      <a:lnTo>
                        <a:pt x="3335" y="1489"/>
                      </a:lnTo>
                      <a:lnTo>
                        <a:pt x="3332" y="1496"/>
                      </a:lnTo>
                      <a:lnTo>
                        <a:pt x="3328" y="1498"/>
                      </a:lnTo>
                      <a:lnTo>
                        <a:pt x="3320" y="1498"/>
                      </a:lnTo>
                      <a:lnTo>
                        <a:pt x="3318" y="1501"/>
                      </a:lnTo>
                      <a:lnTo>
                        <a:pt x="3318" y="1506"/>
                      </a:lnTo>
                      <a:lnTo>
                        <a:pt x="3315" y="1509"/>
                      </a:lnTo>
                      <a:lnTo>
                        <a:pt x="3312" y="1509"/>
                      </a:lnTo>
                      <a:lnTo>
                        <a:pt x="3309" y="1512"/>
                      </a:lnTo>
                      <a:lnTo>
                        <a:pt x="3309" y="1514"/>
                      </a:lnTo>
                      <a:lnTo>
                        <a:pt x="3307" y="1517"/>
                      </a:lnTo>
                      <a:lnTo>
                        <a:pt x="3304" y="1514"/>
                      </a:lnTo>
                      <a:lnTo>
                        <a:pt x="3301" y="1514"/>
                      </a:lnTo>
                      <a:lnTo>
                        <a:pt x="3296" y="1520"/>
                      </a:lnTo>
                      <a:lnTo>
                        <a:pt x="3292" y="1522"/>
                      </a:lnTo>
                      <a:lnTo>
                        <a:pt x="3284" y="1522"/>
                      </a:lnTo>
                      <a:lnTo>
                        <a:pt x="3279" y="1529"/>
                      </a:lnTo>
                      <a:lnTo>
                        <a:pt x="3279" y="1525"/>
                      </a:lnTo>
                      <a:lnTo>
                        <a:pt x="3276" y="1522"/>
                      </a:lnTo>
                      <a:lnTo>
                        <a:pt x="3274" y="1525"/>
                      </a:lnTo>
                      <a:lnTo>
                        <a:pt x="3271" y="1529"/>
                      </a:lnTo>
                      <a:lnTo>
                        <a:pt x="3274" y="1529"/>
                      </a:lnTo>
                      <a:lnTo>
                        <a:pt x="3271" y="1529"/>
                      </a:lnTo>
                      <a:lnTo>
                        <a:pt x="3271" y="1532"/>
                      </a:lnTo>
                      <a:lnTo>
                        <a:pt x="3271" y="1537"/>
                      </a:lnTo>
                      <a:lnTo>
                        <a:pt x="3274" y="1540"/>
                      </a:lnTo>
                      <a:lnTo>
                        <a:pt x="3276" y="1542"/>
                      </a:lnTo>
                      <a:lnTo>
                        <a:pt x="3282" y="1537"/>
                      </a:lnTo>
                      <a:lnTo>
                        <a:pt x="3284" y="1537"/>
                      </a:lnTo>
                      <a:lnTo>
                        <a:pt x="3284" y="1542"/>
                      </a:lnTo>
                      <a:lnTo>
                        <a:pt x="3290" y="1542"/>
                      </a:lnTo>
                      <a:lnTo>
                        <a:pt x="3284" y="1542"/>
                      </a:lnTo>
                      <a:lnTo>
                        <a:pt x="3279" y="1542"/>
                      </a:lnTo>
                      <a:lnTo>
                        <a:pt x="3276" y="1545"/>
                      </a:lnTo>
                      <a:lnTo>
                        <a:pt x="3274" y="1545"/>
                      </a:lnTo>
                      <a:lnTo>
                        <a:pt x="3271" y="1545"/>
                      </a:lnTo>
                      <a:lnTo>
                        <a:pt x="3268" y="1553"/>
                      </a:lnTo>
                      <a:lnTo>
                        <a:pt x="3268" y="1556"/>
                      </a:lnTo>
                      <a:lnTo>
                        <a:pt x="3271" y="1556"/>
                      </a:lnTo>
                      <a:lnTo>
                        <a:pt x="3266" y="1561"/>
                      </a:lnTo>
                      <a:lnTo>
                        <a:pt x="3266" y="1567"/>
                      </a:lnTo>
                      <a:lnTo>
                        <a:pt x="3263" y="1565"/>
                      </a:lnTo>
                      <a:lnTo>
                        <a:pt x="3263" y="1556"/>
                      </a:lnTo>
                      <a:lnTo>
                        <a:pt x="3257" y="1556"/>
                      </a:lnTo>
                      <a:lnTo>
                        <a:pt x="3254" y="1558"/>
                      </a:lnTo>
                      <a:lnTo>
                        <a:pt x="3257" y="1553"/>
                      </a:lnTo>
                      <a:lnTo>
                        <a:pt x="3254" y="1553"/>
                      </a:lnTo>
                      <a:lnTo>
                        <a:pt x="3251" y="1556"/>
                      </a:lnTo>
                      <a:lnTo>
                        <a:pt x="3246" y="1558"/>
                      </a:lnTo>
                      <a:lnTo>
                        <a:pt x="3254" y="1561"/>
                      </a:lnTo>
                      <a:lnTo>
                        <a:pt x="3251" y="1565"/>
                      </a:lnTo>
                      <a:lnTo>
                        <a:pt x="3254" y="1565"/>
                      </a:lnTo>
                      <a:lnTo>
                        <a:pt x="3254" y="1567"/>
                      </a:lnTo>
                      <a:lnTo>
                        <a:pt x="3251" y="1570"/>
                      </a:lnTo>
                      <a:lnTo>
                        <a:pt x="3251" y="1567"/>
                      </a:lnTo>
                      <a:lnTo>
                        <a:pt x="3249" y="1567"/>
                      </a:lnTo>
                      <a:lnTo>
                        <a:pt x="3249" y="1565"/>
                      </a:lnTo>
                      <a:lnTo>
                        <a:pt x="3243" y="1561"/>
                      </a:lnTo>
                      <a:lnTo>
                        <a:pt x="3240" y="1565"/>
                      </a:lnTo>
                      <a:lnTo>
                        <a:pt x="3243" y="1558"/>
                      </a:lnTo>
                      <a:lnTo>
                        <a:pt x="3238" y="1558"/>
                      </a:lnTo>
                      <a:lnTo>
                        <a:pt x="3238" y="1556"/>
                      </a:lnTo>
                      <a:lnTo>
                        <a:pt x="3232" y="1558"/>
                      </a:lnTo>
                      <a:lnTo>
                        <a:pt x="3230" y="1556"/>
                      </a:lnTo>
                      <a:lnTo>
                        <a:pt x="3227" y="1556"/>
                      </a:lnTo>
                      <a:lnTo>
                        <a:pt x="3227" y="1558"/>
                      </a:lnTo>
                      <a:lnTo>
                        <a:pt x="3227" y="1561"/>
                      </a:lnTo>
                      <a:lnTo>
                        <a:pt x="3232" y="1565"/>
                      </a:lnTo>
                      <a:lnTo>
                        <a:pt x="3230" y="1570"/>
                      </a:lnTo>
                      <a:lnTo>
                        <a:pt x="3232" y="1570"/>
                      </a:lnTo>
                      <a:lnTo>
                        <a:pt x="3232" y="1575"/>
                      </a:lnTo>
                      <a:lnTo>
                        <a:pt x="3230" y="1575"/>
                      </a:lnTo>
                      <a:lnTo>
                        <a:pt x="3227" y="1575"/>
                      </a:lnTo>
                      <a:lnTo>
                        <a:pt x="3223" y="1575"/>
                      </a:lnTo>
                      <a:lnTo>
                        <a:pt x="3221" y="1575"/>
                      </a:lnTo>
                      <a:lnTo>
                        <a:pt x="3221" y="1573"/>
                      </a:lnTo>
                      <a:lnTo>
                        <a:pt x="3221" y="1570"/>
                      </a:lnTo>
                      <a:lnTo>
                        <a:pt x="3218" y="1567"/>
                      </a:lnTo>
                      <a:lnTo>
                        <a:pt x="3210" y="1570"/>
                      </a:lnTo>
                      <a:lnTo>
                        <a:pt x="3205" y="1575"/>
                      </a:lnTo>
                      <a:lnTo>
                        <a:pt x="3205" y="1578"/>
                      </a:lnTo>
                      <a:lnTo>
                        <a:pt x="3210" y="1581"/>
                      </a:lnTo>
                      <a:lnTo>
                        <a:pt x="3210" y="1578"/>
                      </a:lnTo>
                      <a:lnTo>
                        <a:pt x="3210" y="1581"/>
                      </a:lnTo>
                      <a:lnTo>
                        <a:pt x="3210" y="1586"/>
                      </a:lnTo>
                      <a:lnTo>
                        <a:pt x="3213" y="1586"/>
                      </a:lnTo>
                      <a:lnTo>
                        <a:pt x="3210" y="1586"/>
                      </a:lnTo>
                      <a:lnTo>
                        <a:pt x="3213" y="1589"/>
                      </a:lnTo>
                      <a:lnTo>
                        <a:pt x="3213" y="1592"/>
                      </a:lnTo>
                      <a:lnTo>
                        <a:pt x="3210" y="1592"/>
                      </a:lnTo>
                      <a:lnTo>
                        <a:pt x="3202" y="1592"/>
                      </a:lnTo>
                      <a:lnTo>
                        <a:pt x="3199" y="1597"/>
                      </a:lnTo>
                      <a:lnTo>
                        <a:pt x="3194" y="1597"/>
                      </a:lnTo>
                      <a:lnTo>
                        <a:pt x="3197" y="1597"/>
                      </a:lnTo>
                      <a:lnTo>
                        <a:pt x="3194" y="1594"/>
                      </a:lnTo>
                      <a:lnTo>
                        <a:pt x="3190" y="1601"/>
                      </a:lnTo>
                      <a:lnTo>
                        <a:pt x="3190" y="1594"/>
                      </a:lnTo>
                      <a:lnTo>
                        <a:pt x="3185" y="1594"/>
                      </a:lnTo>
                      <a:lnTo>
                        <a:pt x="3182" y="1594"/>
                      </a:lnTo>
                      <a:lnTo>
                        <a:pt x="3185" y="1592"/>
                      </a:lnTo>
                      <a:lnTo>
                        <a:pt x="3182" y="1589"/>
                      </a:lnTo>
                      <a:lnTo>
                        <a:pt x="3180" y="1589"/>
                      </a:lnTo>
                      <a:lnTo>
                        <a:pt x="3177" y="1589"/>
                      </a:lnTo>
                      <a:lnTo>
                        <a:pt x="3169" y="1592"/>
                      </a:lnTo>
                      <a:lnTo>
                        <a:pt x="3161" y="1597"/>
                      </a:lnTo>
                      <a:lnTo>
                        <a:pt x="3152" y="1609"/>
                      </a:lnTo>
                      <a:lnTo>
                        <a:pt x="3152" y="1611"/>
                      </a:lnTo>
                      <a:lnTo>
                        <a:pt x="3146" y="1614"/>
                      </a:lnTo>
                      <a:lnTo>
                        <a:pt x="3144" y="1611"/>
                      </a:lnTo>
                      <a:lnTo>
                        <a:pt x="3138" y="1614"/>
                      </a:lnTo>
                      <a:lnTo>
                        <a:pt x="3136" y="1614"/>
                      </a:lnTo>
                      <a:lnTo>
                        <a:pt x="3136" y="1611"/>
                      </a:lnTo>
                      <a:lnTo>
                        <a:pt x="3133" y="1611"/>
                      </a:lnTo>
                      <a:lnTo>
                        <a:pt x="3128" y="1614"/>
                      </a:lnTo>
                      <a:lnTo>
                        <a:pt x="3121" y="1622"/>
                      </a:lnTo>
                      <a:lnTo>
                        <a:pt x="3121" y="1636"/>
                      </a:lnTo>
                      <a:lnTo>
                        <a:pt x="3125" y="1644"/>
                      </a:lnTo>
                      <a:lnTo>
                        <a:pt x="3128" y="1652"/>
                      </a:lnTo>
                      <a:lnTo>
                        <a:pt x="3130" y="1652"/>
                      </a:lnTo>
                      <a:lnTo>
                        <a:pt x="3136" y="1652"/>
                      </a:lnTo>
                      <a:lnTo>
                        <a:pt x="3136" y="1658"/>
                      </a:lnTo>
                      <a:lnTo>
                        <a:pt x="3130" y="1663"/>
                      </a:lnTo>
                      <a:lnTo>
                        <a:pt x="3136" y="1675"/>
                      </a:lnTo>
                      <a:lnTo>
                        <a:pt x="3136" y="1683"/>
                      </a:lnTo>
                      <a:lnTo>
                        <a:pt x="3136" y="1688"/>
                      </a:lnTo>
                      <a:lnTo>
                        <a:pt x="3133" y="1686"/>
                      </a:lnTo>
                      <a:lnTo>
                        <a:pt x="3133" y="1688"/>
                      </a:lnTo>
                      <a:lnTo>
                        <a:pt x="3133" y="1691"/>
                      </a:lnTo>
                      <a:lnTo>
                        <a:pt x="3128" y="1694"/>
                      </a:lnTo>
                      <a:lnTo>
                        <a:pt x="3121" y="1696"/>
                      </a:lnTo>
                      <a:lnTo>
                        <a:pt x="3119" y="1694"/>
                      </a:lnTo>
                      <a:lnTo>
                        <a:pt x="3116" y="1696"/>
                      </a:lnTo>
                      <a:lnTo>
                        <a:pt x="3116" y="1694"/>
                      </a:lnTo>
                      <a:lnTo>
                        <a:pt x="3108" y="1691"/>
                      </a:lnTo>
                      <a:lnTo>
                        <a:pt x="3103" y="1696"/>
                      </a:lnTo>
                      <a:lnTo>
                        <a:pt x="3100" y="1696"/>
                      </a:lnTo>
                      <a:lnTo>
                        <a:pt x="3097" y="1699"/>
                      </a:lnTo>
                      <a:lnTo>
                        <a:pt x="3094" y="1699"/>
                      </a:lnTo>
                      <a:lnTo>
                        <a:pt x="3094" y="1702"/>
                      </a:lnTo>
                      <a:lnTo>
                        <a:pt x="3088" y="1702"/>
                      </a:lnTo>
                      <a:lnTo>
                        <a:pt x="3088" y="1696"/>
                      </a:lnTo>
                      <a:lnTo>
                        <a:pt x="3080" y="1696"/>
                      </a:lnTo>
                      <a:lnTo>
                        <a:pt x="3080" y="1691"/>
                      </a:lnTo>
                      <a:lnTo>
                        <a:pt x="3077" y="1688"/>
                      </a:lnTo>
                      <a:lnTo>
                        <a:pt x="3072" y="1688"/>
                      </a:lnTo>
                      <a:lnTo>
                        <a:pt x="3072" y="1683"/>
                      </a:lnTo>
                      <a:lnTo>
                        <a:pt x="3069" y="1680"/>
                      </a:lnTo>
                      <a:lnTo>
                        <a:pt x="3059" y="1680"/>
                      </a:lnTo>
                      <a:lnTo>
                        <a:pt x="3056" y="1683"/>
                      </a:lnTo>
                      <a:lnTo>
                        <a:pt x="3047" y="1686"/>
                      </a:lnTo>
                      <a:lnTo>
                        <a:pt x="3044" y="1686"/>
                      </a:lnTo>
                      <a:lnTo>
                        <a:pt x="3042" y="1683"/>
                      </a:lnTo>
                      <a:lnTo>
                        <a:pt x="3044" y="1678"/>
                      </a:lnTo>
                      <a:lnTo>
                        <a:pt x="3039" y="1678"/>
                      </a:lnTo>
                      <a:lnTo>
                        <a:pt x="3036" y="1678"/>
                      </a:lnTo>
                      <a:lnTo>
                        <a:pt x="3036" y="1675"/>
                      </a:lnTo>
                      <a:lnTo>
                        <a:pt x="3031" y="1675"/>
                      </a:lnTo>
                      <a:lnTo>
                        <a:pt x="3028" y="1678"/>
                      </a:lnTo>
                      <a:lnTo>
                        <a:pt x="3028" y="1675"/>
                      </a:lnTo>
                      <a:lnTo>
                        <a:pt x="3025" y="1675"/>
                      </a:lnTo>
                      <a:lnTo>
                        <a:pt x="3019" y="1675"/>
                      </a:lnTo>
                      <a:lnTo>
                        <a:pt x="3016" y="1678"/>
                      </a:lnTo>
                      <a:lnTo>
                        <a:pt x="3014" y="1672"/>
                      </a:lnTo>
                      <a:lnTo>
                        <a:pt x="3011" y="1672"/>
                      </a:lnTo>
                      <a:lnTo>
                        <a:pt x="3008" y="1672"/>
                      </a:lnTo>
                      <a:lnTo>
                        <a:pt x="3006" y="1672"/>
                      </a:lnTo>
                      <a:lnTo>
                        <a:pt x="3000" y="1672"/>
                      </a:lnTo>
                      <a:lnTo>
                        <a:pt x="2990" y="1672"/>
                      </a:lnTo>
                      <a:lnTo>
                        <a:pt x="2990" y="1670"/>
                      </a:lnTo>
                      <a:lnTo>
                        <a:pt x="2987" y="1670"/>
                      </a:lnTo>
                      <a:lnTo>
                        <a:pt x="2973" y="1672"/>
                      </a:lnTo>
                      <a:lnTo>
                        <a:pt x="2973" y="1670"/>
                      </a:lnTo>
                      <a:lnTo>
                        <a:pt x="2967" y="1666"/>
                      </a:lnTo>
                      <a:lnTo>
                        <a:pt x="2954" y="1666"/>
                      </a:lnTo>
                      <a:lnTo>
                        <a:pt x="2931" y="1670"/>
                      </a:lnTo>
                      <a:lnTo>
                        <a:pt x="2901" y="1678"/>
                      </a:lnTo>
                      <a:lnTo>
                        <a:pt x="2895" y="1680"/>
                      </a:lnTo>
                      <a:lnTo>
                        <a:pt x="2893" y="1686"/>
                      </a:lnTo>
                      <a:lnTo>
                        <a:pt x="2887" y="1683"/>
                      </a:lnTo>
                      <a:lnTo>
                        <a:pt x="2878" y="1688"/>
                      </a:lnTo>
                      <a:lnTo>
                        <a:pt x="2876" y="1691"/>
                      </a:lnTo>
                      <a:lnTo>
                        <a:pt x="2876" y="1694"/>
                      </a:lnTo>
                      <a:lnTo>
                        <a:pt x="2873" y="1696"/>
                      </a:lnTo>
                      <a:lnTo>
                        <a:pt x="2870" y="1696"/>
                      </a:lnTo>
                      <a:lnTo>
                        <a:pt x="2873" y="1694"/>
                      </a:lnTo>
                      <a:lnTo>
                        <a:pt x="2870" y="1691"/>
                      </a:lnTo>
                      <a:lnTo>
                        <a:pt x="2868" y="1688"/>
                      </a:lnTo>
                      <a:lnTo>
                        <a:pt x="2860" y="1691"/>
                      </a:lnTo>
                      <a:lnTo>
                        <a:pt x="2843" y="1699"/>
                      </a:lnTo>
                      <a:lnTo>
                        <a:pt x="2837" y="1702"/>
                      </a:lnTo>
                      <a:lnTo>
                        <a:pt x="2837" y="1708"/>
                      </a:lnTo>
                      <a:lnTo>
                        <a:pt x="2835" y="1708"/>
                      </a:lnTo>
                      <a:lnTo>
                        <a:pt x="2832" y="1711"/>
                      </a:lnTo>
                      <a:lnTo>
                        <a:pt x="2840" y="1708"/>
                      </a:lnTo>
                      <a:lnTo>
                        <a:pt x="2837" y="1711"/>
                      </a:lnTo>
                      <a:lnTo>
                        <a:pt x="2835" y="1716"/>
                      </a:lnTo>
                      <a:lnTo>
                        <a:pt x="2835" y="1721"/>
                      </a:lnTo>
                      <a:lnTo>
                        <a:pt x="2829" y="1724"/>
                      </a:lnTo>
                      <a:lnTo>
                        <a:pt x="2829" y="1727"/>
                      </a:lnTo>
                      <a:lnTo>
                        <a:pt x="2832" y="1727"/>
                      </a:lnTo>
                      <a:lnTo>
                        <a:pt x="2829" y="1730"/>
                      </a:lnTo>
                      <a:lnTo>
                        <a:pt x="2826" y="1730"/>
                      </a:lnTo>
                      <a:lnTo>
                        <a:pt x="2818" y="1735"/>
                      </a:lnTo>
                      <a:lnTo>
                        <a:pt x="2818" y="1741"/>
                      </a:lnTo>
                      <a:lnTo>
                        <a:pt x="2821" y="1744"/>
                      </a:lnTo>
                      <a:lnTo>
                        <a:pt x="2824" y="1741"/>
                      </a:lnTo>
                      <a:lnTo>
                        <a:pt x="2824" y="1744"/>
                      </a:lnTo>
                      <a:lnTo>
                        <a:pt x="2826" y="1744"/>
                      </a:lnTo>
                      <a:lnTo>
                        <a:pt x="2824" y="1747"/>
                      </a:lnTo>
                      <a:lnTo>
                        <a:pt x="2821" y="1749"/>
                      </a:lnTo>
                      <a:lnTo>
                        <a:pt x="2816" y="1752"/>
                      </a:lnTo>
                      <a:lnTo>
                        <a:pt x="2816" y="1757"/>
                      </a:lnTo>
                      <a:lnTo>
                        <a:pt x="2816" y="1763"/>
                      </a:lnTo>
                      <a:lnTo>
                        <a:pt x="2818" y="1763"/>
                      </a:lnTo>
                      <a:lnTo>
                        <a:pt x="2812" y="1763"/>
                      </a:lnTo>
                      <a:lnTo>
                        <a:pt x="2809" y="1765"/>
                      </a:lnTo>
                      <a:lnTo>
                        <a:pt x="2809" y="1768"/>
                      </a:lnTo>
                      <a:lnTo>
                        <a:pt x="2807" y="1765"/>
                      </a:lnTo>
                      <a:lnTo>
                        <a:pt x="2809" y="1763"/>
                      </a:lnTo>
                      <a:lnTo>
                        <a:pt x="2804" y="1763"/>
                      </a:lnTo>
                      <a:lnTo>
                        <a:pt x="2791" y="1763"/>
                      </a:lnTo>
                      <a:lnTo>
                        <a:pt x="2785" y="1768"/>
                      </a:lnTo>
                      <a:lnTo>
                        <a:pt x="2783" y="1771"/>
                      </a:lnTo>
                      <a:lnTo>
                        <a:pt x="2785" y="1774"/>
                      </a:lnTo>
                      <a:lnTo>
                        <a:pt x="2783" y="1774"/>
                      </a:lnTo>
                      <a:lnTo>
                        <a:pt x="2780" y="1774"/>
                      </a:lnTo>
                      <a:lnTo>
                        <a:pt x="2776" y="1777"/>
                      </a:lnTo>
                      <a:lnTo>
                        <a:pt x="2776" y="1782"/>
                      </a:lnTo>
                      <a:lnTo>
                        <a:pt x="2774" y="1788"/>
                      </a:lnTo>
                      <a:lnTo>
                        <a:pt x="2774" y="1785"/>
                      </a:lnTo>
                      <a:lnTo>
                        <a:pt x="2776" y="1780"/>
                      </a:lnTo>
                      <a:lnTo>
                        <a:pt x="2774" y="1777"/>
                      </a:lnTo>
                      <a:lnTo>
                        <a:pt x="2771" y="1774"/>
                      </a:lnTo>
                      <a:lnTo>
                        <a:pt x="2768" y="1777"/>
                      </a:lnTo>
                      <a:lnTo>
                        <a:pt x="2766" y="1780"/>
                      </a:lnTo>
                      <a:lnTo>
                        <a:pt x="2766" y="1777"/>
                      </a:lnTo>
                      <a:lnTo>
                        <a:pt x="2763" y="1777"/>
                      </a:lnTo>
                      <a:lnTo>
                        <a:pt x="2760" y="1777"/>
                      </a:lnTo>
                      <a:lnTo>
                        <a:pt x="2760" y="1768"/>
                      </a:lnTo>
                      <a:lnTo>
                        <a:pt x="2766" y="1765"/>
                      </a:lnTo>
                      <a:lnTo>
                        <a:pt x="2763" y="1760"/>
                      </a:lnTo>
                      <a:lnTo>
                        <a:pt x="2760" y="1757"/>
                      </a:lnTo>
                      <a:lnTo>
                        <a:pt x="2752" y="1755"/>
                      </a:lnTo>
                      <a:lnTo>
                        <a:pt x="2747" y="1755"/>
                      </a:lnTo>
                      <a:lnTo>
                        <a:pt x="2740" y="1755"/>
                      </a:lnTo>
                      <a:lnTo>
                        <a:pt x="2740" y="1757"/>
                      </a:lnTo>
                      <a:lnTo>
                        <a:pt x="2740" y="1760"/>
                      </a:lnTo>
                      <a:lnTo>
                        <a:pt x="2738" y="1755"/>
                      </a:lnTo>
                      <a:lnTo>
                        <a:pt x="2735" y="1755"/>
                      </a:lnTo>
                      <a:lnTo>
                        <a:pt x="2732" y="1757"/>
                      </a:lnTo>
                      <a:lnTo>
                        <a:pt x="2735" y="1757"/>
                      </a:lnTo>
                      <a:lnTo>
                        <a:pt x="2738" y="1763"/>
                      </a:lnTo>
                      <a:lnTo>
                        <a:pt x="2738" y="1765"/>
                      </a:lnTo>
                      <a:lnTo>
                        <a:pt x="2732" y="1765"/>
                      </a:lnTo>
                      <a:lnTo>
                        <a:pt x="2732" y="1768"/>
                      </a:lnTo>
                      <a:lnTo>
                        <a:pt x="2732" y="1771"/>
                      </a:lnTo>
                      <a:lnTo>
                        <a:pt x="2735" y="1774"/>
                      </a:lnTo>
                      <a:lnTo>
                        <a:pt x="2732" y="1774"/>
                      </a:lnTo>
                      <a:lnTo>
                        <a:pt x="2732" y="1777"/>
                      </a:lnTo>
                      <a:lnTo>
                        <a:pt x="2730" y="1782"/>
                      </a:lnTo>
                      <a:lnTo>
                        <a:pt x="2727" y="1782"/>
                      </a:lnTo>
                      <a:lnTo>
                        <a:pt x="2730" y="1777"/>
                      </a:lnTo>
                      <a:lnTo>
                        <a:pt x="2722" y="1774"/>
                      </a:lnTo>
                      <a:lnTo>
                        <a:pt x="2705" y="1777"/>
                      </a:lnTo>
                      <a:lnTo>
                        <a:pt x="2689" y="1785"/>
                      </a:lnTo>
                      <a:lnTo>
                        <a:pt x="2645" y="1804"/>
                      </a:lnTo>
                      <a:lnTo>
                        <a:pt x="2602" y="1829"/>
                      </a:lnTo>
                      <a:lnTo>
                        <a:pt x="2569" y="1846"/>
                      </a:lnTo>
                      <a:lnTo>
                        <a:pt x="2564" y="1851"/>
                      </a:lnTo>
                      <a:lnTo>
                        <a:pt x="2556" y="1854"/>
                      </a:lnTo>
                      <a:lnTo>
                        <a:pt x="2528" y="1873"/>
                      </a:lnTo>
                      <a:lnTo>
                        <a:pt x="2509" y="1885"/>
                      </a:lnTo>
                      <a:lnTo>
                        <a:pt x="2484" y="1906"/>
                      </a:lnTo>
                      <a:lnTo>
                        <a:pt x="2484" y="1909"/>
                      </a:lnTo>
                      <a:lnTo>
                        <a:pt x="2484" y="1918"/>
                      </a:lnTo>
                      <a:lnTo>
                        <a:pt x="2481" y="1920"/>
                      </a:lnTo>
                      <a:lnTo>
                        <a:pt x="2476" y="1926"/>
                      </a:lnTo>
                      <a:lnTo>
                        <a:pt x="2479" y="1928"/>
                      </a:lnTo>
                      <a:lnTo>
                        <a:pt x="2481" y="1931"/>
                      </a:lnTo>
                      <a:lnTo>
                        <a:pt x="2481" y="1934"/>
                      </a:lnTo>
                      <a:lnTo>
                        <a:pt x="2484" y="1934"/>
                      </a:lnTo>
                      <a:lnTo>
                        <a:pt x="2481" y="1936"/>
                      </a:lnTo>
                      <a:lnTo>
                        <a:pt x="2484" y="1939"/>
                      </a:lnTo>
                      <a:lnTo>
                        <a:pt x="2481" y="1939"/>
                      </a:lnTo>
                      <a:lnTo>
                        <a:pt x="2481" y="1942"/>
                      </a:lnTo>
                      <a:lnTo>
                        <a:pt x="2479" y="1939"/>
                      </a:lnTo>
                      <a:lnTo>
                        <a:pt x="2476" y="1942"/>
                      </a:lnTo>
                      <a:lnTo>
                        <a:pt x="2476" y="1945"/>
                      </a:lnTo>
                      <a:lnTo>
                        <a:pt x="2473" y="1945"/>
                      </a:lnTo>
                      <a:lnTo>
                        <a:pt x="2464" y="1948"/>
                      </a:lnTo>
                      <a:lnTo>
                        <a:pt x="2454" y="1954"/>
                      </a:lnTo>
                      <a:lnTo>
                        <a:pt x="2448" y="1959"/>
                      </a:lnTo>
                      <a:lnTo>
                        <a:pt x="2429" y="1972"/>
                      </a:lnTo>
                      <a:lnTo>
                        <a:pt x="2412" y="1984"/>
                      </a:lnTo>
                      <a:lnTo>
                        <a:pt x="2410" y="1987"/>
                      </a:lnTo>
                      <a:lnTo>
                        <a:pt x="2410" y="1992"/>
                      </a:lnTo>
                      <a:lnTo>
                        <a:pt x="2404" y="1995"/>
                      </a:lnTo>
                      <a:lnTo>
                        <a:pt x="2393" y="2003"/>
                      </a:lnTo>
                      <a:lnTo>
                        <a:pt x="2393" y="2006"/>
                      </a:lnTo>
                      <a:lnTo>
                        <a:pt x="2382" y="2008"/>
                      </a:lnTo>
                      <a:lnTo>
                        <a:pt x="2324" y="2044"/>
                      </a:lnTo>
                      <a:lnTo>
                        <a:pt x="2321" y="2044"/>
                      </a:lnTo>
                      <a:lnTo>
                        <a:pt x="2321" y="2047"/>
                      </a:lnTo>
                      <a:lnTo>
                        <a:pt x="2308" y="2056"/>
                      </a:lnTo>
                      <a:lnTo>
                        <a:pt x="2305" y="2061"/>
                      </a:lnTo>
                      <a:lnTo>
                        <a:pt x="2285" y="2066"/>
                      </a:lnTo>
                      <a:lnTo>
                        <a:pt x="2269" y="2077"/>
                      </a:lnTo>
                      <a:lnTo>
                        <a:pt x="2233" y="2100"/>
                      </a:lnTo>
                      <a:lnTo>
                        <a:pt x="2219" y="2110"/>
                      </a:lnTo>
                      <a:lnTo>
                        <a:pt x="2170" y="2149"/>
                      </a:lnTo>
                      <a:lnTo>
                        <a:pt x="2142" y="2177"/>
                      </a:lnTo>
                      <a:lnTo>
                        <a:pt x="2129" y="2194"/>
                      </a:lnTo>
                      <a:lnTo>
                        <a:pt x="2125" y="2202"/>
                      </a:lnTo>
                      <a:lnTo>
                        <a:pt x="2122" y="2210"/>
                      </a:lnTo>
                      <a:lnTo>
                        <a:pt x="2114" y="2210"/>
                      </a:lnTo>
                      <a:lnTo>
                        <a:pt x="2114" y="2213"/>
                      </a:lnTo>
                      <a:lnTo>
                        <a:pt x="2117" y="2221"/>
                      </a:lnTo>
                      <a:lnTo>
                        <a:pt x="2119" y="2223"/>
                      </a:lnTo>
                      <a:lnTo>
                        <a:pt x="2119" y="2227"/>
                      </a:lnTo>
                      <a:lnTo>
                        <a:pt x="2119" y="2232"/>
                      </a:lnTo>
                      <a:lnTo>
                        <a:pt x="2114" y="2238"/>
                      </a:lnTo>
                      <a:lnTo>
                        <a:pt x="2111" y="2248"/>
                      </a:lnTo>
                      <a:lnTo>
                        <a:pt x="2111" y="2251"/>
                      </a:lnTo>
                      <a:lnTo>
                        <a:pt x="2114" y="2251"/>
                      </a:lnTo>
                      <a:lnTo>
                        <a:pt x="2114" y="2254"/>
                      </a:lnTo>
                      <a:lnTo>
                        <a:pt x="2114" y="2256"/>
                      </a:lnTo>
                      <a:lnTo>
                        <a:pt x="2114" y="2254"/>
                      </a:lnTo>
                      <a:lnTo>
                        <a:pt x="2111" y="2254"/>
                      </a:lnTo>
                      <a:lnTo>
                        <a:pt x="2109" y="2254"/>
                      </a:lnTo>
                      <a:lnTo>
                        <a:pt x="2101" y="2259"/>
                      </a:lnTo>
                      <a:lnTo>
                        <a:pt x="2089" y="2271"/>
                      </a:lnTo>
                      <a:lnTo>
                        <a:pt x="2067" y="2287"/>
                      </a:lnTo>
                      <a:lnTo>
                        <a:pt x="2040" y="2317"/>
                      </a:lnTo>
                      <a:lnTo>
                        <a:pt x="2037" y="2317"/>
                      </a:lnTo>
                      <a:lnTo>
                        <a:pt x="2037" y="2312"/>
                      </a:lnTo>
                      <a:lnTo>
                        <a:pt x="2042" y="2307"/>
                      </a:lnTo>
                      <a:lnTo>
                        <a:pt x="2067" y="2284"/>
                      </a:lnTo>
                      <a:lnTo>
                        <a:pt x="2065" y="2281"/>
                      </a:lnTo>
                      <a:lnTo>
                        <a:pt x="2067" y="2279"/>
                      </a:lnTo>
                      <a:lnTo>
                        <a:pt x="2065" y="2279"/>
                      </a:lnTo>
                      <a:lnTo>
                        <a:pt x="2062" y="2279"/>
                      </a:lnTo>
                      <a:lnTo>
                        <a:pt x="2060" y="2281"/>
                      </a:lnTo>
                      <a:lnTo>
                        <a:pt x="2053" y="2279"/>
                      </a:lnTo>
                      <a:lnTo>
                        <a:pt x="2053" y="2281"/>
                      </a:lnTo>
                      <a:lnTo>
                        <a:pt x="2053" y="2284"/>
                      </a:lnTo>
                      <a:lnTo>
                        <a:pt x="2053" y="2287"/>
                      </a:lnTo>
                      <a:lnTo>
                        <a:pt x="2048" y="2287"/>
                      </a:lnTo>
                      <a:lnTo>
                        <a:pt x="2045" y="2290"/>
                      </a:lnTo>
                      <a:lnTo>
                        <a:pt x="2042" y="2287"/>
                      </a:lnTo>
                      <a:lnTo>
                        <a:pt x="2037" y="2290"/>
                      </a:lnTo>
                      <a:lnTo>
                        <a:pt x="2032" y="2292"/>
                      </a:lnTo>
                      <a:lnTo>
                        <a:pt x="2017" y="2281"/>
                      </a:lnTo>
                      <a:lnTo>
                        <a:pt x="2015" y="2279"/>
                      </a:lnTo>
                      <a:lnTo>
                        <a:pt x="2012" y="2273"/>
                      </a:lnTo>
                      <a:lnTo>
                        <a:pt x="2007" y="2273"/>
                      </a:lnTo>
                      <a:lnTo>
                        <a:pt x="2001" y="2271"/>
                      </a:lnTo>
                      <a:lnTo>
                        <a:pt x="1998" y="2265"/>
                      </a:lnTo>
                      <a:lnTo>
                        <a:pt x="2007" y="2263"/>
                      </a:lnTo>
                      <a:lnTo>
                        <a:pt x="2009" y="2256"/>
                      </a:lnTo>
                      <a:lnTo>
                        <a:pt x="2009" y="2251"/>
                      </a:lnTo>
                      <a:lnTo>
                        <a:pt x="2012" y="2251"/>
                      </a:lnTo>
                      <a:lnTo>
                        <a:pt x="2015" y="2248"/>
                      </a:lnTo>
                      <a:lnTo>
                        <a:pt x="2009" y="2246"/>
                      </a:lnTo>
                      <a:lnTo>
                        <a:pt x="2004" y="2243"/>
                      </a:lnTo>
                      <a:lnTo>
                        <a:pt x="2004" y="2240"/>
                      </a:lnTo>
                      <a:lnTo>
                        <a:pt x="1998" y="2235"/>
                      </a:lnTo>
                      <a:lnTo>
                        <a:pt x="1998" y="2232"/>
                      </a:lnTo>
                      <a:lnTo>
                        <a:pt x="1993" y="2223"/>
                      </a:lnTo>
                      <a:lnTo>
                        <a:pt x="1993" y="2221"/>
                      </a:lnTo>
                      <a:lnTo>
                        <a:pt x="1990" y="2218"/>
                      </a:lnTo>
                      <a:lnTo>
                        <a:pt x="1993" y="2213"/>
                      </a:lnTo>
                      <a:lnTo>
                        <a:pt x="1990" y="2204"/>
                      </a:lnTo>
                      <a:lnTo>
                        <a:pt x="1993" y="2202"/>
                      </a:lnTo>
                      <a:lnTo>
                        <a:pt x="1993" y="2199"/>
                      </a:lnTo>
                      <a:lnTo>
                        <a:pt x="1990" y="2199"/>
                      </a:lnTo>
                      <a:lnTo>
                        <a:pt x="1984" y="2196"/>
                      </a:lnTo>
                      <a:lnTo>
                        <a:pt x="1984" y="2194"/>
                      </a:lnTo>
                      <a:lnTo>
                        <a:pt x="1987" y="2190"/>
                      </a:lnTo>
                      <a:lnTo>
                        <a:pt x="1984" y="2190"/>
                      </a:lnTo>
                      <a:lnTo>
                        <a:pt x="1984" y="2187"/>
                      </a:lnTo>
                      <a:lnTo>
                        <a:pt x="1981" y="2185"/>
                      </a:lnTo>
                      <a:lnTo>
                        <a:pt x="1979" y="2182"/>
                      </a:lnTo>
                      <a:lnTo>
                        <a:pt x="1976" y="2177"/>
                      </a:lnTo>
                      <a:lnTo>
                        <a:pt x="1973" y="2179"/>
                      </a:lnTo>
                      <a:lnTo>
                        <a:pt x="1973" y="2182"/>
                      </a:lnTo>
                      <a:lnTo>
                        <a:pt x="1973" y="2185"/>
                      </a:lnTo>
                      <a:lnTo>
                        <a:pt x="1971" y="2185"/>
                      </a:lnTo>
                      <a:lnTo>
                        <a:pt x="1968" y="2185"/>
                      </a:lnTo>
                      <a:lnTo>
                        <a:pt x="1968" y="2187"/>
                      </a:lnTo>
                      <a:lnTo>
                        <a:pt x="1968" y="2190"/>
                      </a:lnTo>
                      <a:lnTo>
                        <a:pt x="1965" y="2194"/>
                      </a:lnTo>
                      <a:lnTo>
                        <a:pt x="1965" y="2196"/>
                      </a:lnTo>
                      <a:lnTo>
                        <a:pt x="1965" y="2202"/>
                      </a:lnTo>
                      <a:lnTo>
                        <a:pt x="1963" y="2202"/>
                      </a:lnTo>
                      <a:lnTo>
                        <a:pt x="1960" y="2196"/>
                      </a:lnTo>
                      <a:lnTo>
                        <a:pt x="1957" y="2196"/>
                      </a:lnTo>
                      <a:lnTo>
                        <a:pt x="1957" y="2199"/>
                      </a:lnTo>
                      <a:lnTo>
                        <a:pt x="1951" y="2204"/>
                      </a:lnTo>
                      <a:lnTo>
                        <a:pt x="1948" y="2210"/>
                      </a:lnTo>
                      <a:lnTo>
                        <a:pt x="1943" y="2215"/>
                      </a:lnTo>
                      <a:lnTo>
                        <a:pt x="1943" y="2210"/>
                      </a:lnTo>
                      <a:lnTo>
                        <a:pt x="1946" y="2210"/>
                      </a:lnTo>
                      <a:lnTo>
                        <a:pt x="1946" y="2202"/>
                      </a:lnTo>
                      <a:lnTo>
                        <a:pt x="1943" y="2202"/>
                      </a:lnTo>
                      <a:lnTo>
                        <a:pt x="1940" y="2204"/>
                      </a:lnTo>
                      <a:lnTo>
                        <a:pt x="1940" y="2202"/>
                      </a:lnTo>
                      <a:lnTo>
                        <a:pt x="1935" y="2202"/>
                      </a:lnTo>
                      <a:lnTo>
                        <a:pt x="1935" y="2199"/>
                      </a:lnTo>
                      <a:lnTo>
                        <a:pt x="1935" y="2196"/>
                      </a:lnTo>
                      <a:lnTo>
                        <a:pt x="1927" y="2187"/>
                      </a:lnTo>
                      <a:lnTo>
                        <a:pt x="1924" y="2187"/>
                      </a:lnTo>
                      <a:lnTo>
                        <a:pt x="1924" y="2185"/>
                      </a:lnTo>
                      <a:lnTo>
                        <a:pt x="1918" y="2182"/>
                      </a:lnTo>
                      <a:lnTo>
                        <a:pt x="1910" y="2179"/>
                      </a:lnTo>
                      <a:lnTo>
                        <a:pt x="1907" y="2182"/>
                      </a:lnTo>
                      <a:lnTo>
                        <a:pt x="1902" y="2182"/>
                      </a:lnTo>
                      <a:lnTo>
                        <a:pt x="1885" y="2194"/>
                      </a:lnTo>
                      <a:lnTo>
                        <a:pt x="1882" y="2204"/>
                      </a:lnTo>
                      <a:lnTo>
                        <a:pt x="1882" y="2210"/>
                      </a:lnTo>
                      <a:lnTo>
                        <a:pt x="1877" y="2210"/>
                      </a:lnTo>
                      <a:lnTo>
                        <a:pt x="1874" y="2213"/>
                      </a:lnTo>
                      <a:lnTo>
                        <a:pt x="1869" y="2221"/>
                      </a:lnTo>
                      <a:lnTo>
                        <a:pt x="1866" y="2223"/>
                      </a:lnTo>
                      <a:lnTo>
                        <a:pt x="1863" y="2230"/>
                      </a:lnTo>
                      <a:lnTo>
                        <a:pt x="1861" y="2230"/>
                      </a:lnTo>
                      <a:lnTo>
                        <a:pt x="1855" y="2223"/>
                      </a:lnTo>
                      <a:lnTo>
                        <a:pt x="1851" y="2221"/>
                      </a:lnTo>
                      <a:lnTo>
                        <a:pt x="1849" y="2218"/>
                      </a:lnTo>
                      <a:lnTo>
                        <a:pt x="1849" y="2213"/>
                      </a:lnTo>
                      <a:lnTo>
                        <a:pt x="1846" y="2210"/>
                      </a:lnTo>
                      <a:lnTo>
                        <a:pt x="1846" y="2207"/>
                      </a:lnTo>
                      <a:lnTo>
                        <a:pt x="1841" y="2207"/>
                      </a:lnTo>
                      <a:lnTo>
                        <a:pt x="1841" y="2202"/>
                      </a:lnTo>
                      <a:lnTo>
                        <a:pt x="1838" y="2199"/>
                      </a:lnTo>
                      <a:lnTo>
                        <a:pt x="1838" y="2196"/>
                      </a:lnTo>
                      <a:lnTo>
                        <a:pt x="1835" y="2196"/>
                      </a:lnTo>
                      <a:lnTo>
                        <a:pt x="1835" y="2194"/>
                      </a:lnTo>
                      <a:lnTo>
                        <a:pt x="1835" y="2190"/>
                      </a:lnTo>
                      <a:lnTo>
                        <a:pt x="1835" y="2187"/>
                      </a:lnTo>
                      <a:lnTo>
                        <a:pt x="1835" y="2185"/>
                      </a:lnTo>
                      <a:lnTo>
                        <a:pt x="1838" y="2185"/>
                      </a:lnTo>
                      <a:lnTo>
                        <a:pt x="1838" y="2182"/>
                      </a:lnTo>
                      <a:lnTo>
                        <a:pt x="1843" y="2179"/>
                      </a:lnTo>
                      <a:lnTo>
                        <a:pt x="1846" y="2174"/>
                      </a:lnTo>
                      <a:lnTo>
                        <a:pt x="1846" y="2171"/>
                      </a:lnTo>
                      <a:lnTo>
                        <a:pt x="1846" y="2169"/>
                      </a:lnTo>
                      <a:lnTo>
                        <a:pt x="1849" y="2166"/>
                      </a:lnTo>
                      <a:lnTo>
                        <a:pt x="1846" y="2163"/>
                      </a:lnTo>
                      <a:lnTo>
                        <a:pt x="1849" y="2161"/>
                      </a:lnTo>
                      <a:lnTo>
                        <a:pt x="1846" y="2158"/>
                      </a:lnTo>
                      <a:lnTo>
                        <a:pt x="1846" y="2154"/>
                      </a:lnTo>
                      <a:lnTo>
                        <a:pt x="1846" y="2152"/>
                      </a:lnTo>
                      <a:lnTo>
                        <a:pt x="1846" y="2146"/>
                      </a:lnTo>
                      <a:lnTo>
                        <a:pt x="1846" y="2144"/>
                      </a:lnTo>
                      <a:lnTo>
                        <a:pt x="1849" y="2144"/>
                      </a:lnTo>
                      <a:lnTo>
                        <a:pt x="1849" y="2146"/>
                      </a:lnTo>
                      <a:lnTo>
                        <a:pt x="1851" y="2141"/>
                      </a:lnTo>
                      <a:lnTo>
                        <a:pt x="1849" y="2141"/>
                      </a:lnTo>
                      <a:lnTo>
                        <a:pt x="1851" y="2138"/>
                      </a:lnTo>
                      <a:lnTo>
                        <a:pt x="1855" y="2135"/>
                      </a:lnTo>
                      <a:lnTo>
                        <a:pt x="1855" y="2133"/>
                      </a:lnTo>
                      <a:lnTo>
                        <a:pt x="1855" y="2130"/>
                      </a:lnTo>
                      <a:lnTo>
                        <a:pt x="1846" y="2130"/>
                      </a:lnTo>
                      <a:lnTo>
                        <a:pt x="1849" y="2127"/>
                      </a:lnTo>
                      <a:lnTo>
                        <a:pt x="1846" y="2122"/>
                      </a:lnTo>
                      <a:lnTo>
                        <a:pt x="1849" y="2116"/>
                      </a:lnTo>
                      <a:lnTo>
                        <a:pt x="1851" y="2113"/>
                      </a:lnTo>
                      <a:lnTo>
                        <a:pt x="1851" y="2110"/>
                      </a:lnTo>
                      <a:lnTo>
                        <a:pt x="1851" y="2105"/>
                      </a:lnTo>
                      <a:lnTo>
                        <a:pt x="1861" y="2100"/>
                      </a:lnTo>
                      <a:lnTo>
                        <a:pt x="1863" y="2097"/>
                      </a:lnTo>
                      <a:lnTo>
                        <a:pt x="1869" y="2094"/>
                      </a:lnTo>
                      <a:lnTo>
                        <a:pt x="1869" y="2089"/>
                      </a:lnTo>
                      <a:lnTo>
                        <a:pt x="1871" y="2089"/>
                      </a:lnTo>
                      <a:lnTo>
                        <a:pt x="1871" y="2083"/>
                      </a:lnTo>
                      <a:lnTo>
                        <a:pt x="1874" y="2080"/>
                      </a:lnTo>
                      <a:lnTo>
                        <a:pt x="1874" y="2077"/>
                      </a:lnTo>
                      <a:lnTo>
                        <a:pt x="1871" y="2075"/>
                      </a:lnTo>
                      <a:lnTo>
                        <a:pt x="1871" y="2077"/>
                      </a:lnTo>
                      <a:lnTo>
                        <a:pt x="1866" y="2077"/>
                      </a:lnTo>
                      <a:lnTo>
                        <a:pt x="1863" y="2077"/>
                      </a:lnTo>
                      <a:lnTo>
                        <a:pt x="1863" y="2075"/>
                      </a:lnTo>
                      <a:lnTo>
                        <a:pt x="1861" y="2072"/>
                      </a:lnTo>
                      <a:lnTo>
                        <a:pt x="1858" y="2072"/>
                      </a:lnTo>
                      <a:lnTo>
                        <a:pt x="1858" y="2069"/>
                      </a:lnTo>
                      <a:lnTo>
                        <a:pt x="1855" y="2069"/>
                      </a:lnTo>
                      <a:lnTo>
                        <a:pt x="1855" y="2066"/>
                      </a:lnTo>
                      <a:lnTo>
                        <a:pt x="1849" y="2066"/>
                      </a:lnTo>
                      <a:lnTo>
                        <a:pt x="1846" y="2061"/>
                      </a:lnTo>
                      <a:lnTo>
                        <a:pt x="1846" y="2058"/>
                      </a:lnTo>
                      <a:lnTo>
                        <a:pt x="1843" y="2056"/>
                      </a:lnTo>
                      <a:lnTo>
                        <a:pt x="1841" y="2049"/>
                      </a:lnTo>
                      <a:lnTo>
                        <a:pt x="1838" y="2053"/>
                      </a:lnTo>
                      <a:lnTo>
                        <a:pt x="1835" y="2049"/>
                      </a:lnTo>
                      <a:lnTo>
                        <a:pt x="1833" y="2047"/>
                      </a:lnTo>
                      <a:lnTo>
                        <a:pt x="1830" y="2049"/>
                      </a:lnTo>
                      <a:lnTo>
                        <a:pt x="1827" y="2047"/>
                      </a:lnTo>
                      <a:lnTo>
                        <a:pt x="1822" y="2053"/>
                      </a:lnTo>
                      <a:lnTo>
                        <a:pt x="1816" y="2053"/>
                      </a:lnTo>
                      <a:lnTo>
                        <a:pt x="1816" y="2056"/>
                      </a:lnTo>
                      <a:lnTo>
                        <a:pt x="1810" y="2058"/>
                      </a:lnTo>
                      <a:lnTo>
                        <a:pt x="1808" y="2064"/>
                      </a:lnTo>
                      <a:lnTo>
                        <a:pt x="1802" y="2061"/>
                      </a:lnTo>
                      <a:lnTo>
                        <a:pt x="1805" y="2061"/>
                      </a:lnTo>
                      <a:lnTo>
                        <a:pt x="1802" y="2058"/>
                      </a:lnTo>
                      <a:lnTo>
                        <a:pt x="1805" y="2056"/>
                      </a:lnTo>
                      <a:lnTo>
                        <a:pt x="1802" y="2056"/>
                      </a:lnTo>
                      <a:lnTo>
                        <a:pt x="1805" y="2053"/>
                      </a:lnTo>
                      <a:lnTo>
                        <a:pt x="1802" y="2049"/>
                      </a:lnTo>
                      <a:lnTo>
                        <a:pt x="1797" y="2047"/>
                      </a:lnTo>
                      <a:lnTo>
                        <a:pt x="1797" y="2049"/>
                      </a:lnTo>
                      <a:lnTo>
                        <a:pt x="1797" y="2053"/>
                      </a:lnTo>
                      <a:lnTo>
                        <a:pt x="1797" y="2058"/>
                      </a:lnTo>
                      <a:lnTo>
                        <a:pt x="1794" y="2056"/>
                      </a:lnTo>
                      <a:lnTo>
                        <a:pt x="1792" y="2053"/>
                      </a:lnTo>
                      <a:lnTo>
                        <a:pt x="1780" y="2056"/>
                      </a:lnTo>
                      <a:lnTo>
                        <a:pt x="1774" y="2058"/>
                      </a:lnTo>
                      <a:lnTo>
                        <a:pt x="1772" y="2058"/>
                      </a:lnTo>
                      <a:lnTo>
                        <a:pt x="1772" y="2053"/>
                      </a:lnTo>
                      <a:lnTo>
                        <a:pt x="1769" y="2053"/>
                      </a:lnTo>
                      <a:lnTo>
                        <a:pt x="1766" y="2058"/>
                      </a:lnTo>
                      <a:lnTo>
                        <a:pt x="1761" y="2061"/>
                      </a:lnTo>
                      <a:lnTo>
                        <a:pt x="1758" y="2053"/>
                      </a:lnTo>
                      <a:lnTo>
                        <a:pt x="1753" y="2049"/>
                      </a:lnTo>
                      <a:lnTo>
                        <a:pt x="1747" y="2049"/>
                      </a:lnTo>
                      <a:lnTo>
                        <a:pt x="1744" y="2044"/>
                      </a:lnTo>
                      <a:lnTo>
                        <a:pt x="1741" y="2041"/>
                      </a:lnTo>
                      <a:lnTo>
                        <a:pt x="1736" y="2047"/>
                      </a:lnTo>
                      <a:lnTo>
                        <a:pt x="1731" y="2041"/>
                      </a:lnTo>
                      <a:lnTo>
                        <a:pt x="1728" y="2044"/>
                      </a:lnTo>
                      <a:lnTo>
                        <a:pt x="1733" y="2049"/>
                      </a:lnTo>
                      <a:lnTo>
                        <a:pt x="1731" y="2049"/>
                      </a:lnTo>
                      <a:lnTo>
                        <a:pt x="1725" y="2047"/>
                      </a:lnTo>
                      <a:lnTo>
                        <a:pt x="1711" y="2049"/>
                      </a:lnTo>
                      <a:lnTo>
                        <a:pt x="1708" y="2049"/>
                      </a:lnTo>
                      <a:lnTo>
                        <a:pt x="1708" y="2053"/>
                      </a:lnTo>
                      <a:lnTo>
                        <a:pt x="1705" y="2053"/>
                      </a:lnTo>
                      <a:lnTo>
                        <a:pt x="1703" y="2049"/>
                      </a:lnTo>
                      <a:lnTo>
                        <a:pt x="1700" y="2049"/>
                      </a:lnTo>
                      <a:lnTo>
                        <a:pt x="1695" y="2049"/>
                      </a:lnTo>
                      <a:lnTo>
                        <a:pt x="1689" y="2056"/>
                      </a:lnTo>
                      <a:lnTo>
                        <a:pt x="1687" y="2049"/>
                      </a:lnTo>
                      <a:lnTo>
                        <a:pt x="1681" y="2049"/>
                      </a:lnTo>
                      <a:lnTo>
                        <a:pt x="1681" y="2047"/>
                      </a:lnTo>
                      <a:lnTo>
                        <a:pt x="1675" y="2047"/>
                      </a:lnTo>
                      <a:lnTo>
                        <a:pt x="1675" y="2041"/>
                      </a:lnTo>
                      <a:lnTo>
                        <a:pt x="1672" y="2041"/>
                      </a:lnTo>
                      <a:lnTo>
                        <a:pt x="1667" y="2044"/>
                      </a:lnTo>
                      <a:lnTo>
                        <a:pt x="1670" y="2036"/>
                      </a:lnTo>
                      <a:lnTo>
                        <a:pt x="1672" y="2036"/>
                      </a:lnTo>
                      <a:lnTo>
                        <a:pt x="1672" y="2033"/>
                      </a:lnTo>
                      <a:lnTo>
                        <a:pt x="1670" y="2033"/>
                      </a:lnTo>
                      <a:lnTo>
                        <a:pt x="1664" y="2036"/>
                      </a:lnTo>
                      <a:lnTo>
                        <a:pt x="1659" y="2033"/>
                      </a:lnTo>
                      <a:lnTo>
                        <a:pt x="1656" y="2033"/>
                      </a:lnTo>
                      <a:lnTo>
                        <a:pt x="1654" y="2036"/>
                      </a:lnTo>
                      <a:lnTo>
                        <a:pt x="1656" y="2039"/>
                      </a:lnTo>
                      <a:lnTo>
                        <a:pt x="1659" y="2036"/>
                      </a:lnTo>
                      <a:lnTo>
                        <a:pt x="1656" y="2039"/>
                      </a:lnTo>
                      <a:lnTo>
                        <a:pt x="1656" y="2041"/>
                      </a:lnTo>
                      <a:lnTo>
                        <a:pt x="1656" y="2044"/>
                      </a:lnTo>
                      <a:lnTo>
                        <a:pt x="1654" y="2047"/>
                      </a:lnTo>
                      <a:lnTo>
                        <a:pt x="1651" y="2053"/>
                      </a:lnTo>
                      <a:lnTo>
                        <a:pt x="1648" y="2053"/>
                      </a:lnTo>
                      <a:lnTo>
                        <a:pt x="1646" y="2056"/>
                      </a:lnTo>
                      <a:lnTo>
                        <a:pt x="1642" y="2056"/>
                      </a:lnTo>
                      <a:lnTo>
                        <a:pt x="1639" y="2049"/>
                      </a:lnTo>
                      <a:lnTo>
                        <a:pt x="1636" y="2049"/>
                      </a:lnTo>
                      <a:lnTo>
                        <a:pt x="1636" y="2053"/>
                      </a:lnTo>
                      <a:lnTo>
                        <a:pt x="1631" y="2053"/>
                      </a:lnTo>
                      <a:lnTo>
                        <a:pt x="1631" y="2049"/>
                      </a:lnTo>
                      <a:lnTo>
                        <a:pt x="1628" y="2049"/>
                      </a:lnTo>
                      <a:lnTo>
                        <a:pt x="1626" y="2056"/>
                      </a:lnTo>
                      <a:lnTo>
                        <a:pt x="1620" y="2053"/>
                      </a:lnTo>
                      <a:lnTo>
                        <a:pt x="1618" y="2049"/>
                      </a:lnTo>
                      <a:lnTo>
                        <a:pt x="1606" y="2049"/>
                      </a:lnTo>
                      <a:lnTo>
                        <a:pt x="1603" y="2049"/>
                      </a:lnTo>
                      <a:lnTo>
                        <a:pt x="1601" y="2049"/>
                      </a:lnTo>
                      <a:lnTo>
                        <a:pt x="1595" y="2049"/>
                      </a:lnTo>
                      <a:lnTo>
                        <a:pt x="1593" y="2053"/>
                      </a:lnTo>
                      <a:lnTo>
                        <a:pt x="1593" y="2056"/>
                      </a:lnTo>
                      <a:lnTo>
                        <a:pt x="1587" y="2056"/>
                      </a:lnTo>
                      <a:lnTo>
                        <a:pt x="1587" y="2061"/>
                      </a:lnTo>
                      <a:lnTo>
                        <a:pt x="1575" y="2061"/>
                      </a:lnTo>
                      <a:lnTo>
                        <a:pt x="1573" y="2061"/>
                      </a:lnTo>
                      <a:lnTo>
                        <a:pt x="1567" y="2058"/>
                      </a:lnTo>
                      <a:lnTo>
                        <a:pt x="1565" y="2058"/>
                      </a:lnTo>
                      <a:lnTo>
                        <a:pt x="1559" y="2058"/>
                      </a:lnTo>
                      <a:lnTo>
                        <a:pt x="1551" y="2049"/>
                      </a:lnTo>
                      <a:lnTo>
                        <a:pt x="1549" y="2049"/>
                      </a:lnTo>
                      <a:lnTo>
                        <a:pt x="1549" y="2047"/>
                      </a:lnTo>
                      <a:lnTo>
                        <a:pt x="1546" y="2047"/>
                      </a:lnTo>
                      <a:lnTo>
                        <a:pt x="1549" y="2041"/>
                      </a:lnTo>
                      <a:lnTo>
                        <a:pt x="1549" y="2039"/>
                      </a:lnTo>
                      <a:lnTo>
                        <a:pt x="1546" y="2039"/>
                      </a:lnTo>
                      <a:lnTo>
                        <a:pt x="1546" y="2036"/>
                      </a:lnTo>
                      <a:lnTo>
                        <a:pt x="1543" y="2036"/>
                      </a:lnTo>
                      <a:lnTo>
                        <a:pt x="1546" y="2028"/>
                      </a:lnTo>
                      <a:lnTo>
                        <a:pt x="1543" y="2025"/>
                      </a:lnTo>
                      <a:lnTo>
                        <a:pt x="1543" y="2023"/>
                      </a:lnTo>
                      <a:lnTo>
                        <a:pt x="1546" y="2020"/>
                      </a:lnTo>
                      <a:lnTo>
                        <a:pt x="1549" y="2016"/>
                      </a:lnTo>
                      <a:lnTo>
                        <a:pt x="1543" y="2014"/>
                      </a:lnTo>
                      <a:lnTo>
                        <a:pt x="1546" y="2014"/>
                      </a:lnTo>
                      <a:lnTo>
                        <a:pt x="1546" y="2011"/>
                      </a:lnTo>
                      <a:lnTo>
                        <a:pt x="1543" y="2006"/>
                      </a:lnTo>
                      <a:lnTo>
                        <a:pt x="1543" y="2003"/>
                      </a:lnTo>
                      <a:lnTo>
                        <a:pt x="1543" y="2000"/>
                      </a:lnTo>
                      <a:lnTo>
                        <a:pt x="1546" y="2000"/>
                      </a:lnTo>
                      <a:lnTo>
                        <a:pt x="1549" y="1998"/>
                      </a:lnTo>
                      <a:lnTo>
                        <a:pt x="1551" y="2000"/>
                      </a:lnTo>
                      <a:lnTo>
                        <a:pt x="1554" y="1995"/>
                      </a:lnTo>
                      <a:lnTo>
                        <a:pt x="1557" y="1992"/>
                      </a:lnTo>
                      <a:lnTo>
                        <a:pt x="1554" y="1989"/>
                      </a:lnTo>
                      <a:lnTo>
                        <a:pt x="1554" y="1984"/>
                      </a:lnTo>
                      <a:lnTo>
                        <a:pt x="1551" y="1978"/>
                      </a:lnTo>
                      <a:lnTo>
                        <a:pt x="1554" y="1978"/>
                      </a:lnTo>
                      <a:lnTo>
                        <a:pt x="1562" y="1975"/>
                      </a:lnTo>
                      <a:lnTo>
                        <a:pt x="1562" y="1970"/>
                      </a:lnTo>
                      <a:lnTo>
                        <a:pt x="1565" y="1967"/>
                      </a:lnTo>
                      <a:lnTo>
                        <a:pt x="1567" y="1964"/>
                      </a:lnTo>
                      <a:lnTo>
                        <a:pt x="1570" y="1964"/>
                      </a:lnTo>
                      <a:lnTo>
                        <a:pt x="1570" y="1962"/>
                      </a:lnTo>
                      <a:lnTo>
                        <a:pt x="1570" y="1959"/>
                      </a:lnTo>
                      <a:lnTo>
                        <a:pt x="1567" y="1959"/>
                      </a:lnTo>
                      <a:lnTo>
                        <a:pt x="1570" y="1954"/>
                      </a:lnTo>
                      <a:lnTo>
                        <a:pt x="1567" y="1951"/>
                      </a:lnTo>
                      <a:lnTo>
                        <a:pt x="1573" y="1945"/>
                      </a:lnTo>
                      <a:lnTo>
                        <a:pt x="1575" y="1939"/>
                      </a:lnTo>
                      <a:lnTo>
                        <a:pt x="1575" y="1936"/>
                      </a:lnTo>
                      <a:lnTo>
                        <a:pt x="1573" y="1936"/>
                      </a:lnTo>
                      <a:lnTo>
                        <a:pt x="1570" y="1942"/>
                      </a:lnTo>
                      <a:lnTo>
                        <a:pt x="1567" y="1939"/>
                      </a:lnTo>
                      <a:lnTo>
                        <a:pt x="1567" y="1936"/>
                      </a:lnTo>
                      <a:lnTo>
                        <a:pt x="1573" y="1928"/>
                      </a:lnTo>
                      <a:lnTo>
                        <a:pt x="1579" y="1920"/>
                      </a:lnTo>
                      <a:lnTo>
                        <a:pt x="1582" y="1920"/>
                      </a:lnTo>
                      <a:lnTo>
                        <a:pt x="1590" y="1911"/>
                      </a:lnTo>
                      <a:lnTo>
                        <a:pt x="1587" y="1909"/>
                      </a:lnTo>
                      <a:lnTo>
                        <a:pt x="1582" y="1909"/>
                      </a:lnTo>
                      <a:lnTo>
                        <a:pt x="1579" y="1906"/>
                      </a:lnTo>
                      <a:lnTo>
                        <a:pt x="1570" y="1906"/>
                      </a:lnTo>
                      <a:lnTo>
                        <a:pt x="1570" y="1901"/>
                      </a:lnTo>
                      <a:lnTo>
                        <a:pt x="1567" y="1901"/>
                      </a:lnTo>
                      <a:lnTo>
                        <a:pt x="1562" y="1895"/>
                      </a:lnTo>
                      <a:lnTo>
                        <a:pt x="1559" y="1895"/>
                      </a:lnTo>
                      <a:lnTo>
                        <a:pt x="1557" y="1898"/>
                      </a:lnTo>
                      <a:lnTo>
                        <a:pt x="1554" y="1895"/>
                      </a:lnTo>
                      <a:lnTo>
                        <a:pt x="1554" y="1893"/>
                      </a:lnTo>
                      <a:lnTo>
                        <a:pt x="1554" y="1890"/>
                      </a:lnTo>
                      <a:lnTo>
                        <a:pt x="1551" y="1887"/>
                      </a:lnTo>
                      <a:lnTo>
                        <a:pt x="1549" y="1885"/>
                      </a:lnTo>
                      <a:lnTo>
                        <a:pt x="1551" y="1879"/>
                      </a:lnTo>
                      <a:lnTo>
                        <a:pt x="1549" y="1876"/>
                      </a:lnTo>
                      <a:lnTo>
                        <a:pt x="1546" y="1876"/>
                      </a:lnTo>
                      <a:lnTo>
                        <a:pt x="1549" y="1873"/>
                      </a:lnTo>
                      <a:lnTo>
                        <a:pt x="1546" y="1870"/>
                      </a:lnTo>
                      <a:lnTo>
                        <a:pt x="1540" y="1870"/>
                      </a:lnTo>
                      <a:lnTo>
                        <a:pt x="1540" y="1867"/>
                      </a:lnTo>
                      <a:lnTo>
                        <a:pt x="1529" y="1859"/>
                      </a:lnTo>
                      <a:lnTo>
                        <a:pt x="1526" y="1857"/>
                      </a:lnTo>
                      <a:lnTo>
                        <a:pt x="1532" y="1854"/>
                      </a:lnTo>
                      <a:lnTo>
                        <a:pt x="1532" y="1849"/>
                      </a:lnTo>
                      <a:lnTo>
                        <a:pt x="1532" y="1840"/>
                      </a:lnTo>
                      <a:lnTo>
                        <a:pt x="1532" y="1834"/>
                      </a:lnTo>
                      <a:lnTo>
                        <a:pt x="1537" y="1832"/>
                      </a:lnTo>
                      <a:lnTo>
                        <a:pt x="1534" y="1829"/>
                      </a:lnTo>
                      <a:lnTo>
                        <a:pt x="1534" y="1826"/>
                      </a:lnTo>
                      <a:lnTo>
                        <a:pt x="1532" y="1826"/>
                      </a:lnTo>
                      <a:lnTo>
                        <a:pt x="1524" y="1821"/>
                      </a:lnTo>
                      <a:lnTo>
                        <a:pt x="1524" y="1818"/>
                      </a:lnTo>
                      <a:lnTo>
                        <a:pt x="1521" y="1816"/>
                      </a:lnTo>
                      <a:lnTo>
                        <a:pt x="1518" y="1818"/>
                      </a:lnTo>
                      <a:lnTo>
                        <a:pt x="1516" y="1816"/>
                      </a:lnTo>
                      <a:lnTo>
                        <a:pt x="1513" y="1818"/>
                      </a:lnTo>
                      <a:lnTo>
                        <a:pt x="1513" y="1816"/>
                      </a:lnTo>
                      <a:lnTo>
                        <a:pt x="1504" y="1813"/>
                      </a:lnTo>
                      <a:lnTo>
                        <a:pt x="1506" y="1810"/>
                      </a:lnTo>
                      <a:lnTo>
                        <a:pt x="1504" y="1810"/>
                      </a:lnTo>
                      <a:lnTo>
                        <a:pt x="1506" y="1808"/>
                      </a:lnTo>
                      <a:lnTo>
                        <a:pt x="1498" y="1804"/>
                      </a:lnTo>
                      <a:lnTo>
                        <a:pt x="1496" y="1804"/>
                      </a:lnTo>
                      <a:lnTo>
                        <a:pt x="1496" y="1801"/>
                      </a:lnTo>
                      <a:lnTo>
                        <a:pt x="1493" y="1799"/>
                      </a:lnTo>
                      <a:lnTo>
                        <a:pt x="1496" y="1796"/>
                      </a:lnTo>
                      <a:lnTo>
                        <a:pt x="1493" y="1796"/>
                      </a:lnTo>
                      <a:lnTo>
                        <a:pt x="1493" y="1793"/>
                      </a:lnTo>
                      <a:lnTo>
                        <a:pt x="1488" y="1790"/>
                      </a:lnTo>
                      <a:lnTo>
                        <a:pt x="1485" y="1788"/>
                      </a:lnTo>
                      <a:lnTo>
                        <a:pt x="1482" y="1785"/>
                      </a:lnTo>
                      <a:lnTo>
                        <a:pt x="1482" y="1780"/>
                      </a:lnTo>
                      <a:lnTo>
                        <a:pt x="1480" y="1780"/>
                      </a:lnTo>
                      <a:lnTo>
                        <a:pt x="1480" y="1777"/>
                      </a:lnTo>
                      <a:lnTo>
                        <a:pt x="1477" y="1777"/>
                      </a:lnTo>
                      <a:lnTo>
                        <a:pt x="1473" y="1777"/>
                      </a:lnTo>
                      <a:lnTo>
                        <a:pt x="1471" y="1777"/>
                      </a:lnTo>
                      <a:lnTo>
                        <a:pt x="1473" y="1774"/>
                      </a:lnTo>
                      <a:lnTo>
                        <a:pt x="1471" y="1774"/>
                      </a:lnTo>
                      <a:lnTo>
                        <a:pt x="1473" y="1774"/>
                      </a:lnTo>
                      <a:lnTo>
                        <a:pt x="1477" y="1771"/>
                      </a:lnTo>
                      <a:lnTo>
                        <a:pt x="1473" y="1771"/>
                      </a:lnTo>
                      <a:lnTo>
                        <a:pt x="1473" y="1768"/>
                      </a:lnTo>
                      <a:lnTo>
                        <a:pt x="1471" y="1765"/>
                      </a:lnTo>
                      <a:lnTo>
                        <a:pt x="1468" y="1765"/>
                      </a:lnTo>
                      <a:lnTo>
                        <a:pt x="1468" y="1763"/>
                      </a:lnTo>
                      <a:lnTo>
                        <a:pt x="1471" y="1760"/>
                      </a:lnTo>
                      <a:lnTo>
                        <a:pt x="1471" y="1757"/>
                      </a:lnTo>
                      <a:lnTo>
                        <a:pt x="1465" y="1755"/>
                      </a:lnTo>
                      <a:lnTo>
                        <a:pt x="1463" y="1755"/>
                      </a:lnTo>
                      <a:lnTo>
                        <a:pt x="1463" y="1752"/>
                      </a:lnTo>
                      <a:lnTo>
                        <a:pt x="1468" y="1752"/>
                      </a:lnTo>
                      <a:lnTo>
                        <a:pt x="1468" y="1749"/>
                      </a:lnTo>
                      <a:lnTo>
                        <a:pt x="1465" y="1749"/>
                      </a:lnTo>
                      <a:lnTo>
                        <a:pt x="1465" y="1747"/>
                      </a:lnTo>
                      <a:lnTo>
                        <a:pt x="1463" y="1744"/>
                      </a:lnTo>
                      <a:lnTo>
                        <a:pt x="1460" y="1747"/>
                      </a:lnTo>
                      <a:lnTo>
                        <a:pt x="1457" y="1741"/>
                      </a:lnTo>
                      <a:lnTo>
                        <a:pt x="1463" y="1741"/>
                      </a:lnTo>
                      <a:lnTo>
                        <a:pt x="1465" y="1741"/>
                      </a:lnTo>
                      <a:lnTo>
                        <a:pt x="1463" y="1739"/>
                      </a:lnTo>
                      <a:lnTo>
                        <a:pt x="1463" y="1735"/>
                      </a:lnTo>
                      <a:lnTo>
                        <a:pt x="1460" y="1735"/>
                      </a:lnTo>
                      <a:lnTo>
                        <a:pt x="1460" y="1732"/>
                      </a:lnTo>
                      <a:lnTo>
                        <a:pt x="1455" y="1735"/>
                      </a:lnTo>
                      <a:lnTo>
                        <a:pt x="1455" y="1739"/>
                      </a:lnTo>
                      <a:lnTo>
                        <a:pt x="1449" y="1735"/>
                      </a:lnTo>
                      <a:lnTo>
                        <a:pt x="1447" y="1735"/>
                      </a:lnTo>
                      <a:lnTo>
                        <a:pt x="1447" y="1732"/>
                      </a:lnTo>
                      <a:lnTo>
                        <a:pt x="1444" y="1730"/>
                      </a:lnTo>
                      <a:lnTo>
                        <a:pt x="1441" y="1727"/>
                      </a:lnTo>
                      <a:lnTo>
                        <a:pt x="1437" y="1724"/>
                      </a:lnTo>
                      <a:lnTo>
                        <a:pt x="1437" y="1716"/>
                      </a:lnTo>
                      <a:lnTo>
                        <a:pt x="1432" y="1721"/>
                      </a:lnTo>
                      <a:lnTo>
                        <a:pt x="1429" y="1716"/>
                      </a:lnTo>
                      <a:lnTo>
                        <a:pt x="1427" y="1713"/>
                      </a:lnTo>
                      <a:lnTo>
                        <a:pt x="1427" y="1708"/>
                      </a:lnTo>
                      <a:lnTo>
                        <a:pt x="1424" y="1705"/>
                      </a:lnTo>
                      <a:lnTo>
                        <a:pt x="1427" y="1705"/>
                      </a:lnTo>
                      <a:lnTo>
                        <a:pt x="1429" y="1702"/>
                      </a:lnTo>
                      <a:lnTo>
                        <a:pt x="1424" y="1699"/>
                      </a:lnTo>
                      <a:lnTo>
                        <a:pt x="1427" y="1699"/>
                      </a:lnTo>
                      <a:lnTo>
                        <a:pt x="1432" y="1702"/>
                      </a:lnTo>
                      <a:lnTo>
                        <a:pt x="1429" y="1699"/>
                      </a:lnTo>
                      <a:lnTo>
                        <a:pt x="1429" y="1696"/>
                      </a:lnTo>
                      <a:lnTo>
                        <a:pt x="1432" y="1696"/>
                      </a:lnTo>
                      <a:lnTo>
                        <a:pt x="1437" y="1694"/>
                      </a:lnTo>
                      <a:lnTo>
                        <a:pt x="1444" y="1691"/>
                      </a:lnTo>
                      <a:lnTo>
                        <a:pt x="1444" y="1688"/>
                      </a:lnTo>
                      <a:lnTo>
                        <a:pt x="1444" y="1686"/>
                      </a:lnTo>
                      <a:lnTo>
                        <a:pt x="1444" y="1680"/>
                      </a:lnTo>
                      <a:lnTo>
                        <a:pt x="1441" y="1675"/>
                      </a:lnTo>
                      <a:lnTo>
                        <a:pt x="1441" y="1672"/>
                      </a:lnTo>
                      <a:lnTo>
                        <a:pt x="1444" y="1670"/>
                      </a:lnTo>
                      <a:lnTo>
                        <a:pt x="1437" y="1666"/>
                      </a:lnTo>
                      <a:lnTo>
                        <a:pt x="1441" y="1663"/>
                      </a:lnTo>
                      <a:lnTo>
                        <a:pt x="1441" y="1661"/>
                      </a:lnTo>
                      <a:lnTo>
                        <a:pt x="1441" y="1658"/>
                      </a:lnTo>
                      <a:lnTo>
                        <a:pt x="1441" y="1655"/>
                      </a:lnTo>
                      <a:lnTo>
                        <a:pt x="1447" y="1658"/>
                      </a:lnTo>
                      <a:lnTo>
                        <a:pt x="1449" y="1658"/>
                      </a:lnTo>
                      <a:lnTo>
                        <a:pt x="1447" y="1652"/>
                      </a:lnTo>
                      <a:lnTo>
                        <a:pt x="1447" y="1650"/>
                      </a:lnTo>
                      <a:lnTo>
                        <a:pt x="1449" y="1644"/>
                      </a:lnTo>
                      <a:lnTo>
                        <a:pt x="1447" y="1642"/>
                      </a:lnTo>
                      <a:lnTo>
                        <a:pt x="1447" y="1639"/>
                      </a:lnTo>
                      <a:lnTo>
                        <a:pt x="1444" y="1639"/>
                      </a:lnTo>
                      <a:lnTo>
                        <a:pt x="1444" y="1636"/>
                      </a:lnTo>
                      <a:lnTo>
                        <a:pt x="1441" y="1636"/>
                      </a:lnTo>
                      <a:lnTo>
                        <a:pt x="1437" y="1634"/>
                      </a:lnTo>
                      <a:lnTo>
                        <a:pt x="1435" y="1634"/>
                      </a:lnTo>
                      <a:lnTo>
                        <a:pt x="1435" y="1630"/>
                      </a:lnTo>
                      <a:lnTo>
                        <a:pt x="1435" y="1627"/>
                      </a:lnTo>
                      <a:lnTo>
                        <a:pt x="1432" y="1627"/>
                      </a:lnTo>
                      <a:lnTo>
                        <a:pt x="1432" y="1625"/>
                      </a:lnTo>
                      <a:lnTo>
                        <a:pt x="1427" y="1622"/>
                      </a:lnTo>
                      <a:lnTo>
                        <a:pt x="1427" y="1619"/>
                      </a:lnTo>
                      <a:lnTo>
                        <a:pt x="1421" y="1617"/>
                      </a:lnTo>
                      <a:lnTo>
                        <a:pt x="1424" y="1614"/>
                      </a:lnTo>
                      <a:lnTo>
                        <a:pt x="1424" y="1611"/>
                      </a:lnTo>
                      <a:lnTo>
                        <a:pt x="1421" y="1611"/>
                      </a:lnTo>
                      <a:lnTo>
                        <a:pt x="1421" y="1609"/>
                      </a:lnTo>
                      <a:lnTo>
                        <a:pt x="1421" y="1606"/>
                      </a:lnTo>
                      <a:lnTo>
                        <a:pt x="1419" y="1603"/>
                      </a:lnTo>
                      <a:lnTo>
                        <a:pt x="1421" y="1597"/>
                      </a:lnTo>
                      <a:lnTo>
                        <a:pt x="1427" y="1592"/>
                      </a:lnTo>
                      <a:lnTo>
                        <a:pt x="1427" y="1589"/>
                      </a:lnTo>
                      <a:lnTo>
                        <a:pt x="1424" y="1586"/>
                      </a:lnTo>
                      <a:lnTo>
                        <a:pt x="1427" y="1581"/>
                      </a:lnTo>
                      <a:lnTo>
                        <a:pt x="1424" y="1575"/>
                      </a:lnTo>
                      <a:lnTo>
                        <a:pt x="1427" y="1573"/>
                      </a:lnTo>
                      <a:lnTo>
                        <a:pt x="1419" y="1567"/>
                      </a:lnTo>
                      <a:lnTo>
                        <a:pt x="1416" y="1565"/>
                      </a:lnTo>
                      <a:lnTo>
                        <a:pt x="1419" y="1561"/>
                      </a:lnTo>
                      <a:lnTo>
                        <a:pt x="1421" y="1561"/>
                      </a:lnTo>
                      <a:lnTo>
                        <a:pt x="1419" y="1556"/>
                      </a:lnTo>
                      <a:lnTo>
                        <a:pt x="1421" y="1553"/>
                      </a:lnTo>
                      <a:lnTo>
                        <a:pt x="1421" y="1548"/>
                      </a:lnTo>
                      <a:lnTo>
                        <a:pt x="1427" y="1550"/>
                      </a:lnTo>
                      <a:lnTo>
                        <a:pt x="1427" y="1548"/>
                      </a:lnTo>
                      <a:lnTo>
                        <a:pt x="1427" y="1545"/>
                      </a:lnTo>
                      <a:lnTo>
                        <a:pt x="1427" y="1540"/>
                      </a:lnTo>
                      <a:lnTo>
                        <a:pt x="1427" y="1537"/>
                      </a:lnTo>
                      <a:lnTo>
                        <a:pt x="1429" y="1534"/>
                      </a:lnTo>
                      <a:lnTo>
                        <a:pt x="1432" y="1532"/>
                      </a:lnTo>
                      <a:lnTo>
                        <a:pt x="1435" y="1532"/>
                      </a:lnTo>
                      <a:lnTo>
                        <a:pt x="1437" y="1534"/>
                      </a:lnTo>
                      <a:lnTo>
                        <a:pt x="1441" y="1534"/>
                      </a:lnTo>
                      <a:lnTo>
                        <a:pt x="1437" y="1532"/>
                      </a:lnTo>
                      <a:lnTo>
                        <a:pt x="1441" y="1529"/>
                      </a:lnTo>
                      <a:lnTo>
                        <a:pt x="1435" y="1529"/>
                      </a:lnTo>
                      <a:lnTo>
                        <a:pt x="1435" y="1522"/>
                      </a:lnTo>
                      <a:lnTo>
                        <a:pt x="1432" y="1522"/>
                      </a:lnTo>
                      <a:lnTo>
                        <a:pt x="1429" y="1520"/>
                      </a:lnTo>
                      <a:lnTo>
                        <a:pt x="1427" y="1520"/>
                      </a:lnTo>
                      <a:lnTo>
                        <a:pt x="1427" y="1517"/>
                      </a:lnTo>
                      <a:lnTo>
                        <a:pt x="1427" y="1514"/>
                      </a:lnTo>
                      <a:lnTo>
                        <a:pt x="1424" y="1514"/>
                      </a:lnTo>
                      <a:lnTo>
                        <a:pt x="1421" y="1514"/>
                      </a:lnTo>
                      <a:lnTo>
                        <a:pt x="1419" y="1514"/>
                      </a:lnTo>
                      <a:lnTo>
                        <a:pt x="1419" y="1512"/>
                      </a:lnTo>
                      <a:lnTo>
                        <a:pt x="1427" y="1509"/>
                      </a:lnTo>
                      <a:lnTo>
                        <a:pt x="1429" y="1512"/>
                      </a:lnTo>
                      <a:lnTo>
                        <a:pt x="1432" y="1509"/>
                      </a:lnTo>
                      <a:lnTo>
                        <a:pt x="1429" y="1506"/>
                      </a:lnTo>
                      <a:lnTo>
                        <a:pt x="1429" y="1504"/>
                      </a:lnTo>
                      <a:lnTo>
                        <a:pt x="1421" y="1498"/>
                      </a:lnTo>
                      <a:lnTo>
                        <a:pt x="1413" y="1498"/>
                      </a:lnTo>
                      <a:lnTo>
                        <a:pt x="1413" y="1496"/>
                      </a:lnTo>
                      <a:lnTo>
                        <a:pt x="1413" y="1489"/>
                      </a:lnTo>
                      <a:lnTo>
                        <a:pt x="1416" y="1492"/>
                      </a:lnTo>
                      <a:lnTo>
                        <a:pt x="1419" y="1487"/>
                      </a:lnTo>
                      <a:lnTo>
                        <a:pt x="1419" y="1481"/>
                      </a:lnTo>
                      <a:lnTo>
                        <a:pt x="1416" y="1476"/>
                      </a:lnTo>
                      <a:lnTo>
                        <a:pt x="1416" y="1468"/>
                      </a:lnTo>
                      <a:lnTo>
                        <a:pt x="1411" y="1456"/>
                      </a:lnTo>
                      <a:lnTo>
                        <a:pt x="1408" y="1453"/>
                      </a:lnTo>
                      <a:lnTo>
                        <a:pt x="1411" y="1448"/>
                      </a:lnTo>
                      <a:lnTo>
                        <a:pt x="1408" y="1448"/>
                      </a:lnTo>
                      <a:lnTo>
                        <a:pt x="1404" y="1445"/>
                      </a:lnTo>
                      <a:lnTo>
                        <a:pt x="1404" y="1443"/>
                      </a:lnTo>
                      <a:lnTo>
                        <a:pt x="1404" y="1437"/>
                      </a:lnTo>
                      <a:lnTo>
                        <a:pt x="1396" y="1424"/>
                      </a:lnTo>
                      <a:lnTo>
                        <a:pt x="1394" y="1420"/>
                      </a:lnTo>
                      <a:lnTo>
                        <a:pt x="1396" y="1418"/>
                      </a:lnTo>
                      <a:lnTo>
                        <a:pt x="1388" y="1418"/>
                      </a:lnTo>
                      <a:lnTo>
                        <a:pt x="1386" y="1415"/>
                      </a:lnTo>
                      <a:lnTo>
                        <a:pt x="1386" y="1412"/>
                      </a:lnTo>
                      <a:lnTo>
                        <a:pt x="1383" y="1415"/>
                      </a:lnTo>
                      <a:lnTo>
                        <a:pt x="1380" y="1410"/>
                      </a:lnTo>
                      <a:lnTo>
                        <a:pt x="1375" y="1407"/>
                      </a:lnTo>
                      <a:lnTo>
                        <a:pt x="1372" y="1404"/>
                      </a:lnTo>
                      <a:lnTo>
                        <a:pt x="1378" y="1396"/>
                      </a:lnTo>
                      <a:lnTo>
                        <a:pt x="1375" y="1394"/>
                      </a:lnTo>
                      <a:lnTo>
                        <a:pt x="1372" y="1391"/>
                      </a:lnTo>
                      <a:lnTo>
                        <a:pt x="1366" y="1391"/>
                      </a:lnTo>
                      <a:lnTo>
                        <a:pt x="1360" y="1394"/>
                      </a:lnTo>
                      <a:lnTo>
                        <a:pt x="1355" y="1391"/>
                      </a:lnTo>
                      <a:lnTo>
                        <a:pt x="1350" y="1391"/>
                      </a:lnTo>
                      <a:lnTo>
                        <a:pt x="1347" y="1387"/>
                      </a:lnTo>
                      <a:lnTo>
                        <a:pt x="1344" y="1387"/>
                      </a:lnTo>
                      <a:lnTo>
                        <a:pt x="1342" y="1385"/>
                      </a:lnTo>
                      <a:lnTo>
                        <a:pt x="1342" y="1382"/>
                      </a:lnTo>
                      <a:lnTo>
                        <a:pt x="1339" y="1382"/>
                      </a:lnTo>
                      <a:lnTo>
                        <a:pt x="1335" y="1379"/>
                      </a:lnTo>
                      <a:lnTo>
                        <a:pt x="1333" y="1376"/>
                      </a:lnTo>
                      <a:lnTo>
                        <a:pt x="1325" y="1379"/>
                      </a:lnTo>
                      <a:lnTo>
                        <a:pt x="1319" y="1379"/>
                      </a:lnTo>
                      <a:lnTo>
                        <a:pt x="1317" y="1376"/>
                      </a:lnTo>
                      <a:lnTo>
                        <a:pt x="1314" y="1374"/>
                      </a:lnTo>
                      <a:lnTo>
                        <a:pt x="1311" y="1376"/>
                      </a:lnTo>
                      <a:lnTo>
                        <a:pt x="1306" y="1371"/>
                      </a:lnTo>
                      <a:lnTo>
                        <a:pt x="1300" y="1371"/>
                      </a:lnTo>
                      <a:lnTo>
                        <a:pt x="1300" y="1363"/>
                      </a:lnTo>
                      <a:lnTo>
                        <a:pt x="1300" y="1360"/>
                      </a:lnTo>
                      <a:lnTo>
                        <a:pt x="1303" y="1355"/>
                      </a:lnTo>
                      <a:lnTo>
                        <a:pt x="1303" y="1351"/>
                      </a:lnTo>
                      <a:lnTo>
                        <a:pt x="1306" y="1351"/>
                      </a:lnTo>
                      <a:lnTo>
                        <a:pt x="1306" y="1349"/>
                      </a:lnTo>
                      <a:lnTo>
                        <a:pt x="1297" y="1343"/>
                      </a:lnTo>
                      <a:lnTo>
                        <a:pt x="1291" y="1341"/>
                      </a:lnTo>
                      <a:lnTo>
                        <a:pt x="1283" y="1341"/>
                      </a:lnTo>
                      <a:lnTo>
                        <a:pt x="1275" y="1333"/>
                      </a:lnTo>
                      <a:lnTo>
                        <a:pt x="1275" y="1330"/>
                      </a:lnTo>
                      <a:lnTo>
                        <a:pt x="1278" y="1327"/>
                      </a:lnTo>
                      <a:lnTo>
                        <a:pt x="1281" y="1318"/>
                      </a:lnTo>
                      <a:lnTo>
                        <a:pt x="1278" y="1313"/>
                      </a:lnTo>
                      <a:lnTo>
                        <a:pt x="1278" y="1310"/>
                      </a:lnTo>
                      <a:lnTo>
                        <a:pt x="1270" y="1305"/>
                      </a:lnTo>
                      <a:lnTo>
                        <a:pt x="1266" y="1307"/>
                      </a:lnTo>
                      <a:lnTo>
                        <a:pt x="1266" y="1310"/>
                      </a:lnTo>
                      <a:lnTo>
                        <a:pt x="1270" y="1316"/>
                      </a:lnTo>
                      <a:lnTo>
                        <a:pt x="1266" y="1318"/>
                      </a:lnTo>
                      <a:lnTo>
                        <a:pt x="1264" y="1318"/>
                      </a:lnTo>
                      <a:lnTo>
                        <a:pt x="1261" y="1318"/>
                      </a:lnTo>
                      <a:lnTo>
                        <a:pt x="1258" y="1310"/>
                      </a:lnTo>
                      <a:lnTo>
                        <a:pt x="1253" y="1310"/>
                      </a:lnTo>
                      <a:lnTo>
                        <a:pt x="1245" y="1307"/>
                      </a:lnTo>
                      <a:lnTo>
                        <a:pt x="1245" y="1310"/>
                      </a:lnTo>
                      <a:lnTo>
                        <a:pt x="1237" y="1318"/>
                      </a:lnTo>
                      <a:lnTo>
                        <a:pt x="1231" y="1316"/>
                      </a:lnTo>
                      <a:lnTo>
                        <a:pt x="1225" y="1316"/>
                      </a:lnTo>
                      <a:lnTo>
                        <a:pt x="1220" y="1325"/>
                      </a:lnTo>
                      <a:lnTo>
                        <a:pt x="1217" y="1325"/>
                      </a:lnTo>
                      <a:lnTo>
                        <a:pt x="1212" y="1325"/>
                      </a:lnTo>
                      <a:lnTo>
                        <a:pt x="1204" y="1322"/>
                      </a:lnTo>
                      <a:lnTo>
                        <a:pt x="1197" y="1327"/>
                      </a:lnTo>
                      <a:lnTo>
                        <a:pt x="1189" y="1330"/>
                      </a:lnTo>
                      <a:lnTo>
                        <a:pt x="1181" y="1330"/>
                      </a:lnTo>
                      <a:lnTo>
                        <a:pt x="1176" y="1327"/>
                      </a:lnTo>
                      <a:lnTo>
                        <a:pt x="1171" y="1330"/>
                      </a:lnTo>
                      <a:lnTo>
                        <a:pt x="1168" y="1330"/>
                      </a:lnTo>
                      <a:lnTo>
                        <a:pt x="1168" y="1327"/>
                      </a:lnTo>
                      <a:lnTo>
                        <a:pt x="1165" y="1325"/>
                      </a:lnTo>
                      <a:lnTo>
                        <a:pt x="1153" y="1318"/>
                      </a:lnTo>
                      <a:lnTo>
                        <a:pt x="1148" y="1322"/>
                      </a:lnTo>
                      <a:lnTo>
                        <a:pt x="1143" y="1322"/>
                      </a:lnTo>
                      <a:lnTo>
                        <a:pt x="1140" y="1327"/>
                      </a:lnTo>
                      <a:lnTo>
                        <a:pt x="1135" y="1327"/>
                      </a:lnTo>
                      <a:lnTo>
                        <a:pt x="1126" y="1327"/>
                      </a:lnTo>
                      <a:lnTo>
                        <a:pt x="1123" y="1322"/>
                      </a:lnTo>
                      <a:lnTo>
                        <a:pt x="1118" y="1316"/>
                      </a:lnTo>
                      <a:lnTo>
                        <a:pt x="1118" y="1313"/>
                      </a:lnTo>
                      <a:lnTo>
                        <a:pt x="1110" y="1307"/>
                      </a:lnTo>
                      <a:lnTo>
                        <a:pt x="1104" y="1310"/>
                      </a:lnTo>
                      <a:lnTo>
                        <a:pt x="1099" y="1310"/>
                      </a:lnTo>
                      <a:lnTo>
                        <a:pt x="1095" y="1313"/>
                      </a:lnTo>
                      <a:lnTo>
                        <a:pt x="1095" y="1322"/>
                      </a:lnTo>
                      <a:lnTo>
                        <a:pt x="1092" y="1322"/>
                      </a:lnTo>
                      <a:lnTo>
                        <a:pt x="1090" y="1327"/>
                      </a:lnTo>
                      <a:lnTo>
                        <a:pt x="1082" y="1325"/>
                      </a:lnTo>
                      <a:lnTo>
                        <a:pt x="1076" y="1327"/>
                      </a:lnTo>
                      <a:lnTo>
                        <a:pt x="1068" y="1322"/>
                      </a:lnTo>
                      <a:lnTo>
                        <a:pt x="1066" y="1322"/>
                      </a:lnTo>
                      <a:lnTo>
                        <a:pt x="1059" y="1327"/>
                      </a:lnTo>
                      <a:lnTo>
                        <a:pt x="1054" y="1325"/>
                      </a:lnTo>
                      <a:lnTo>
                        <a:pt x="1051" y="1322"/>
                      </a:lnTo>
                      <a:lnTo>
                        <a:pt x="1049" y="1316"/>
                      </a:lnTo>
                      <a:lnTo>
                        <a:pt x="1046" y="1313"/>
                      </a:lnTo>
                      <a:lnTo>
                        <a:pt x="1041" y="1310"/>
                      </a:lnTo>
                      <a:lnTo>
                        <a:pt x="1030" y="1307"/>
                      </a:lnTo>
                      <a:lnTo>
                        <a:pt x="1023" y="1313"/>
                      </a:lnTo>
                      <a:lnTo>
                        <a:pt x="1018" y="1316"/>
                      </a:lnTo>
                      <a:lnTo>
                        <a:pt x="1013" y="1313"/>
                      </a:lnTo>
                      <a:lnTo>
                        <a:pt x="1005" y="1310"/>
                      </a:lnTo>
                      <a:lnTo>
                        <a:pt x="1002" y="1305"/>
                      </a:lnTo>
                      <a:lnTo>
                        <a:pt x="997" y="1305"/>
                      </a:lnTo>
                      <a:lnTo>
                        <a:pt x="994" y="1305"/>
                      </a:lnTo>
                      <a:lnTo>
                        <a:pt x="990" y="1307"/>
                      </a:lnTo>
                      <a:lnTo>
                        <a:pt x="988" y="1310"/>
                      </a:lnTo>
                      <a:lnTo>
                        <a:pt x="977" y="1330"/>
                      </a:lnTo>
                      <a:lnTo>
                        <a:pt x="969" y="1333"/>
                      </a:lnTo>
                      <a:lnTo>
                        <a:pt x="966" y="1333"/>
                      </a:lnTo>
                      <a:lnTo>
                        <a:pt x="964" y="1333"/>
                      </a:lnTo>
                      <a:lnTo>
                        <a:pt x="961" y="1330"/>
                      </a:lnTo>
                      <a:lnTo>
                        <a:pt x="957" y="1327"/>
                      </a:lnTo>
                      <a:lnTo>
                        <a:pt x="949" y="1327"/>
                      </a:lnTo>
                      <a:lnTo>
                        <a:pt x="941" y="1327"/>
                      </a:lnTo>
                      <a:lnTo>
                        <a:pt x="938" y="1325"/>
                      </a:lnTo>
                      <a:lnTo>
                        <a:pt x="941" y="1307"/>
                      </a:lnTo>
                      <a:lnTo>
                        <a:pt x="941" y="1305"/>
                      </a:lnTo>
                      <a:lnTo>
                        <a:pt x="941" y="1302"/>
                      </a:lnTo>
                      <a:lnTo>
                        <a:pt x="933" y="1299"/>
                      </a:lnTo>
                      <a:lnTo>
                        <a:pt x="930" y="1291"/>
                      </a:lnTo>
                      <a:lnTo>
                        <a:pt x="928" y="1289"/>
                      </a:lnTo>
                      <a:lnTo>
                        <a:pt x="921" y="1277"/>
                      </a:lnTo>
                      <a:lnTo>
                        <a:pt x="905" y="1266"/>
                      </a:lnTo>
                      <a:lnTo>
                        <a:pt x="903" y="1264"/>
                      </a:lnTo>
                      <a:lnTo>
                        <a:pt x="892" y="1264"/>
                      </a:lnTo>
                      <a:lnTo>
                        <a:pt x="888" y="1264"/>
                      </a:lnTo>
                      <a:lnTo>
                        <a:pt x="883" y="1266"/>
                      </a:lnTo>
                      <a:lnTo>
                        <a:pt x="880" y="1266"/>
                      </a:lnTo>
                      <a:lnTo>
                        <a:pt x="875" y="1258"/>
                      </a:lnTo>
                      <a:lnTo>
                        <a:pt x="867" y="1258"/>
                      </a:lnTo>
                      <a:lnTo>
                        <a:pt x="861" y="1261"/>
                      </a:lnTo>
                      <a:lnTo>
                        <a:pt x="856" y="1261"/>
                      </a:lnTo>
                      <a:lnTo>
                        <a:pt x="834" y="1250"/>
                      </a:lnTo>
                      <a:lnTo>
                        <a:pt x="811" y="1250"/>
                      </a:lnTo>
                      <a:lnTo>
                        <a:pt x="795" y="1244"/>
                      </a:lnTo>
                      <a:lnTo>
                        <a:pt x="787" y="1238"/>
                      </a:lnTo>
                      <a:lnTo>
                        <a:pt x="781" y="1236"/>
                      </a:lnTo>
                      <a:lnTo>
                        <a:pt x="773" y="1233"/>
                      </a:lnTo>
                      <a:lnTo>
                        <a:pt x="770" y="1233"/>
                      </a:lnTo>
                      <a:lnTo>
                        <a:pt x="762" y="1228"/>
                      </a:lnTo>
                      <a:lnTo>
                        <a:pt x="759" y="1217"/>
                      </a:lnTo>
                      <a:lnTo>
                        <a:pt x="757" y="1217"/>
                      </a:lnTo>
                      <a:lnTo>
                        <a:pt x="750" y="1211"/>
                      </a:lnTo>
                      <a:lnTo>
                        <a:pt x="745" y="1208"/>
                      </a:lnTo>
                      <a:lnTo>
                        <a:pt x="737" y="1211"/>
                      </a:lnTo>
                      <a:lnTo>
                        <a:pt x="734" y="1211"/>
                      </a:lnTo>
                      <a:lnTo>
                        <a:pt x="723" y="1208"/>
                      </a:lnTo>
                      <a:lnTo>
                        <a:pt x="717" y="1208"/>
                      </a:lnTo>
                      <a:lnTo>
                        <a:pt x="706" y="1205"/>
                      </a:lnTo>
                      <a:lnTo>
                        <a:pt x="701" y="1208"/>
                      </a:lnTo>
                      <a:lnTo>
                        <a:pt x="696" y="1208"/>
                      </a:lnTo>
                      <a:lnTo>
                        <a:pt x="685" y="1203"/>
                      </a:lnTo>
                      <a:lnTo>
                        <a:pt x="676" y="1203"/>
                      </a:lnTo>
                      <a:lnTo>
                        <a:pt x="668" y="1213"/>
                      </a:lnTo>
                      <a:lnTo>
                        <a:pt x="665" y="1213"/>
                      </a:lnTo>
                      <a:lnTo>
                        <a:pt x="654" y="1220"/>
                      </a:lnTo>
                      <a:lnTo>
                        <a:pt x="648" y="1220"/>
                      </a:lnTo>
                      <a:lnTo>
                        <a:pt x="645" y="1217"/>
                      </a:lnTo>
                      <a:lnTo>
                        <a:pt x="635" y="1220"/>
                      </a:lnTo>
                      <a:lnTo>
                        <a:pt x="632" y="1222"/>
                      </a:lnTo>
                      <a:lnTo>
                        <a:pt x="627" y="1220"/>
                      </a:lnTo>
                      <a:lnTo>
                        <a:pt x="619" y="1217"/>
                      </a:lnTo>
                      <a:lnTo>
                        <a:pt x="607" y="1208"/>
                      </a:lnTo>
                      <a:lnTo>
                        <a:pt x="601" y="1205"/>
                      </a:lnTo>
                      <a:lnTo>
                        <a:pt x="588" y="1205"/>
                      </a:lnTo>
                      <a:lnTo>
                        <a:pt x="583" y="1205"/>
                      </a:lnTo>
                      <a:lnTo>
                        <a:pt x="574" y="1211"/>
                      </a:lnTo>
                      <a:lnTo>
                        <a:pt x="566" y="1211"/>
                      </a:lnTo>
                      <a:lnTo>
                        <a:pt x="563" y="1205"/>
                      </a:lnTo>
                      <a:lnTo>
                        <a:pt x="560" y="1195"/>
                      </a:lnTo>
                      <a:lnTo>
                        <a:pt x="560" y="1192"/>
                      </a:lnTo>
                      <a:lnTo>
                        <a:pt x="555" y="1192"/>
                      </a:lnTo>
                      <a:lnTo>
                        <a:pt x="552" y="1189"/>
                      </a:lnTo>
                      <a:lnTo>
                        <a:pt x="550" y="1189"/>
                      </a:lnTo>
                      <a:lnTo>
                        <a:pt x="543" y="1187"/>
                      </a:lnTo>
                      <a:lnTo>
                        <a:pt x="514" y="1195"/>
                      </a:lnTo>
                      <a:lnTo>
                        <a:pt x="510" y="1195"/>
                      </a:lnTo>
                      <a:lnTo>
                        <a:pt x="502" y="1192"/>
                      </a:lnTo>
                      <a:lnTo>
                        <a:pt x="497" y="1187"/>
                      </a:lnTo>
                      <a:lnTo>
                        <a:pt x="494" y="1184"/>
                      </a:lnTo>
                      <a:lnTo>
                        <a:pt x="491" y="1181"/>
                      </a:lnTo>
                      <a:lnTo>
                        <a:pt x="474" y="1167"/>
                      </a:lnTo>
                      <a:lnTo>
                        <a:pt x="466" y="1167"/>
                      </a:lnTo>
                      <a:lnTo>
                        <a:pt x="453" y="1159"/>
                      </a:lnTo>
                      <a:lnTo>
                        <a:pt x="441" y="1156"/>
                      </a:lnTo>
                      <a:lnTo>
                        <a:pt x="438" y="1156"/>
                      </a:lnTo>
                      <a:lnTo>
                        <a:pt x="428" y="1156"/>
                      </a:lnTo>
                      <a:lnTo>
                        <a:pt x="414" y="1148"/>
                      </a:lnTo>
                      <a:lnTo>
                        <a:pt x="409" y="1145"/>
                      </a:lnTo>
                      <a:lnTo>
                        <a:pt x="405" y="1145"/>
                      </a:lnTo>
                      <a:lnTo>
                        <a:pt x="400" y="1148"/>
                      </a:lnTo>
                      <a:lnTo>
                        <a:pt x="397" y="1151"/>
                      </a:lnTo>
                      <a:lnTo>
                        <a:pt x="392" y="1159"/>
                      </a:lnTo>
                      <a:lnTo>
                        <a:pt x="389" y="1167"/>
                      </a:lnTo>
                      <a:lnTo>
                        <a:pt x="389" y="1170"/>
                      </a:lnTo>
                      <a:lnTo>
                        <a:pt x="386" y="1181"/>
                      </a:lnTo>
                      <a:lnTo>
                        <a:pt x="386" y="1184"/>
                      </a:lnTo>
                      <a:lnTo>
                        <a:pt x="389" y="1200"/>
                      </a:lnTo>
                      <a:lnTo>
                        <a:pt x="378" y="1203"/>
                      </a:lnTo>
                      <a:lnTo>
                        <a:pt x="372" y="1205"/>
                      </a:lnTo>
                      <a:lnTo>
                        <a:pt x="361" y="1211"/>
                      </a:lnTo>
                      <a:lnTo>
                        <a:pt x="359" y="1211"/>
                      </a:lnTo>
                      <a:lnTo>
                        <a:pt x="359" y="1208"/>
                      </a:lnTo>
                      <a:lnTo>
                        <a:pt x="359" y="1197"/>
                      </a:lnTo>
                      <a:lnTo>
                        <a:pt x="353" y="1189"/>
                      </a:lnTo>
                      <a:lnTo>
                        <a:pt x="351" y="1187"/>
                      </a:lnTo>
                      <a:lnTo>
                        <a:pt x="339" y="1189"/>
                      </a:lnTo>
                      <a:lnTo>
                        <a:pt x="334" y="1192"/>
                      </a:lnTo>
                      <a:lnTo>
                        <a:pt x="328" y="1197"/>
                      </a:lnTo>
                      <a:lnTo>
                        <a:pt x="320" y="1195"/>
                      </a:lnTo>
                      <a:lnTo>
                        <a:pt x="300" y="1195"/>
                      </a:lnTo>
                      <a:lnTo>
                        <a:pt x="287" y="1189"/>
                      </a:lnTo>
                      <a:lnTo>
                        <a:pt x="282" y="1187"/>
                      </a:lnTo>
                      <a:lnTo>
                        <a:pt x="279" y="1187"/>
                      </a:lnTo>
                      <a:lnTo>
                        <a:pt x="276" y="1184"/>
                      </a:lnTo>
                      <a:lnTo>
                        <a:pt x="270" y="1184"/>
                      </a:lnTo>
                      <a:lnTo>
                        <a:pt x="270" y="1187"/>
                      </a:lnTo>
                      <a:lnTo>
                        <a:pt x="265" y="1187"/>
                      </a:lnTo>
                      <a:lnTo>
                        <a:pt x="251" y="1195"/>
                      </a:lnTo>
                      <a:lnTo>
                        <a:pt x="248" y="1195"/>
                      </a:lnTo>
                      <a:lnTo>
                        <a:pt x="240" y="1189"/>
                      </a:lnTo>
                      <a:lnTo>
                        <a:pt x="234" y="1187"/>
                      </a:lnTo>
                      <a:lnTo>
                        <a:pt x="231" y="1187"/>
                      </a:lnTo>
                      <a:lnTo>
                        <a:pt x="221" y="1175"/>
                      </a:lnTo>
                      <a:lnTo>
                        <a:pt x="215" y="1167"/>
                      </a:lnTo>
                      <a:lnTo>
                        <a:pt x="213" y="1167"/>
                      </a:lnTo>
                      <a:lnTo>
                        <a:pt x="207" y="1170"/>
                      </a:lnTo>
                      <a:lnTo>
                        <a:pt x="182" y="1187"/>
                      </a:lnTo>
                      <a:lnTo>
                        <a:pt x="165" y="1192"/>
                      </a:lnTo>
                      <a:lnTo>
                        <a:pt x="157" y="1192"/>
                      </a:lnTo>
                      <a:lnTo>
                        <a:pt x="146" y="1187"/>
                      </a:lnTo>
                      <a:lnTo>
                        <a:pt x="136" y="1184"/>
                      </a:lnTo>
                      <a:lnTo>
                        <a:pt x="132" y="1181"/>
                      </a:lnTo>
                      <a:lnTo>
                        <a:pt x="129" y="1181"/>
                      </a:lnTo>
                      <a:lnTo>
                        <a:pt x="121" y="1181"/>
                      </a:lnTo>
                      <a:lnTo>
                        <a:pt x="108" y="1187"/>
                      </a:lnTo>
                      <a:lnTo>
                        <a:pt x="102" y="1184"/>
                      </a:lnTo>
                      <a:lnTo>
                        <a:pt x="83" y="1170"/>
                      </a:lnTo>
                      <a:lnTo>
                        <a:pt x="75" y="1167"/>
                      </a:lnTo>
                      <a:lnTo>
                        <a:pt x="55" y="1170"/>
                      </a:lnTo>
                      <a:lnTo>
                        <a:pt x="52" y="1172"/>
                      </a:lnTo>
                      <a:lnTo>
                        <a:pt x="47" y="1175"/>
                      </a:lnTo>
                      <a:lnTo>
                        <a:pt x="41" y="1178"/>
                      </a:lnTo>
                      <a:lnTo>
                        <a:pt x="41" y="1181"/>
                      </a:lnTo>
                      <a:lnTo>
                        <a:pt x="36" y="1184"/>
                      </a:lnTo>
                      <a:lnTo>
                        <a:pt x="31" y="1189"/>
                      </a:lnTo>
                      <a:lnTo>
                        <a:pt x="24" y="1195"/>
                      </a:lnTo>
                      <a:lnTo>
                        <a:pt x="14" y="1197"/>
                      </a:lnTo>
                      <a:lnTo>
                        <a:pt x="8" y="1205"/>
                      </a:lnTo>
                      <a:lnTo>
                        <a:pt x="6" y="1197"/>
                      </a:lnTo>
                      <a:lnTo>
                        <a:pt x="3" y="1189"/>
                      </a:lnTo>
                      <a:close/>
                      <a:moveTo>
                        <a:pt x="3359" y="1517"/>
                      </a:moveTo>
                      <a:lnTo>
                        <a:pt x="3359" y="1520"/>
                      </a:lnTo>
                      <a:lnTo>
                        <a:pt x="3356" y="1520"/>
                      </a:lnTo>
                      <a:lnTo>
                        <a:pt x="3356" y="1517"/>
                      </a:lnTo>
                      <a:lnTo>
                        <a:pt x="3359" y="1514"/>
                      </a:lnTo>
                      <a:lnTo>
                        <a:pt x="3356" y="1514"/>
                      </a:lnTo>
                      <a:lnTo>
                        <a:pt x="3356" y="1517"/>
                      </a:lnTo>
                      <a:lnTo>
                        <a:pt x="3359" y="1517"/>
                      </a:lnTo>
                      <a:close/>
                      <a:moveTo>
                        <a:pt x="3287" y="1660"/>
                      </a:moveTo>
                      <a:lnTo>
                        <a:pt x="3287" y="1658"/>
                      </a:lnTo>
                      <a:lnTo>
                        <a:pt x="3287" y="1660"/>
                      </a:lnTo>
                      <a:lnTo>
                        <a:pt x="3290" y="1660"/>
                      </a:lnTo>
                      <a:lnTo>
                        <a:pt x="3292" y="1660"/>
                      </a:lnTo>
                      <a:lnTo>
                        <a:pt x="3290" y="1663"/>
                      </a:lnTo>
                      <a:lnTo>
                        <a:pt x="3292" y="1663"/>
                      </a:lnTo>
                      <a:lnTo>
                        <a:pt x="3292" y="1666"/>
                      </a:lnTo>
                      <a:lnTo>
                        <a:pt x="3290" y="1669"/>
                      </a:lnTo>
                      <a:lnTo>
                        <a:pt x="3290" y="1666"/>
                      </a:lnTo>
                      <a:lnTo>
                        <a:pt x="3287" y="1663"/>
                      </a:lnTo>
                      <a:lnTo>
                        <a:pt x="3287" y="1660"/>
                      </a:lnTo>
                      <a:close/>
                      <a:moveTo>
                        <a:pt x="2881" y="1696"/>
                      </a:moveTo>
                      <a:lnTo>
                        <a:pt x="2881" y="1694"/>
                      </a:lnTo>
                      <a:lnTo>
                        <a:pt x="2881" y="1696"/>
                      </a:lnTo>
                      <a:close/>
                      <a:moveTo>
                        <a:pt x="3210" y="1573"/>
                      </a:moveTo>
                      <a:lnTo>
                        <a:pt x="3213" y="1573"/>
                      </a:lnTo>
                      <a:lnTo>
                        <a:pt x="3210" y="1573"/>
                      </a:lnTo>
                      <a:close/>
                      <a:moveTo>
                        <a:pt x="3282" y="1567"/>
                      </a:moveTo>
                      <a:lnTo>
                        <a:pt x="3279" y="1567"/>
                      </a:lnTo>
                      <a:lnTo>
                        <a:pt x="3282" y="1565"/>
                      </a:lnTo>
                      <a:lnTo>
                        <a:pt x="3282" y="1567"/>
                      </a:lnTo>
                      <a:lnTo>
                        <a:pt x="3279" y="1567"/>
                      </a:lnTo>
                      <a:lnTo>
                        <a:pt x="3282" y="1567"/>
                      </a:lnTo>
                      <a:close/>
                      <a:moveTo>
                        <a:pt x="3337" y="1498"/>
                      </a:moveTo>
                      <a:lnTo>
                        <a:pt x="3337" y="1496"/>
                      </a:lnTo>
                      <a:lnTo>
                        <a:pt x="3337" y="1498"/>
                      </a:lnTo>
                      <a:close/>
                      <a:moveTo>
                        <a:pt x="3171" y="1594"/>
                      </a:moveTo>
                      <a:lnTo>
                        <a:pt x="3171" y="1591"/>
                      </a:lnTo>
                      <a:lnTo>
                        <a:pt x="3171" y="1594"/>
                      </a:lnTo>
                      <a:close/>
                      <a:moveTo>
                        <a:pt x="3177" y="1735"/>
                      </a:moveTo>
                      <a:lnTo>
                        <a:pt x="3177" y="1732"/>
                      </a:lnTo>
                      <a:lnTo>
                        <a:pt x="3177" y="1735"/>
                      </a:lnTo>
                      <a:close/>
                      <a:moveTo>
                        <a:pt x="3334" y="1525"/>
                      </a:moveTo>
                      <a:lnTo>
                        <a:pt x="3337" y="1525"/>
                      </a:lnTo>
                      <a:lnTo>
                        <a:pt x="3337" y="1529"/>
                      </a:lnTo>
                      <a:lnTo>
                        <a:pt x="3334" y="1529"/>
                      </a:lnTo>
                      <a:lnTo>
                        <a:pt x="3334" y="1525"/>
                      </a:lnTo>
                      <a:close/>
                      <a:moveTo>
                        <a:pt x="3166" y="1735"/>
                      </a:moveTo>
                      <a:lnTo>
                        <a:pt x="3166" y="1732"/>
                      </a:lnTo>
                      <a:lnTo>
                        <a:pt x="3166" y="1735"/>
                      </a:lnTo>
                      <a:close/>
                      <a:moveTo>
                        <a:pt x="3185" y="1708"/>
                      </a:moveTo>
                      <a:lnTo>
                        <a:pt x="3182" y="1708"/>
                      </a:lnTo>
                      <a:lnTo>
                        <a:pt x="3182" y="1711"/>
                      </a:lnTo>
                      <a:lnTo>
                        <a:pt x="3179" y="1711"/>
                      </a:lnTo>
                      <a:lnTo>
                        <a:pt x="3179" y="1713"/>
                      </a:lnTo>
                      <a:lnTo>
                        <a:pt x="3187" y="1716"/>
                      </a:lnTo>
                      <a:lnTo>
                        <a:pt x="3185" y="1719"/>
                      </a:lnTo>
                      <a:lnTo>
                        <a:pt x="3187" y="1721"/>
                      </a:lnTo>
                      <a:lnTo>
                        <a:pt x="3190" y="1721"/>
                      </a:lnTo>
                      <a:lnTo>
                        <a:pt x="3196" y="1727"/>
                      </a:lnTo>
                      <a:lnTo>
                        <a:pt x="3199" y="1721"/>
                      </a:lnTo>
                      <a:lnTo>
                        <a:pt x="3202" y="1724"/>
                      </a:lnTo>
                      <a:lnTo>
                        <a:pt x="3204" y="1724"/>
                      </a:lnTo>
                      <a:lnTo>
                        <a:pt x="3207" y="1727"/>
                      </a:lnTo>
                      <a:lnTo>
                        <a:pt x="3204" y="1730"/>
                      </a:lnTo>
                      <a:lnTo>
                        <a:pt x="3202" y="1727"/>
                      </a:lnTo>
                      <a:lnTo>
                        <a:pt x="3202" y="1730"/>
                      </a:lnTo>
                      <a:lnTo>
                        <a:pt x="3202" y="1735"/>
                      </a:lnTo>
                      <a:lnTo>
                        <a:pt x="3202" y="1739"/>
                      </a:lnTo>
                      <a:lnTo>
                        <a:pt x="3202" y="1741"/>
                      </a:lnTo>
                      <a:lnTo>
                        <a:pt x="3202" y="1744"/>
                      </a:lnTo>
                      <a:lnTo>
                        <a:pt x="3204" y="1744"/>
                      </a:lnTo>
                      <a:lnTo>
                        <a:pt x="3202" y="1747"/>
                      </a:lnTo>
                      <a:lnTo>
                        <a:pt x="3202" y="1749"/>
                      </a:lnTo>
                      <a:lnTo>
                        <a:pt x="3196" y="1755"/>
                      </a:lnTo>
                      <a:lnTo>
                        <a:pt x="3187" y="1752"/>
                      </a:lnTo>
                      <a:lnTo>
                        <a:pt x="3182" y="1744"/>
                      </a:lnTo>
                      <a:lnTo>
                        <a:pt x="3185" y="1739"/>
                      </a:lnTo>
                      <a:lnTo>
                        <a:pt x="3179" y="1730"/>
                      </a:lnTo>
                      <a:lnTo>
                        <a:pt x="3174" y="1732"/>
                      </a:lnTo>
                      <a:lnTo>
                        <a:pt x="3174" y="1730"/>
                      </a:lnTo>
                      <a:lnTo>
                        <a:pt x="3171" y="1732"/>
                      </a:lnTo>
                      <a:lnTo>
                        <a:pt x="3169" y="1732"/>
                      </a:lnTo>
                      <a:lnTo>
                        <a:pt x="3166" y="1730"/>
                      </a:lnTo>
                      <a:lnTo>
                        <a:pt x="3163" y="1732"/>
                      </a:lnTo>
                      <a:lnTo>
                        <a:pt x="3161" y="1732"/>
                      </a:lnTo>
                      <a:lnTo>
                        <a:pt x="3161" y="1735"/>
                      </a:lnTo>
                      <a:lnTo>
                        <a:pt x="3154" y="1732"/>
                      </a:lnTo>
                      <a:lnTo>
                        <a:pt x="3152" y="1739"/>
                      </a:lnTo>
                      <a:lnTo>
                        <a:pt x="3136" y="1741"/>
                      </a:lnTo>
                      <a:lnTo>
                        <a:pt x="3133" y="1741"/>
                      </a:lnTo>
                      <a:lnTo>
                        <a:pt x="3125" y="1744"/>
                      </a:lnTo>
                      <a:lnTo>
                        <a:pt x="3116" y="1741"/>
                      </a:lnTo>
                      <a:lnTo>
                        <a:pt x="3110" y="1732"/>
                      </a:lnTo>
                      <a:lnTo>
                        <a:pt x="3110" y="1721"/>
                      </a:lnTo>
                      <a:lnTo>
                        <a:pt x="3110" y="1719"/>
                      </a:lnTo>
                      <a:lnTo>
                        <a:pt x="3113" y="1719"/>
                      </a:lnTo>
                      <a:lnTo>
                        <a:pt x="3118" y="1713"/>
                      </a:lnTo>
                      <a:lnTo>
                        <a:pt x="3121" y="1713"/>
                      </a:lnTo>
                      <a:lnTo>
                        <a:pt x="3121" y="1711"/>
                      </a:lnTo>
                      <a:lnTo>
                        <a:pt x="3127" y="1708"/>
                      </a:lnTo>
                      <a:lnTo>
                        <a:pt x="3130" y="1708"/>
                      </a:lnTo>
                      <a:lnTo>
                        <a:pt x="3127" y="1705"/>
                      </a:lnTo>
                      <a:lnTo>
                        <a:pt x="3130" y="1705"/>
                      </a:lnTo>
                      <a:lnTo>
                        <a:pt x="3144" y="1691"/>
                      </a:lnTo>
                      <a:lnTo>
                        <a:pt x="3149" y="1688"/>
                      </a:lnTo>
                      <a:lnTo>
                        <a:pt x="3149" y="1678"/>
                      </a:lnTo>
                      <a:lnTo>
                        <a:pt x="3152" y="1678"/>
                      </a:lnTo>
                      <a:lnTo>
                        <a:pt x="3152" y="1675"/>
                      </a:lnTo>
                      <a:lnTo>
                        <a:pt x="3154" y="1672"/>
                      </a:lnTo>
                      <a:lnTo>
                        <a:pt x="3154" y="1669"/>
                      </a:lnTo>
                      <a:lnTo>
                        <a:pt x="3154" y="1666"/>
                      </a:lnTo>
                      <a:lnTo>
                        <a:pt x="3158" y="1658"/>
                      </a:lnTo>
                      <a:lnTo>
                        <a:pt x="3158" y="1652"/>
                      </a:lnTo>
                      <a:lnTo>
                        <a:pt x="3163" y="1650"/>
                      </a:lnTo>
                      <a:lnTo>
                        <a:pt x="3169" y="1652"/>
                      </a:lnTo>
                      <a:lnTo>
                        <a:pt x="3171" y="1655"/>
                      </a:lnTo>
                      <a:lnTo>
                        <a:pt x="3179" y="1655"/>
                      </a:lnTo>
                      <a:lnTo>
                        <a:pt x="3179" y="1658"/>
                      </a:lnTo>
                      <a:lnTo>
                        <a:pt x="3185" y="1658"/>
                      </a:lnTo>
                      <a:lnTo>
                        <a:pt x="3187" y="1660"/>
                      </a:lnTo>
                      <a:lnTo>
                        <a:pt x="3190" y="1660"/>
                      </a:lnTo>
                      <a:lnTo>
                        <a:pt x="3194" y="1663"/>
                      </a:lnTo>
                      <a:lnTo>
                        <a:pt x="3194" y="1666"/>
                      </a:lnTo>
                      <a:lnTo>
                        <a:pt x="3196" y="1669"/>
                      </a:lnTo>
                      <a:lnTo>
                        <a:pt x="3199" y="1669"/>
                      </a:lnTo>
                      <a:lnTo>
                        <a:pt x="3202" y="1675"/>
                      </a:lnTo>
                      <a:lnTo>
                        <a:pt x="3204" y="1675"/>
                      </a:lnTo>
                      <a:lnTo>
                        <a:pt x="3202" y="1678"/>
                      </a:lnTo>
                      <a:lnTo>
                        <a:pt x="3202" y="1683"/>
                      </a:lnTo>
                      <a:lnTo>
                        <a:pt x="3199" y="1688"/>
                      </a:lnTo>
                      <a:lnTo>
                        <a:pt x="3202" y="1688"/>
                      </a:lnTo>
                      <a:lnTo>
                        <a:pt x="3202" y="1691"/>
                      </a:lnTo>
                      <a:lnTo>
                        <a:pt x="3196" y="1694"/>
                      </a:lnTo>
                      <a:lnTo>
                        <a:pt x="3199" y="1696"/>
                      </a:lnTo>
                      <a:lnTo>
                        <a:pt x="3202" y="1696"/>
                      </a:lnTo>
                      <a:lnTo>
                        <a:pt x="3199" y="1699"/>
                      </a:lnTo>
                      <a:lnTo>
                        <a:pt x="3202" y="1699"/>
                      </a:lnTo>
                      <a:lnTo>
                        <a:pt x="3204" y="1699"/>
                      </a:lnTo>
                      <a:lnTo>
                        <a:pt x="3202" y="1702"/>
                      </a:lnTo>
                      <a:lnTo>
                        <a:pt x="3194" y="1699"/>
                      </a:lnTo>
                      <a:lnTo>
                        <a:pt x="3187" y="1699"/>
                      </a:lnTo>
                      <a:lnTo>
                        <a:pt x="3182" y="1705"/>
                      </a:lnTo>
                      <a:lnTo>
                        <a:pt x="3185" y="1705"/>
                      </a:lnTo>
                      <a:lnTo>
                        <a:pt x="3185" y="1708"/>
                      </a:lnTo>
                      <a:close/>
                      <a:moveTo>
                        <a:pt x="3284" y="1578"/>
                      </a:moveTo>
                      <a:lnTo>
                        <a:pt x="3287" y="1578"/>
                      </a:lnTo>
                      <a:lnTo>
                        <a:pt x="3284" y="1578"/>
                      </a:lnTo>
                      <a:close/>
                      <a:moveTo>
                        <a:pt x="3204" y="1691"/>
                      </a:moveTo>
                      <a:lnTo>
                        <a:pt x="3204" y="1688"/>
                      </a:lnTo>
                      <a:lnTo>
                        <a:pt x="3207" y="1691"/>
                      </a:lnTo>
                      <a:lnTo>
                        <a:pt x="3204" y="1691"/>
                      </a:lnTo>
                      <a:close/>
                      <a:moveTo>
                        <a:pt x="2492" y="1923"/>
                      </a:moveTo>
                      <a:lnTo>
                        <a:pt x="2495" y="1923"/>
                      </a:lnTo>
                      <a:lnTo>
                        <a:pt x="2492" y="1923"/>
                      </a:lnTo>
                      <a:close/>
                      <a:moveTo>
                        <a:pt x="3337" y="1506"/>
                      </a:moveTo>
                      <a:lnTo>
                        <a:pt x="3340" y="1506"/>
                      </a:lnTo>
                      <a:lnTo>
                        <a:pt x="3337" y="1506"/>
                      </a:lnTo>
                      <a:lnTo>
                        <a:pt x="3337" y="1509"/>
                      </a:lnTo>
                      <a:lnTo>
                        <a:pt x="3334" y="1506"/>
                      </a:lnTo>
                      <a:lnTo>
                        <a:pt x="3337" y="1506"/>
                      </a:lnTo>
                      <a:close/>
                      <a:moveTo>
                        <a:pt x="3320" y="1512"/>
                      </a:moveTo>
                      <a:lnTo>
                        <a:pt x="3317" y="1512"/>
                      </a:lnTo>
                      <a:lnTo>
                        <a:pt x="3317" y="1509"/>
                      </a:lnTo>
                      <a:lnTo>
                        <a:pt x="3320" y="1509"/>
                      </a:lnTo>
                      <a:lnTo>
                        <a:pt x="3320" y="1512"/>
                      </a:lnTo>
                      <a:close/>
                      <a:moveTo>
                        <a:pt x="3006" y="1680"/>
                      </a:moveTo>
                      <a:lnTo>
                        <a:pt x="3008" y="1680"/>
                      </a:lnTo>
                      <a:lnTo>
                        <a:pt x="3006" y="1680"/>
                      </a:lnTo>
                      <a:close/>
                      <a:moveTo>
                        <a:pt x="3083" y="1708"/>
                      </a:moveTo>
                      <a:lnTo>
                        <a:pt x="3083" y="1705"/>
                      </a:lnTo>
                      <a:lnTo>
                        <a:pt x="3085" y="1705"/>
                      </a:lnTo>
                      <a:lnTo>
                        <a:pt x="3085" y="1702"/>
                      </a:lnTo>
                      <a:lnTo>
                        <a:pt x="3085" y="1705"/>
                      </a:lnTo>
                      <a:lnTo>
                        <a:pt x="3085" y="1708"/>
                      </a:lnTo>
                      <a:lnTo>
                        <a:pt x="3083" y="1708"/>
                      </a:lnTo>
                      <a:close/>
                      <a:moveTo>
                        <a:pt x="2520" y="1926"/>
                      </a:moveTo>
                      <a:lnTo>
                        <a:pt x="2523" y="1926"/>
                      </a:lnTo>
                      <a:lnTo>
                        <a:pt x="2523" y="1928"/>
                      </a:lnTo>
                      <a:lnTo>
                        <a:pt x="2520" y="1928"/>
                      </a:lnTo>
                      <a:lnTo>
                        <a:pt x="2520" y="1926"/>
                      </a:lnTo>
                      <a:close/>
                      <a:moveTo>
                        <a:pt x="2523" y="1934"/>
                      </a:moveTo>
                      <a:lnTo>
                        <a:pt x="2523" y="1931"/>
                      </a:lnTo>
                      <a:lnTo>
                        <a:pt x="2525" y="1931"/>
                      </a:lnTo>
                      <a:lnTo>
                        <a:pt x="2525" y="1934"/>
                      </a:lnTo>
                      <a:lnTo>
                        <a:pt x="2523" y="1934"/>
                      </a:lnTo>
                      <a:close/>
                      <a:moveTo>
                        <a:pt x="3353" y="1525"/>
                      </a:moveTo>
                      <a:lnTo>
                        <a:pt x="3353" y="1529"/>
                      </a:lnTo>
                      <a:lnTo>
                        <a:pt x="3353" y="1525"/>
                      </a:lnTo>
                      <a:lnTo>
                        <a:pt x="3356" y="1525"/>
                      </a:lnTo>
                      <a:lnTo>
                        <a:pt x="3356" y="1522"/>
                      </a:lnTo>
                      <a:lnTo>
                        <a:pt x="3356" y="1525"/>
                      </a:lnTo>
                      <a:lnTo>
                        <a:pt x="3356" y="1529"/>
                      </a:lnTo>
                      <a:lnTo>
                        <a:pt x="3353" y="1525"/>
                      </a:lnTo>
                      <a:close/>
                      <a:moveTo>
                        <a:pt x="3003" y="1686"/>
                      </a:moveTo>
                      <a:lnTo>
                        <a:pt x="3003" y="1683"/>
                      </a:lnTo>
                      <a:lnTo>
                        <a:pt x="3006" y="1683"/>
                      </a:lnTo>
                      <a:lnTo>
                        <a:pt x="3006" y="1686"/>
                      </a:lnTo>
                      <a:lnTo>
                        <a:pt x="3003" y="1686"/>
                      </a:lnTo>
                      <a:close/>
                      <a:moveTo>
                        <a:pt x="3177" y="1600"/>
                      </a:moveTo>
                      <a:lnTo>
                        <a:pt x="3179" y="1597"/>
                      </a:lnTo>
                      <a:lnTo>
                        <a:pt x="3182" y="1597"/>
                      </a:lnTo>
                      <a:lnTo>
                        <a:pt x="3182" y="1600"/>
                      </a:lnTo>
                      <a:lnTo>
                        <a:pt x="3177" y="1600"/>
                      </a:lnTo>
                      <a:close/>
                      <a:moveTo>
                        <a:pt x="2978" y="1711"/>
                      </a:moveTo>
                      <a:lnTo>
                        <a:pt x="2978" y="1708"/>
                      </a:lnTo>
                      <a:lnTo>
                        <a:pt x="2980" y="1708"/>
                      </a:lnTo>
                      <a:lnTo>
                        <a:pt x="2983" y="1708"/>
                      </a:lnTo>
                      <a:lnTo>
                        <a:pt x="2980" y="1711"/>
                      </a:lnTo>
                      <a:lnTo>
                        <a:pt x="2980" y="1713"/>
                      </a:lnTo>
                      <a:lnTo>
                        <a:pt x="2978" y="1713"/>
                      </a:lnTo>
                      <a:lnTo>
                        <a:pt x="2978" y="1711"/>
                      </a:lnTo>
                      <a:close/>
                      <a:moveTo>
                        <a:pt x="3232" y="1586"/>
                      </a:moveTo>
                      <a:lnTo>
                        <a:pt x="3235" y="1583"/>
                      </a:lnTo>
                      <a:lnTo>
                        <a:pt x="3238" y="1586"/>
                      </a:lnTo>
                      <a:lnTo>
                        <a:pt x="3238" y="1589"/>
                      </a:lnTo>
                      <a:lnTo>
                        <a:pt x="3235" y="1586"/>
                      </a:lnTo>
                      <a:lnTo>
                        <a:pt x="3232" y="1589"/>
                      </a:lnTo>
                      <a:lnTo>
                        <a:pt x="3232" y="1586"/>
                      </a:lnTo>
                      <a:close/>
                      <a:moveTo>
                        <a:pt x="3232" y="1686"/>
                      </a:moveTo>
                      <a:lnTo>
                        <a:pt x="3238" y="1683"/>
                      </a:lnTo>
                      <a:lnTo>
                        <a:pt x="3240" y="1680"/>
                      </a:lnTo>
                      <a:lnTo>
                        <a:pt x="3240" y="1683"/>
                      </a:lnTo>
                      <a:lnTo>
                        <a:pt x="3251" y="1688"/>
                      </a:lnTo>
                      <a:lnTo>
                        <a:pt x="3248" y="1691"/>
                      </a:lnTo>
                      <a:lnTo>
                        <a:pt x="3243" y="1688"/>
                      </a:lnTo>
                      <a:lnTo>
                        <a:pt x="3238" y="1694"/>
                      </a:lnTo>
                      <a:lnTo>
                        <a:pt x="3235" y="1688"/>
                      </a:lnTo>
                      <a:lnTo>
                        <a:pt x="3232" y="1686"/>
                      </a:lnTo>
                      <a:close/>
                      <a:moveTo>
                        <a:pt x="3273" y="1573"/>
                      </a:moveTo>
                      <a:lnTo>
                        <a:pt x="3273" y="1570"/>
                      </a:lnTo>
                      <a:lnTo>
                        <a:pt x="3282" y="1573"/>
                      </a:lnTo>
                      <a:lnTo>
                        <a:pt x="3282" y="1575"/>
                      </a:lnTo>
                      <a:lnTo>
                        <a:pt x="3273" y="1578"/>
                      </a:lnTo>
                      <a:lnTo>
                        <a:pt x="3265" y="1586"/>
                      </a:lnTo>
                      <a:lnTo>
                        <a:pt x="3265" y="1581"/>
                      </a:lnTo>
                      <a:lnTo>
                        <a:pt x="3265" y="1578"/>
                      </a:lnTo>
                      <a:lnTo>
                        <a:pt x="3263" y="1575"/>
                      </a:lnTo>
                      <a:lnTo>
                        <a:pt x="3265" y="1573"/>
                      </a:lnTo>
                      <a:lnTo>
                        <a:pt x="3265" y="1570"/>
                      </a:lnTo>
                      <a:lnTo>
                        <a:pt x="3265" y="1573"/>
                      </a:lnTo>
                      <a:lnTo>
                        <a:pt x="3268" y="1575"/>
                      </a:lnTo>
                      <a:lnTo>
                        <a:pt x="3271" y="1575"/>
                      </a:lnTo>
                      <a:lnTo>
                        <a:pt x="3273" y="1573"/>
                      </a:lnTo>
                      <a:close/>
                    </a:path>
                  </a:pathLst>
                </a:custGeom>
                <a:grpFill/>
                <a:ln w="12700" cap="flat" cmpd="sng" algn="ctr">
                  <a:solidFill>
                    <a:schemeClr val="bg1">
                      <a:lumMod val="85000"/>
                    </a:schemeClr>
                  </a:solidFill>
                  <a:prstDash val="solid"/>
                  <a:round/>
                  <a:headEnd type="none" w="med" len="med"/>
                  <a:tailEnd type="none" w="med" len="med"/>
                </a:ln>
              </p:spPr>
            </p:sp>
            <p:sp>
              <p:nvSpPr>
                <p:cNvPr id="62" name="ee4p_BR_23"/>
                <p:cNvSpPr>
                  <a:spLocks/>
                </p:cNvSpPr>
                <p:nvPr>
                  <p:custDataLst>
                    <p:tags r:id="rId24"/>
                  </p:custDataLst>
                </p:nvPr>
              </p:nvSpPr>
              <p:spPr bwMode="auto">
                <a:xfrm>
                  <a:off x="6269279" y="3279025"/>
                  <a:ext cx="194832" cy="243539"/>
                </a:xfrm>
                <a:custGeom>
                  <a:avLst/>
                  <a:gdLst/>
                  <a:ahLst/>
                  <a:cxnLst>
                    <a:cxn ang="0">
                      <a:pos x="13" y="500"/>
                    </a:cxn>
                    <a:cxn ang="0">
                      <a:pos x="49" y="500"/>
                    </a:cxn>
                    <a:cxn ang="0">
                      <a:pos x="82" y="506"/>
                    </a:cxn>
                    <a:cxn ang="0">
                      <a:pos x="168" y="448"/>
                    </a:cxn>
                    <a:cxn ang="0">
                      <a:pos x="170" y="429"/>
                    </a:cxn>
                    <a:cxn ang="0">
                      <a:pos x="159" y="379"/>
                    </a:cxn>
                    <a:cxn ang="0">
                      <a:pos x="170" y="363"/>
                    </a:cxn>
                    <a:cxn ang="0">
                      <a:pos x="203" y="340"/>
                    </a:cxn>
                    <a:cxn ang="0">
                      <a:pos x="170" y="227"/>
                    </a:cxn>
                    <a:cxn ang="0">
                      <a:pos x="132" y="194"/>
                    </a:cxn>
                    <a:cxn ang="0">
                      <a:pos x="98" y="169"/>
                    </a:cxn>
                    <a:cxn ang="0">
                      <a:pos x="113" y="128"/>
                    </a:cxn>
                    <a:cxn ang="0">
                      <a:pos x="82" y="92"/>
                    </a:cxn>
                    <a:cxn ang="0">
                      <a:pos x="98" y="59"/>
                    </a:cxn>
                    <a:cxn ang="0">
                      <a:pos x="82" y="36"/>
                    </a:cxn>
                    <a:cxn ang="0">
                      <a:pos x="88" y="15"/>
                    </a:cxn>
                    <a:cxn ang="0">
                      <a:pos x="141" y="12"/>
                    </a:cxn>
                    <a:cxn ang="0">
                      <a:pos x="177" y="40"/>
                    </a:cxn>
                    <a:cxn ang="0">
                      <a:pos x="231" y="59"/>
                    </a:cxn>
                    <a:cxn ang="0">
                      <a:pos x="331" y="103"/>
                    </a:cxn>
                    <a:cxn ang="0">
                      <a:pos x="383" y="130"/>
                    </a:cxn>
                    <a:cxn ang="0">
                      <a:pos x="425" y="161"/>
                    </a:cxn>
                    <a:cxn ang="0">
                      <a:pos x="504" y="194"/>
                    </a:cxn>
                    <a:cxn ang="0">
                      <a:pos x="521" y="227"/>
                    </a:cxn>
                    <a:cxn ang="0">
                      <a:pos x="555" y="266"/>
                    </a:cxn>
                    <a:cxn ang="0">
                      <a:pos x="579" y="293"/>
                    </a:cxn>
                    <a:cxn ang="0">
                      <a:pos x="612" y="310"/>
                    </a:cxn>
                    <a:cxn ang="0">
                      <a:pos x="650" y="310"/>
                    </a:cxn>
                    <a:cxn ang="0">
                      <a:pos x="678" y="337"/>
                    </a:cxn>
                    <a:cxn ang="0">
                      <a:pos x="701" y="381"/>
                    </a:cxn>
                    <a:cxn ang="0">
                      <a:pos x="734" y="381"/>
                    </a:cxn>
                    <a:cxn ang="0">
                      <a:pos x="747" y="420"/>
                    </a:cxn>
                    <a:cxn ang="0">
                      <a:pos x="581" y="500"/>
                    </a:cxn>
                    <a:cxn ang="0">
                      <a:pos x="483" y="621"/>
                    </a:cxn>
                    <a:cxn ang="0">
                      <a:pos x="372" y="803"/>
                    </a:cxn>
                    <a:cxn ang="0">
                      <a:pos x="336" y="831"/>
                    </a:cxn>
                    <a:cxn ang="0">
                      <a:pos x="281" y="854"/>
                    </a:cxn>
                    <a:cxn ang="0">
                      <a:pos x="270" y="846"/>
                    </a:cxn>
                    <a:cxn ang="0">
                      <a:pos x="246" y="839"/>
                    </a:cxn>
                    <a:cxn ang="0">
                      <a:pos x="231" y="859"/>
                    </a:cxn>
                    <a:cxn ang="0">
                      <a:pos x="210" y="854"/>
                    </a:cxn>
                    <a:cxn ang="0">
                      <a:pos x="179" y="843"/>
                    </a:cxn>
                    <a:cxn ang="0">
                      <a:pos x="159" y="820"/>
                    </a:cxn>
                    <a:cxn ang="0">
                      <a:pos x="159" y="807"/>
                    </a:cxn>
                    <a:cxn ang="0">
                      <a:pos x="143" y="807"/>
                    </a:cxn>
                    <a:cxn ang="0">
                      <a:pos x="126" y="793"/>
                    </a:cxn>
                    <a:cxn ang="0">
                      <a:pos x="118" y="793"/>
                    </a:cxn>
                    <a:cxn ang="0">
                      <a:pos x="110" y="779"/>
                    </a:cxn>
                    <a:cxn ang="0">
                      <a:pos x="98" y="759"/>
                    </a:cxn>
                    <a:cxn ang="0">
                      <a:pos x="101" y="732"/>
                    </a:cxn>
                    <a:cxn ang="0">
                      <a:pos x="107" y="715"/>
                    </a:cxn>
                    <a:cxn ang="0">
                      <a:pos x="96" y="705"/>
                    </a:cxn>
                    <a:cxn ang="0">
                      <a:pos x="72" y="677"/>
                    </a:cxn>
                    <a:cxn ang="0">
                      <a:pos x="65" y="649"/>
                    </a:cxn>
                    <a:cxn ang="0">
                      <a:pos x="57" y="638"/>
                    </a:cxn>
                    <a:cxn ang="0">
                      <a:pos x="38" y="621"/>
                    </a:cxn>
                    <a:cxn ang="0">
                      <a:pos x="13" y="591"/>
                    </a:cxn>
                    <a:cxn ang="0">
                      <a:pos x="5" y="558"/>
                    </a:cxn>
                  </a:cxnLst>
                  <a:rect l="0" t="0" r="r" b="b"/>
                  <a:pathLst>
                    <a:path w="750" h="862">
                      <a:moveTo>
                        <a:pt x="3" y="536"/>
                      </a:moveTo>
                      <a:lnTo>
                        <a:pt x="5" y="536"/>
                      </a:lnTo>
                      <a:lnTo>
                        <a:pt x="8" y="531"/>
                      </a:lnTo>
                      <a:lnTo>
                        <a:pt x="11" y="522"/>
                      </a:lnTo>
                      <a:lnTo>
                        <a:pt x="11" y="517"/>
                      </a:lnTo>
                      <a:lnTo>
                        <a:pt x="11" y="511"/>
                      </a:lnTo>
                      <a:lnTo>
                        <a:pt x="11" y="506"/>
                      </a:lnTo>
                      <a:lnTo>
                        <a:pt x="13" y="500"/>
                      </a:lnTo>
                      <a:lnTo>
                        <a:pt x="16" y="500"/>
                      </a:lnTo>
                      <a:lnTo>
                        <a:pt x="24" y="498"/>
                      </a:lnTo>
                      <a:lnTo>
                        <a:pt x="27" y="503"/>
                      </a:lnTo>
                      <a:lnTo>
                        <a:pt x="32" y="503"/>
                      </a:lnTo>
                      <a:lnTo>
                        <a:pt x="36" y="503"/>
                      </a:lnTo>
                      <a:lnTo>
                        <a:pt x="41" y="506"/>
                      </a:lnTo>
                      <a:lnTo>
                        <a:pt x="47" y="506"/>
                      </a:lnTo>
                      <a:lnTo>
                        <a:pt x="49" y="500"/>
                      </a:lnTo>
                      <a:lnTo>
                        <a:pt x="55" y="503"/>
                      </a:lnTo>
                      <a:lnTo>
                        <a:pt x="60" y="498"/>
                      </a:lnTo>
                      <a:lnTo>
                        <a:pt x="63" y="500"/>
                      </a:lnTo>
                      <a:lnTo>
                        <a:pt x="65" y="503"/>
                      </a:lnTo>
                      <a:lnTo>
                        <a:pt x="74" y="500"/>
                      </a:lnTo>
                      <a:lnTo>
                        <a:pt x="77" y="500"/>
                      </a:lnTo>
                      <a:lnTo>
                        <a:pt x="80" y="506"/>
                      </a:lnTo>
                      <a:lnTo>
                        <a:pt x="82" y="506"/>
                      </a:lnTo>
                      <a:lnTo>
                        <a:pt x="88" y="511"/>
                      </a:lnTo>
                      <a:lnTo>
                        <a:pt x="88" y="514"/>
                      </a:lnTo>
                      <a:lnTo>
                        <a:pt x="88" y="525"/>
                      </a:lnTo>
                      <a:lnTo>
                        <a:pt x="98" y="525"/>
                      </a:lnTo>
                      <a:lnTo>
                        <a:pt x="110" y="519"/>
                      </a:lnTo>
                      <a:lnTo>
                        <a:pt x="124" y="514"/>
                      </a:lnTo>
                      <a:lnTo>
                        <a:pt x="174" y="495"/>
                      </a:lnTo>
                      <a:lnTo>
                        <a:pt x="168" y="448"/>
                      </a:lnTo>
                      <a:lnTo>
                        <a:pt x="168" y="445"/>
                      </a:lnTo>
                      <a:lnTo>
                        <a:pt x="165" y="442"/>
                      </a:lnTo>
                      <a:lnTo>
                        <a:pt x="165" y="440"/>
                      </a:lnTo>
                      <a:lnTo>
                        <a:pt x="162" y="437"/>
                      </a:lnTo>
                      <a:lnTo>
                        <a:pt x="162" y="434"/>
                      </a:lnTo>
                      <a:lnTo>
                        <a:pt x="168" y="434"/>
                      </a:lnTo>
                      <a:lnTo>
                        <a:pt x="168" y="431"/>
                      </a:lnTo>
                      <a:lnTo>
                        <a:pt x="170" y="429"/>
                      </a:lnTo>
                      <a:lnTo>
                        <a:pt x="170" y="431"/>
                      </a:lnTo>
                      <a:lnTo>
                        <a:pt x="170" y="426"/>
                      </a:lnTo>
                      <a:lnTo>
                        <a:pt x="174" y="420"/>
                      </a:lnTo>
                      <a:lnTo>
                        <a:pt x="174" y="417"/>
                      </a:lnTo>
                      <a:lnTo>
                        <a:pt x="174" y="414"/>
                      </a:lnTo>
                      <a:lnTo>
                        <a:pt x="170" y="406"/>
                      </a:lnTo>
                      <a:lnTo>
                        <a:pt x="157" y="381"/>
                      </a:lnTo>
                      <a:lnTo>
                        <a:pt x="159" y="379"/>
                      </a:lnTo>
                      <a:lnTo>
                        <a:pt x="157" y="373"/>
                      </a:lnTo>
                      <a:lnTo>
                        <a:pt x="165" y="371"/>
                      </a:lnTo>
                      <a:lnTo>
                        <a:pt x="162" y="371"/>
                      </a:lnTo>
                      <a:lnTo>
                        <a:pt x="162" y="368"/>
                      </a:lnTo>
                      <a:lnTo>
                        <a:pt x="165" y="365"/>
                      </a:lnTo>
                      <a:lnTo>
                        <a:pt x="165" y="363"/>
                      </a:lnTo>
                      <a:lnTo>
                        <a:pt x="168" y="363"/>
                      </a:lnTo>
                      <a:lnTo>
                        <a:pt x="170" y="363"/>
                      </a:lnTo>
                      <a:lnTo>
                        <a:pt x="170" y="360"/>
                      </a:lnTo>
                      <a:lnTo>
                        <a:pt x="174" y="357"/>
                      </a:lnTo>
                      <a:lnTo>
                        <a:pt x="177" y="357"/>
                      </a:lnTo>
                      <a:lnTo>
                        <a:pt x="185" y="352"/>
                      </a:lnTo>
                      <a:lnTo>
                        <a:pt x="187" y="348"/>
                      </a:lnTo>
                      <a:lnTo>
                        <a:pt x="195" y="348"/>
                      </a:lnTo>
                      <a:lnTo>
                        <a:pt x="207" y="343"/>
                      </a:lnTo>
                      <a:lnTo>
                        <a:pt x="203" y="340"/>
                      </a:lnTo>
                      <a:lnTo>
                        <a:pt x="203" y="337"/>
                      </a:lnTo>
                      <a:lnTo>
                        <a:pt x="193" y="285"/>
                      </a:lnTo>
                      <a:lnTo>
                        <a:pt x="187" y="283"/>
                      </a:lnTo>
                      <a:lnTo>
                        <a:pt x="187" y="279"/>
                      </a:lnTo>
                      <a:lnTo>
                        <a:pt x="190" y="266"/>
                      </a:lnTo>
                      <a:lnTo>
                        <a:pt x="190" y="260"/>
                      </a:lnTo>
                      <a:lnTo>
                        <a:pt x="182" y="250"/>
                      </a:lnTo>
                      <a:lnTo>
                        <a:pt x="170" y="227"/>
                      </a:lnTo>
                      <a:lnTo>
                        <a:pt x="170" y="219"/>
                      </a:lnTo>
                      <a:lnTo>
                        <a:pt x="170" y="216"/>
                      </a:lnTo>
                      <a:lnTo>
                        <a:pt x="170" y="210"/>
                      </a:lnTo>
                      <a:lnTo>
                        <a:pt x="168" y="205"/>
                      </a:lnTo>
                      <a:lnTo>
                        <a:pt x="149" y="194"/>
                      </a:lnTo>
                      <a:lnTo>
                        <a:pt x="146" y="197"/>
                      </a:lnTo>
                      <a:lnTo>
                        <a:pt x="138" y="194"/>
                      </a:lnTo>
                      <a:lnTo>
                        <a:pt x="132" y="194"/>
                      </a:lnTo>
                      <a:lnTo>
                        <a:pt x="129" y="194"/>
                      </a:lnTo>
                      <a:lnTo>
                        <a:pt x="129" y="189"/>
                      </a:lnTo>
                      <a:lnTo>
                        <a:pt x="124" y="189"/>
                      </a:lnTo>
                      <a:lnTo>
                        <a:pt x="118" y="191"/>
                      </a:lnTo>
                      <a:lnTo>
                        <a:pt x="116" y="191"/>
                      </a:lnTo>
                      <a:lnTo>
                        <a:pt x="113" y="189"/>
                      </a:lnTo>
                      <a:lnTo>
                        <a:pt x="105" y="172"/>
                      </a:lnTo>
                      <a:lnTo>
                        <a:pt x="98" y="169"/>
                      </a:lnTo>
                      <a:lnTo>
                        <a:pt x="98" y="166"/>
                      </a:lnTo>
                      <a:lnTo>
                        <a:pt x="105" y="158"/>
                      </a:lnTo>
                      <a:lnTo>
                        <a:pt x="105" y="150"/>
                      </a:lnTo>
                      <a:lnTo>
                        <a:pt x="110" y="145"/>
                      </a:lnTo>
                      <a:lnTo>
                        <a:pt x="110" y="141"/>
                      </a:lnTo>
                      <a:lnTo>
                        <a:pt x="107" y="138"/>
                      </a:lnTo>
                      <a:lnTo>
                        <a:pt x="110" y="133"/>
                      </a:lnTo>
                      <a:lnTo>
                        <a:pt x="113" y="128"/>
                      </a:lnTo>
                      <a:lnTo>
                        <a:pt x="110" y="125"/>
                      </a:lnTo>
                      <a:lnTo>
                        <a:pt x="107" y="125"/>
                      </a:lnTo>
                      <a:lnTo>
                        <a:pt x="98" y="122"/>
                      </a:lnTo>
                      <a:lnTo>
                        <a:pt x="90" y="114"/>
                      </a:lnTo>
                      <a:lnTo>
                        <a:pt x="90" y="112"/>
                      </a:lnTo>
                      <a:lnTo>
                        <a:pt x="88" y="112"/>
                      </a:lnTo>
                      <a:lnTo>
                        <a:pt x="82" y="100"/>
                      </a:lnTo>
                      <a:lnTo>
                        <a:pt x="82" y="92"/>
                      </a:lnTo>
                      <a:lnTo>
                        <a:pt x="82" y="84"/>
                      </a:lnTo>
                      <a:lnTo>
                        <a:pt x="82" y="78"/>
                      </a:lnTo>
                      <a:lnTo>
                        <a:pt x="82" y="76"/>
                      </a:lnTo>
                      <a:lnTo>
                        <a:pt x="82" y="73"/>
                      </a:lnTo>
                      <a:lnTo>
                        <a:pt x="88" y="69"/>
                      </a:lnTo>
                      <a:lnTo>
                        <a:pt x="90" y="64"/>
                      </a:lnTo>
                      <a:lnTo>
                        <a:pt x="96" y="59"/>
                      </a:lnTo>
                      <a:lnTo>
                        <a:pt x="98" y="59"/>
                      </a:lnTo>
                      <a:lnTo>
                        <a:pt x="101" y="59"/>
                      </a:lnTo>
                      <a:lnTo>
                        <a:pt x="105" y="56"/>
                      </a:lnTo>
                      <a:lnTo>
                        <a:pt x="101" y="53"/>
                      </a:lnTo>
                      <a:lnTo>
                        <a:pt x="96" y="51"/>
                      </a:lnTo>
                      <a:lnTo>
                        <a:pt x="93" y="48"/>
                      </a:lnTo>
                      <a:lnTo>
                        <a:pt x="90" y="45"/>
                      </a:lnTo>
                      <a:lnTo>
                        <a:pt x="85" y="43"/>
                      </a:lnTo>
                      <a:lnTo>
                        <a:pt x="82" y="36"/>
                      </a:lnTo>
                      <a:lnTo>
                        <a:pt x="82" y="28"/>
                      </a:lnTo>
                      <a:lnTo>
                        <a:pt x="82" y="26"/>
                      </a:lnTo>
                      <a:lnTo>
                        <a:pt x="85" y="23"/>
                      </a:lnTo>
                      <a:lnTo>
                        <a:pt x="88" y="26"/>
                      </a:lnTo>
                      <a:lnTo>
                        <a:pt x="88" y="23"/>
                      </a:lnTo>
                      <a:lnTo>
                        <a:pt x="90" y="20"/>
                      </a:lnTo>
                      <a:lnTo>
                        <a:pt x="90" y="18"/>
                      </a:lnTo>
                      <a:lnTo>
                        <a:pt x="88" y="15"/>
                      </a:lnTo>
                      <a:lnTo>
                        <a:pt x="90" y="12"/>
                      </a:lnTo>
                      <a:lnTo>
                        <a:pt x="93" y="9"/>
                      </a:lnTo>
                      <a:lnTo>
                        <a:pt x="93" y="7"/>
                      </a:lnTo>
                      <a:lnTo>
                        <a:pt x="96" y="0"/>
                      </a:lnTo>
                      <a:lnTo>
                        <a:pt x="101" y="7"/>
                      </a:lnTo>
                      <a:lnTo>
                        <a:pt x="116" y="9"/>
                      </a:lnTo>
                      <a:lnTo>
                        <a:pt x="132" y="15"/>
                      </a:lnTo>
                      <a:lnTo>
                        <a:pt x="141" y="12"/>
                      </a:lnTo>
                      <a:lnTo>
                        <a:pt x="143" y="12"/>
                      </a:lnTo>
                      <a:lnTo>
                        <a:pt x="146" y="15"/>
                      </a:lnTo>
                      <a:lnTo>
                        <a:pt x="162" y="28"/>
                      </a:lnTo>
                      <a:lnTo>
                        <a:pt x="165" y="28"/>
                      </a:lnTo>
                      <a:lnTo>
                        <a:pt x="165" y="34"/>
                      </a:lnTo>
                      <a:lnTo>
                        <a:pt x="170" y="34"/>
                      </a:lnTo>
                      <a:lnTo>
                        <a:pt x="174" y="34"/>
                      </a:lnTo>
                      <a:lnTo>
                        <a:pt x="177" y="40"/>
                      </a:lnTo>
                      <a:lnTo>
                        <a:pt x="182" y="45"/>
                      </a:lnTo>
                      <a:lnTo>
                        <a:pt x="185" y="53"/>
                      </a:lnTo>
                      <a:lnTo>
                        <a:pt x="187" y="53"/>
                      </a:lnTo>
                      <a:lnTo>
                        <a:pt x="198" y="48"/>
                      </a:lnTo>
                      <a:lnTo>
                        <a:pt x="201" y="48"/>
                      </a:lnTo>
                      <a:lnTo>
                        <a:pt x="215" y="51"/>
                      </a:lnTo>
                      <a:lnTo>
                        <a:pt x="226" y="56"/>
                      </a:lnTo>
                      <a:lnTo>
                        <a:pt x="231" y="59"/>
                      </a:lnTo>
                      <a:lnTo>
                        <a:pt x="234" y="64"/>
                      </a:lnTo>
                      <a:lnTo>
                        <a:pt x="236" y="69"/>
                      </a:lnTo>
                      <a:lnTo>
                        <a:pt x="236" y="73"/>
                      </a:lnTo>
                      <a:lnTo>
                        <a:pt x="267" y="92"/>
                      </a:lnTo>
                      <a:lnTo>
                        <a:pt x="272" y="95"/>
                      </a:lnTo>
                      <a:lnTo>
                        <a:pt x="281" y="95"/>
                      </a:lnTo>
                      <a:lnTo>
                        <a:pt x="315" y="100"/>
                      </a:lnTo>
                      <a:lnTo>
                        <a:pt x="331" y="103"/>
                      </a:lnTo>
                      <a:lnTo>
                        <a:pt x="333" y="105"/>
                      </a:lnTo>
                      <a:lnTo>
                        <a:pt x="345" y="112"/>
                      </a:lnTo>
                      <a:lnTo>
                        <a:pt x="353" y="114"/>
                      </a:lnTo>
                      <a:lnTo>
                        <a:pt x="358" y="114"/>
                      </a:lnTo>
                      <a:lnTo>
                        <a:pt x="361" y="117"/>
                      </a:lnTo>
                      <a:lnTo>
                        <a:pt x="364" y="120"/>
                      </a:lnTo>
                      <a:lnTo>
                        <a:pt x="374" y="128"/>
                      </a:lnTo>
                      <a:lnTo>
                        <a:pt x="383" y="130"/>
                      </a:lnTo>
                      <a:lnTo>
                        <a:pt x="389" y="133"/>
                      </a:lnTo>
                      <a:lnTo>
                        <a:pt x="397" y="141"/>
                      </a:lnTo>
                      <a:lnTo>
                        <a:pt x="402" y="150"/>
                      </a:lnTo>
                      <a:lnTo>
                        <a:pt x="405" y="155"/>
                      </a:lnTo>
                      <a:lnTo>
                        <a:pt x="405" y="158"/>
                      </a:lnTo>
                      <a:lnTo>
                        <a:pt x="408" y="161"/>
                      </a:lnTo>
                      <a:lnTo>
                        <a:pt x="414" y="161"/>
                      </a:lnTo>
                      <a:lnTo>
                        <a:pt x="425" y="161"/>
                      </a:lnTo>
                      <a:lnTo>
                        <a:pt x="443" y="164"/>
                      </a:lnTo>
                      <a:lnTo>
                        <a:pt x="452" y="169"/>
                      </a:lnTo>
                      <a:lnTo>
                        <a:pt x="474" y="189"/>
                      </a:lnTo>
                      <a:lnTo>
                        <a:pt x="486" y="199"/>
                      </a:lnTo>
                      <a:lnTo>
                        <a:pt x="491" y="199"/>
                      </a:lnTo>
                      <a:lnTo>
                        <a:pt x="494" y="199"/>
                      </a:lnTo>
                      <a:lnTo>
                        <a:pt x="502" y="194"/>
                      </a:lnTo>
                      <a:lnTo>
                        <a:pt x="504" y="194"/>
                      </a:lnTo>
                      <a:lnTo>
                        <a:pt x="507" y="194"/>
                      </a:lnTo>
                      <a:lnTo>
                        <a:pt x="519" y="199"/>
                      </a:lnTo>
                      <a:lnTo>
                        <a:pt x="519" y="202"/>
                      </a:lnTo>
                      <a:lnTo>
                        <a:pt x="521" y="207"/>
                      </a:lnTo>
                      <a:lnTo>
                        <a:pt x="521" y="214"/>
                      </a:lnTo>
                      <a:lnTo>
                        <a:pt x="521" y="216"/>
                      </a:lnTo>
                      <a:lnTo>
                        <a:pt x="521" y="224"/>
                      </a:lnTo>
                      <a:lnTo>
                        <a:pt x="521" y="227"/>
                      </a:lnTo>
                      <a:lnTo>
                        <a:pt x="524" y="230"/>
                      </a:lnTo>
                      <a:lnTo>
                        <a:pt x="524" y="233"/>
                      </a:lnTo>
                      <a:lnTo>
                        <a:pt x="524" y="235"/>
                      </a:lnTo>
                      <a:lnTo>
                        <a:pt x="527" y="243"/>
                      </a:lnTo>
                      <a:lnTo>
                        <a:pt x="532" y="250"/>
                      </a:lnTo>
                      <a:lnTo>
                        <a:pt x="538" y="258"/>
                      </a:lnTo>
                      <a:lnTo>
                        <a:pt x="540" y="263"/>
                      </a:lnTo>
                      <a:lnTo>
                        <a:pt x="555" y="266"/>
                      </a:lnTo>
                      <a:lnTo>
                        <a:pt x="560" y="271"/>
                      </a:lnTo>
                      <a:lnTo>
                        <a:pt x="565" y="271"/>
                      </a:lnTo>
                      <a:lnTo>
                        <a:pt x="568" y="276"/>
                      </a:lnTo>
                      <a:lnTo>
                        <a:pt x="568" y="279"/>
                      </a:lnTo>
                      <a:lnTo>
                        <a:pt x="568" y="283"/>
                      </a:lnTo>
                      <a:lnTo>
                        <a:pt x="568" y="285"/>
                      </a:lnTo>
                      <a:lnTo>
                        <a:pt x="571" y="288"/>
                      </a:lnTo>
                      <a:lnTo>
                        <a:pt x="579" y="293"/>
                      </a:lnTo>
                      <a:lnTo>
                        <a:pt x="581" y="296"/>
                      </a:lnTo>
                      <a:lnTo>
                        <a:pt x="596" y="299"/>
                      </a:lnTo>
                      <a:lnTo>
                        <a:pt x="599" y="299"/>
                      </a:lnTo>
                      <a:lnTo>
                        <a:pt x="607" y="302"/>
                      </a:lnTo>
                      <a:lnTo>
                        <a:pt x="607" y="304"/>
                      </a:lnTo>
                      <a:lnTo>
                        <a:pt x="604" y="307"/>
                      </a:lnTo>
                      <a:lnTo>
                        <a:pt x="607" y="307"/>
                      </a:lnTo>
                      <a:lnTo>
                        <a:pt x="612" y="310"/>
                      </a:lnTo>
                      <a:lnTo>
                        <a:pt x="618" y="315"/>
                      </a:lnTo>
                      <a:lnTo>
                        <a:pt x="621" y="315"/>
                      </a:lnTo>
                      <a:lnTo>
                        <a:pt x="626" y="319"/>
                      </a:lnTo>
                      <a:lnTo>
                        <a:pt x="629" y="319"/>
                      </a:lnTo>
                      <a:lnTo>
                        <a:pt x="634" y="319"/>
                      </a:lnTo>
                      <a:lnTo>
                        <a:pt x="637" y="315"/>
                      </a:lnTo>
                      <a:lnTo>
                        <a:pt x="645" y="315"/>
                      </a:lnTo>
                      <a:lnTo>
                        <a:pt x="650" y="310"/>
                      </a:lnTo>
                      <a:lnTo>
                        <a:pt x="654" y="310"/>
                      </a:lnTo>
                      <a:lnTo>
                        <a:pt x="657" y="310"/>
                      </a:lnTo>
                      <a:lnTo>
                        <a:pt x="660" y="312"/>
                      </a:lnTo>
                      <a:lnTo>
                        <a:pt x="662" y="315"/>
                      </a:lnTo>
                      <a:lnTo>
                        <a:pt x="662" y="319"/>
                      </a:lnTo>
                      <a:lnTo>
                        <a:pt x="670" y="324"/>
                      </a:lnTo>
                      <a:lnTo>
                        <a:pt x="673" y="329"/>
                      </a:lnTo>
                      <a:lnTo>
                        <a:pt x="678" y="337"/>
                      </a:lnTo>
                      <a:lnTo>
                        <a:pt x="681" y="343"/>
                      </a:lnTo>
                      <a:lnTo>
                        <a:pt x="681" y="357"/>
                      </a:lnTo>
                      <a:lnTo>
                        <a:pt x="684" y="368"/>
                      </a:lnTo>
                      <a:lnTo>
                        <a:pt x="681" y="379"/>
                      </a:lnTo>
                      <a:lnTo>
                        <a:pt x="690" y="384"/>
                      </a:lnTo>
                      <a:lnTo>
                        <a:pt x="693" y="381"/>
                      </a:lnTo>
                      <a:lnTo>
                        <a:pt x="703" y="381"/>
                      </a:lnTo>
                      <a:lnTo>
                        <a:pt x="701" y="381"/>
                      </a:lnTo>
                      <a:lnTo>
                        <a:pt x="701" y="384"/>
                      </a:lnTo>
                      <a:lnTo>
                        <a:pt x="703" y="384"/>
                      </a:lnTo>
                      <a:lnTo>
                        <a:pt x="711" y="381"/>
                      </a:lnTo>
                      <a:lnTo>
                        <a:pt x="714" y="381"/>
                      </a:lnTo>
                      <a:lnTo>
                        <a:pt x="714" y="379"/>
                      </a:lnTo>
                      <a:lnTo>
                        <a:pt x="723" y="373"/>
                      </a:lnTo>
                      <a:lnTo>
                        <a:pt x="726" y="376"/>
                      </a:lnTo>
                      <a:lnTo>
                        <a:pt x="734" y="381"/>
                      </a:lnTo>
                      <a:lnTo>
                        <a:pt x="737" y="381"/>
                      </a:lnTo>
                      <a:lnTo>
                        <a:pt x="739" y="390"/>
                      </a:lnTo>
                      <a:lnTo>
                        <a:pt x="747" y="406"/>
                      </a:lnTo>
                      <a:lnTo>
                        <a:pt x="750" y="412"/>
                      </a:lnTo>
                      <a:lnTo>
                        <a:pt x="750" y="414"/>
                      </a:lnTo>
                      <a:lnTo>
                        <a:pt x="750" y="417"/>
                      </a:lnTo>
                      <a:lnTo>
                        <a:pt x="750" y="423"/>
                      </a:lnTo>
                      <a:lnTo>
                        <a:pt x="747" y="420"/>
                      </a:lnTo>
                      <a:lnTo>
                        <a:pt x="734" y="423"/>
                      </a:lnTo>
                      <a:lnTo>
                        <a:pt x="709" y="429"/>
                      </a:lnTo>
                      <a:lnTo>
                        <a:pt x="676" y="442"/>
                      </a:lnTo>
                      <a:lnTo>
                        <a:pt x="660" y="450"/>
                      </a:lnTo>
                      <a:lnTo>
                        <a:pt x="645" y="462"/>
                      </a:lnTo>
                      <a:lnTo>
                        <a:pt x="634" y="470"/>
                      </a:lnTo>
                      <a:lnTo>
                        <a:pt x="615" y="478"/>
                      </a:lnTo>
                      <a:lnTo>
                        <a:pt x="581" y="500"/>
                      </a:lnTo>
                      <a:lnTo>
                        <a:pt x="568" y="514"/>
                      </a:lnTo>
                      <a:lnTo>
                        <a:pt x="565" y="517"/>
                      </a:lnTo>
                      <a:lnTo>
                        <a:pt x="530" y="552"/>
                      </a:lnTo>
                      <a:lnTo>
                        <a:pt x="519" y="567"/>
                      </a:lnTo>
                      <a:lnTo>
                        <a:pt x="507" y="583"/>
                      </a:lnTo>
                      <a:lnTo>
                        <a:pt x="494" y="603"/>
                      </a:lnTo>
                      <a:lnTo>
                        <a:pt x="494" y="608"/>
                      </a:lnTo>
                      <a:lnTo>
                        <a:pt x="483" y="621"/>
                      </a:lnTo>
                      <a:lnTo>
                        <a:pt x="452" y="666"/>
                      </a:lnTo>
                      <a:lnTo>
                        <a:pt x="441" y="688"/>
                      </a:lnTo>
                      <a:lnTo>
                        <a:pt x="443" y="690"/>
                      </a:lnTo>
                      <a:lnTo>
                        <a:pt x="422" y="715"/>
                      </a:lnTo>
                      <a:lnTo>
                        <a:pt x="400" y="743"/>
                      </a:lnTo>
                      <a:lnTo>
                        <a:pt x="386" y="767"/>
                      </a:lnTo>
                      <a:lnTo>
                        <a:pt x="374" y="801"/>
                      </a:lnTo>
                      <a:lnTo>
                        <a:pt x="372" y="803"/>
                      </a:lnTo>
                      <a:lnTo>
                        <a:pt x="372" y="810"/>
                      </a:lnTo>
                      <a:lnTo>
                        <a:pt x="366" y="810"/>
                      </a:lnTo>
                      <a:lnTo>
                        <a:pt x="364" y="810"/>
                      </a:lnTo>
                      <a:lnTo>
                        <a:pt x="358" y="810"/>
                      </a:lnTo>
                      <a:lnTo>
                        <a:pt x="356" y="815"/>
                      </a:lnTo>
                      <a:lnTo>
                        <a:pt x="353" y="815"/>
                      </a:lnTo>
                      <a:lnTo>
                        <a:pt x="345" y="823"/>
                      </a:lnTo>
                      <a:lnTo>
                        <a:pt x="336" y="831"/>
                      </a:lnTo>
                      <a:lnTo>
                        <a:pt x="325" y="839"/>
                      </a:lnTo>
                      <a:lnTo>
                        <a:pt x="320" y="843"/>
                      </a:lnTo>
                      <a:lnTo>
                        <a:pt x="317" y="843"/>
                      </a:lnTo>
                      <a:lnTo>
                        <a:pt x="305" y="843"/>
                      </a:lnTo>
                      <a:lnTo>
                        <a:pt x="300" y="843"/>
                      </a:lnTo>
                      <a:lnTo>
                        <a:pt x="295" y="848"/>
                      </a:lnTo>
                      <a:lnTo>
                        <a:pt x="295" y="854"/>
                      </a:lnTo>
                      <a:lnTo>
                        <a:pt x="281" y="854"/>
                      </a:lnTo>
                      <a:lnTo>
                        <a:pt x="279" y="854"/>
                      </a:lnTo>
                      <a:lnTo>
                        <a:pt x="276" y="851"/>
                      </a:lnTo>
                      <a:lnTo>
                        <a:pt x="272" y="851"/>
                      </a:lnTo>
                      <a:lnTo>
                        <a:pt x="270" y="851"/>
                      </a:lnTo>
                      <a:lnTo>
                        <a:pt x="272" y="854"/>
                      </a:lnTo>
                      <a:lnTo>
                        <a:pt x="270" y="854"/>
                      </a:lnTo>
                      <a:lnTo>
                        <a:pt x="267" y="851"/>
                      </a:lnTo>
                      <a:lnTo>
                        <a:pt x="270" y="846"/>
                      </a:lnTo>
                      <a:lnTo>
                        <a:pt x="267" y="846"/>
                      </a:lnTo>
                      <a:lnTo>
                        <a:pt x="264" y="846"/>
                      </a:lnTo>
                      <a:lnTo>
                        <a:pt x="259" y="848"/>
                      </a:lnTo>
                      <a:lnTo>
                        <a:pt x="256" y="848"/>
                      </a:lnTo>
                      <a:lnTo>
                        <a:pt x="254" y="848"/>
                      </a:lnTo>
                      <a:lnTo>
                        <a:pt x="251" y="846"/>
                      </a:lnTo>
                      <a:lnTo>
                        <a:pt x="248" y="839"/>
                      </a:lnTo>
                      <a:lnTo>
                        <a:pt x="246" y="839"/>
                      </a:lnTo>
                      <a:lnTo>
                        <a:pt x="243" y="843"/>
                      </a:lnTo>
                      <a:lnTo>
                        <a:pt x="240" y="839"/>
                      </a:lnTo>
                      <a:lnTo>
                        <a:pt x="240" y="846"/>
                      </a:lnTo>
                      <a:lnTo>
                        <a:pt x="236" y="846"/>
                      </a:lnTo>
                      <a:lnTo>
                        <a:pt x="234" y="846"/>
                      </a:lnTo>
                      <a:lnTo>
                        <a:pt x="236" y="851"/>
                      </a:lnTo>
                      <a:lnTo>
                        <a:pt x="231" y="856"/>
                      </a:lnTo>
                      <a:lnTo>
                        <a:pt x="231" y="859"/>
                      </a:lnTo>
                      <a:lnTo>
                        <a:pt x="231" y="862"/>
                      </a:lnTo>
                      <a:lnTo>
                        <a:pt x="226" y="859"/>
                      </a:lnTo>
                      <a:lnTo>
                        <a:pt x="220" y="859"/>
                      </a:lnTo>
                      <a:lnTo>
                        <a:pt x="223" y="851"/>
                      </a:lnTo>
                      <a:lnTo>
                        <a:pt x="220" y="851"/>
                      </a:lnTo>
                      <a:lnTo>
                        <a:pt x="215" y="854"/>
                      </a:lnTo>
                      <a:lnTo>
                        <a:pt x="212" y="854"/>
                      </a:lnTo>
                      <a:lnTo>
                        <a:pt x="210" y="854"/>
                      </a:lnTo>
                      <a:lnTo>
                        <a:pt x="210" y="848"/>
                      </a:lnTo>
                      <a:lnTo>
                        <a:pt x="201" y="848"/>
                      </a:lnTo>
                      <a:lnTo>
                        <a:pt x="195" y="843"/>
                      </a:lnTo>
                      <a:lnTo>
                        <a:pt x="193" y="846"/>
                      </a:lnTo>
                      <a:lnTo>
                        <a:pt x="190" y="843"/>
                      </a:lnTo>
                      <a:lnTo>
                        <a:pt x="185" y="843"/>
                      </a:lnTo>
                      <a:lnTo>
                        <a:pt x="182" y="839"/>
                      </a:lnTo>
                      <a:lnTo>
                        <a:pt x="179" y="843"/>
                      </a:lnTo>
                      <a:lnTo>
                        <a:pt x="174" y="839"/>
                      </a:lnTo>
                      <a:lnTo>
                        <a:pt x="174" y="834"/>
                      </a:lnTo>
                      <a:lnTo>
                        <a:pt x="177" y="831"/>
                      </a:lnTo>
                      <a:lnTo>
                        <a:pt x="174" y="828"/>
                      </a:lnTo>
                      <a:lnTo>
                        <a:pt x="170" y="828"/>
                      </a:lnTo>
                      <a:lnTo>
                        <a:pt x="165" y="826"/>
                      </a:lnTo>
                      <a:lnTo>
                        <a:pt x="162" y="826"/>
                      </a:lnTo>
                      <a:lnTo>
                        <a:pt x="159" y="820"/>
                      </a:lnTo>
                      <a:lnTo>
                        <a:pt x="157" y="820"/>
                      </a:lnTo>
                      <a:lnTo>
                        <a:pt x="154" y="818"/>
                      </a:lnTo>
                      <a:lnTo>
                        <a:pt x="154" y="815"/>
                      </a:lnTo>
                      <a:lnTo>
                        <a:pt x="154" y="812"/>
                      </a:lnTo>
                      <a:lnTo>
                        <a:pt x="157" y="812"/>
                      </a:lnTo>
                      <a:lnTo>
                        <a:pt x="159" y="812"/>
                      </a:lnTo>
                      <a:lnTo>
                        <a:pt x="159" y="810"/>
                      </a:lnTo>
                      <a:lnTo>
                        <a:pt x="159" y="807"/>
                      </a:lnTo>
                      <a:lnTo>
                        <a:pt x="151" y="810"/>
                      </a:lnTo>
                      <a:lnTo>
                        <a:pt x="151" y="807"/>
                      </a:lnTo>
                      <a:lnTo>
                        <a:pt x="146" y="803"/>
                      </a:lnTo>
                      <a:lnTo>
                        <a:pt x="149" y="803"/>
                      </a:lnTo>
                      <a:lnTo>
                        <a:pt x="154" y="803"/>
                      </a:lnTo>
                      <a:lnTo>
                        <a:pt x="149" y="801"/>
                      </a:lnTo>
                      <a:lnTo>
                        <a:pt x="146" y="801"/>
                      </a:lnTo>
                      <a:lnTo>
                        <a:pt x="143" y="807"/>
                      </a:lnTo>
                      <a:lnTo>
                        <a:pt x="143" y="803"/>
                      </a:lnTo>
                      <a:lnTo>
                        <a:pt x="141" y="807"/>
                      </a:lnTo>
                      <a:lnTo>
                        <a:pt x="138" y="803"/>
                      </a:lnTo>
                      <a:lnTo>
                        <a:pt x="138" y="801"/>
                      </a:lnTo>
                      <a:lnTo>
                        <a:pt x="138" y="795"/>
                      </a:lnTo>
                      <a:lnTo>
                        <a:pt x="134" y="795"/>
                      </a:lnTo>
                      <a:lnTo>
                        <a:pt x="132" y="793"/>
                      </a:lnTo>
                      <a:lnTo>
                        <a:pt x="126" y="793"/>
                      </a:lnTo>
                      <a:lnTo>
                        <a:pt x="126" y="795"/>
                      </a:lnTo>
                      <a:lnTo>
                        <a:pt x="124" y="795"/>
                      </a:lnTo>
                      <a:lnTo>
                        <a:pt x="124" y="801"/>
                      </a:lnTo>
                      <a:lnTo>
                        <a:pt x="121" y="801"/>
                      </a:lnTo>
                      <a:lnTo>
                        <a:pt x="121" y="798"/>
                      </a:lnTo>
                      <a:lnTo>
                        <a:pt x="118" y="795"/>
                      </a:lnTo>
                      <a:lnTo>
                        <a:pt x="116" y="793"/>
                      </a:lnTo>
                      <a:lnTo>
                        <a:pt x="118" y="793"/>
                      </a:lnTo>
                      <a:lnTo>
                        <a:pt x="118" y="790"/>
                      </a:lnTo>
                      <a:lnTo>
                        <a:pt x="116" y="790"/>
                      </a:lnTo>
                      <a:lnTo>
                        <a:pt x="113" y="793"/>
                      </a:lnTo>
                      <a:lnTo>
                        <a:pt x="113" y="787"/>
                      </a:lnTo>
                      <a:lnTo>
                        <a:pt x="107" y="787"/>
                      </a:lnTo>
                      <a:lnTo>
                        <a:pt x="107" y="785"/>
                      </a:lnTo>
                      <a:lnTo>
                        <a:pt x="110" y="782"/>
                      </a:lnTo>
                      <a:lnTo>
                        <a:pt x="110" y="779"/>
                      </a:lnTo>
                      <a:lnTo>
                        <a:pt x="107" y="777"/>
                      </a:lnTo>
                      <a:lnTo>
                        <a:pt x="105" y="767"/>
                      </a:lnTo>
                      <a:lnTo>
                        <a:pt x="105" y="765"/>
                      </a:lnTo>
                      <a:lnTo>
                        <a:pt x="101" y="767"/>
                      </a:lnTo>
                      <a:lnTo>
                        <a:pt x="98" y="765"/>
                      </a:lnTo>
                      <a:lnTo>
                        <a:pt x="98" y="762"/>
                      </a:lnTo>
                      <a:lnTo>
                        <a:pt x="105" y="762"/>
                      </a:lnTo>
                      <a:lnTo>
                        <a:pt x="98" y="759"/>
                      </a:lnTo>
                      <a:lnTo>
                        <a:pt x="98" y="757"/>
                      </a:lnTo>
                      <a:lnTo>
                        <a:pt x="101" y="757"/>
                      </a:lnTo>
                      <a:lnTo>
                        <a:pt x="96" y="749"/>
                      </a:lnTo>
                      <a:lnTo>
                        <a:pt x="96" y="743"/>
                      </a:lnTo>
                      <a:lnTo>
                        <a:pt x="101" y="741"/>
                      </a:lnTo>
                      <a:lnTo>
                        <a:pt x="101" y="738"/>
                      </a:lnTo>
                      <a:lnTo>
                        <a:pt x="105" y="734"/>
                      </a:lnTo>
                      <a:lnTo>
                        <a:pt x="101" y="732"/>
                      </a:lnTo>
                      <a:lnTo>
                        <a:pt x="105" y="729"/>
                      </a:lnTo>
                      <a:lnTo>
                        <a:pt x="105" y="726"/>
                      </a:lnTo>
                      <a:lnTo>
                        <a:pt x="101" y="726"/>
                      </a:lnTo>
                      <a:lnTo>
                        <a:pt x="101" y="724"/>
                      </a:lnTo>
                      <a:lnTo>
                        <a:pt x="105" y="724"/>
                      </a:lnTo>
                      <a:lnTo>
                        <a:pt x="101" y="718"/>
                      </a:lnTo>
                      <a:lnTo>
                        <a:pt x="105" y="718"/>
                      </a:lnTo>
                      <a:lnTo>
                        <a:pt x="107" y="715"/>
                      </a:lnTo>
                      <a:lnTo>
                        <a:pt x="107" y="713"/>
                      </a:lnTo>
                      <a:lnTo>
                        <a:pt x="107" y="710"/>
                      </a:lnTo>
                      <a:lnTo>
                        <a:pt x="107" y="707"/>
                      </a:lnTo>
                      <a:lnTo>
                        <a:pt x="110" y="705"/>
                      </a:lnTo>
                      <a:lnTo>
                        <a:pt x="107" y="705"/>
                      </a:lnTo>
                      <a:lnTo>
                        <a:pt x="105" y="705"/>
                      </a:lnTo>
                      <a:lnTo>
                        <a:pt x="98" y="702"/>
                      </a:lnTo>
                      <a:lnTo>
                        <a:pt x="96" y="705"/>
                      </a:lnTo>
                      <a:lnTo>
                        <a:pt x="88" y="696"/>
                      </a:lnTo>
                      <a:lnTo>
                        <a:pt x="85" y="698"/>
                      </a:lnTo>
                      <a:lnTo>
                        <a:pt x="80" y="696"/>
                      </a:lnTo>
                      <a:lnTo>
                        <a:pt x="74" y="690"/>
                      </a:lnTo>
                      <a:lnTo>
                        <a:pt x="69" y="688"/>
                      </a:lnTo>
                      <a:lnTo>
                        <a:pt x="72" y="685"/>
                      </a:lnTo>
                      <a:lnTo>
                        <a:pt x="69" y="682"/>
                      </a:lnTo>
                      <a:lnTo>
                        <a:pt x="72" y="677"/>
                      </a:lnTo>
                      <a:lnTo>
                        <a:pt x="72" y="674"/>
                      </a:lnTo>
                      <a:lnTo>
                        <a:pt x="69" y="674"/>
                      </a:lnTo>
                      <a:lnTo>
                        <a:pt x="63" y="672"/>
                      </a:lnTo>
                      <a:lnTo>
                        <a:pt x="60" y="666"/>
                      </a:lnTo>
                      <a:lnTo>
                        <a:pt x="60" y="663"/>
                      </a:lnTo>
                      <a:lnTo>
                        <a:pt x="63" y="663"/>
                      </a:lnTo>
                      <a:lnTo>
                        <a:pt x="65" y="655"/>
                      </a:lnTo>
                      <a:lnTo>
                        <a:pt x="65" y="649"/>
                      </a:lnTo>
                      <a:lnTo>
                        <a:pt x="63" y="649"/>
                      </a:lnTo>
                      <a:lnTo>
                        <a:pt x="63" y="646"/>
                      </a:lnTo>
                      <a:lnTo>
                        <a:pt x="60" y="646"/>
                      </a:lnTo>
                      <a:lnTo>
                        <a:pt x="60" y="644"/>
                      </a:lnTo>
                      <a:lnTo>
                        <a:pt x="57" y="644"/>
                      </a:lnTo>
                      <a:lnTo>
                        <a:pt x="55" y="641"/>
                      </a:lnTo>
                      <a:lnTo>
                        <a:pt x="55" y="638"/>
                      </a:lnTo>
                      <a:lnTo>
                        <a:pt x="57" y="638"/>
                      </a:lnTo>
                      <a:lnTo>
                        <a:pt x="55" y="633"/>
                      </a:lnTo>
                      <a:lnTo>
                        <a:pt x="55" y="629"/>
                      </a:lnTo>
                      <a:lnTo>
                        <a:pt x="52" y="627"/>
                      </a:lnTo>
                      <a:lnTo>
                        <a:pt x="47" y="624"/>
                      </a:lnTo>
                      <a:lnTo>
                        <a:pt x="47" y="629"/>
                      </a:lnTo>
                      <a:lnTo>
                        <a:pt x="44" y="629"/>
                      </a:lnTo>
                      <a:lnTo>
                        <a:pt x="41" y="627"/>
                      </a:lnTo>
                      <a:lnTo>
                        <a:pt x="38" y="621"/>
                      </a:lnTo>
                      <a:lnTo>
                        <a:pt x="27" y="616"/>
                      </a:lnTo>
                      <a:lnTo>
                        <a:pt x="24" y="611"/>
                      </a:lnTo>
                      <a:lnTo>
                        <a:pt x="21" y="608"/>
                      </a:lnTo>
                      <a:lnTo>
                        <a:pt x="24" y="603"/>
                      </a:lnTo>
                      <a:lnTo>
                        <a:pt x="24" y="600"/>
                      </a:lnTo>
                      <a:lnTo>
                        <a:pt x="16" y="597"/>
                      </a:lnTo>
                      <a:lnTo>
                        <a:pt x="16" y="591"/>
                      </a:lnTo>
                      <a:lnTo>
                        <a:pt x="13" y="591"/>
                      </a:lnTo>
                      <a:lnTo>
                        <a:pt x="11" y="594"/>
                      </a:lnTo>
                      <a:lnTo>
                        <a:pt x="11" y="591"/>
                      </a:lnTo>
                      <a:lnTo>
                        <a:pt x="5" y="588"/>
                      </a:lnTo>
                      <a:lnTo>
                        <a:pt x="5" y="580"/>
                      </a:lnTo>
                      <a:lnTo>
                        <a:pt x="0" y="572"/>
                      </a:lnTo>
                      <a:lnTo>
                        <a:pt x="0" y="567"/>
                      </a:lnTo>
                      <a:lnTo>
                        <a:pt x="3" y="560"/>
                      </a:lnTo>
                      <a:lnTo>
                        <a:pt x="5" y="558"/>
                      </a:lnTo>
                      <a:lnTo>
                        <a:pt x="3" y="550"/>
                      </a:lnTo>
                      <a:lnTo>
                        <a:pt x="0" y="550"/>
                      </a:lnTo>
                      <a:lnTo>
                        <a:pt x="3" y="544"/>
                      </a:lnTo>
                      <a:lnTo>
                        <a:pt x="0" y="539"/>
                      </a:lnTo>
                      <a:lnTo>
                        <a:pt x="3" y="536"/>
                      </a:lnTo>
                      <a:close/>
                    </a:path>
                  </a:pathLst>
                </a:custGeom>
                <a:grpFill/>
                <a:ln w="12700" cap="flat" cmpd="sng" algn="ctr">
                  <a:solidFill>
                    <a:schemeClr val="bg1">
                      <a:lumMod val="85000"/>
                    </a:schemeClr>
                  </a:solidFill>
                  <a:prstDash val="solid"/>
                  <a:round/>
                  <a:headEnd type="none" w="med" len="med"/>
                  <a:tailEnd type="none" w="med" len="med"/>
                </a:ln>
              </p:spPr>
            </p:sp>
            <p:sp>
              <p:nvSpPr>
                <p:cNvPr id="63" name="ee4p_BR_24"/>
                <p:cNvSpPr>
                  <a:spLocks/>
                </p:cNvSpPr>
                <p:nvPr>
                  <p:custDataLst>
                    <p:tags r:id="rId25"/>
                  </p:custDataLst>
                </p:nvPr>
              </p:nvSpPr>
              <p:spPr bwMode="auto">
                <a:xfrm>
                  <a:off x="4957915" y="2767593"/>
                  <a:ext cx="524546" cy="974155"/>
                </a:xfrm>
                <a:custGeom>
                  <a:avLst/>
                  <a:gdLst/>
                  <a:ahLst/>
                  <a:cxnLst>
                    <a:cxn ang="0">
                      <a:pos x="50" y="2372"/>
                    </a:cxn>
                    <a:cxn ang="0">
                      <a:pos x="129" y="2163"/>
                    </a:cxn>
                    <a:cxn ang="0">
                      <a:pos x="254" y="1860"/>
                    </a:cxn>
                    <a:cxn ang="0">
                      <a:pos x="389" y="1589"/>
                    </a:cxn>
                    <a:cxn ang="0">
                      <a:pos x="627" y="1244"/>
                    </a:cxn>
                    <a:cxn ang="0">
                      <a:pos x="561" y="971"/>
                    </a:cxn>
                    <a:cxn ang="0">
                      <a:pos x="742" y="664"/>
                    </a:cxn>
                    <a:cxn ang="0">
                      <a:pos x="961" y="485"/>
                    </a:cxn>
                    <a:cxn ang="0">
                      <a:pos x="1005" y="293"/>
                    </a:cxn>
                    <a:cxn ang="0">
                      <a:pos x="975" y="114"/>
                    </a:cxn>
                    <a:cxn ang="0">
                      <a:pos x="834" y="61"/>
                    </a:cxn>
                    <a:cxn ang="0">
                      <a:pos x="1143" y="30"/>
                    </a:cxn>
                    <a:cxn ang="0">
                      <a:pos x="1347" y="367"/>
                    </a:cxn>
                    <a:cxn ang="0">
                      <a:pos x="1309" y="700"/>
                    </a:cxn>
                    <a:cxn ang="0">
                      <a:pos x="1319" y="891"/>
                    </a:cxn>
                    <a:cxn ang="0">
                      <a:pos x="1366" y="1027"/>
                    </a:cxn>
                    <a:cxn ang="0">
                      <a:pos x="1411" y="1076"/>
                    </a:cxn>
                    <a:cxn ang="0">
                      <a:pos x="1468" y="1153"/>
                    </a:cxn>
                    <a:cxn ang="0">
                      <a:pos x="1546" y="1183"/>
                    </a:cxn>
                    <a:cxn ang="0">
                      <a:pos x="1631" y="1153"/>
                    </a:cxn>
                    <a:cxn ang="0">
                      <a:pos x="1720" y="1255"/>
                    </a:cxn>
                    <a:cxn ang="0">
                      <a:pos x="1604" y="1360"/>
                    </a:cxn>
                    <a:cxn ang="0">
                      <a:pos x="1562" y="1426"/>
                    </a:cxn>
                    <a:cxn ang="0">
                      <a:pos x="1549" y="1490"/>
                    </a:cxn>
                    <a:cxn ang="0">
                      <a:pos x="1513" y="1587"/>
                    </a:cxn>
                    <a:cxn ang="0">
                      <a:pos x="1546" y="1633"/>
                    </a:cxn>
                    <a:cxn ang="0">
                      <a:pos x="1585" y="1725"/>
                    </a:cxn>
                    <a:cxn ang="0">
                      <a:pos x="1695" y="1820"/>
                    </a:cxn>
                    <a:cxn ang="0">
                      <a:pos x="1733" y="1984"/>
                    </a:cxn>
                    <a:cxn ang="0">
                      <a:pos x="1949" y="2132"/>
                    </a:cxn>
                    <a:cxn ang="0">
                      <a:pos x="1974" y="2213"/>
                    </a:cxn>
                    <a:cxn ang="0">
                      <a:pos x="1833" y="2362"/>
                    </a:cxn>
                    <a:cxn ang="0">
                      <a:pos x="1706" y="2602"/>
                    </a:cxn>
                    <a:cxn ang="0">
                      <a:pos x="1863" y="2699"/>
                    </a:cxn>
                    <a:cxn ang="0">
                      <a:pos x="1792" y="2773"/>
                    </a:cxn>
                    <a:cxn ang="0">
                      <a:pos x="1784" y="2855"/>
                    </a:cxn>
                    <a:cxn ang="0">
                      <a:pos x="1797" y="2988"/>
                    </a:cxn>
                    <a:cxn ang="0">
                      <a:pos x="1836" y="3087"/>
                    </a:cxn>
                    <a:cxn ang="0">
                      <a:pos x="1808" y="3242"/>
                    </a:cxn>
                    <a:cxn ang="0">
                      <a:pos x="1780" y="3252"/>
                    </a:cxn>
                    <a:cxn ang="0">
                      <a:pos x="1582" y="3303"/>
                    </a:cxn>
                    <a:cxn ang="0">
                      <a:pos x="1488" y="3354"/>
                    </a:cxn>
                    <a:cxn ang="0">
                      <a:pos x="1402" y="3385"/>
                    </a:cxn>
                    <a:cxn ang="0">
                      <a:pos x="1281" y="3330"/>
                    </a:cxn>
                    <a:cxn ang="0">
                      <a:pos x="1256" y="3423"/>
                    </a:cxn>
                    <a:cxn ang="0">
                      <a:pos x="1130" y="3413"/>
                    </a:cxn>
                    <a:cxn ang="0">
                      <a:pos x="1052" y="3410"/>
                    </a:cxn>
                    <a:cxn ang="0">
                      <a:pos x="1008" y="3363"/>
                    </a:cxn>
                    <a:cxn ang="0">
                      <a:pos x="949" y="3394"/>
                    </a:cxn>
                    <a:cxn ang="0">
                      <a:pos x="903" y="3352"/>
                    </a:cxn>
                    <a:cxn ang="0">
                      <a:pos x="880" y="3333"/>
                    </a:cxn>
                    <a:cxn ang="0">
                      <a:pos x="814" y="3247"/>
                    </a:cxn>
                    <a:cxn ang="0">
                      <a:pos x="699" y="3242"/>
                    </a:cxn>
                    <a:cxn ang="0">
                      <a:pos x="602" y="3256"/>
                    </a:cxn>
                    <a:cxn ang="0">
                      <a:pos x="287" y="3252"/>
                    </a:cxn>
                    <a:cxn ang="0">
                      <a:pos x="182" y="3208"/>
                    </a:cxn>
                    <a:cxn ang="0">
                      <a:pos x="205" y="3123"/>
                    </a:cxn>
                    <a:cxn ang="0">
                      <a:pos x="224" y="3035"/>
                    </a:cxn>
                    <a:cxn ang="0">
                      <a:pos x="144" y="3109"/>
                    </a:cxn>
                    <a:cxn ang="0">
                      <a:pos x="105" y="3203"/>
                    </a:cxn>
                    <a:cxn ang="0">
                      <a:pos x="19" y="3109"/>
                    </a:cxn>
                    <a:cxn ang="0">
                      <a:pos x="22" y="2880"/>
                    </a:cxn>
                    <a:cxn ang="0">
                      <a:pos x="22" y="2687"/>
                    </a:cxn>
                  </a:cxnLst>
                  <a:rect l="0" t="0" r="r" b="b"/>
                  <a:pathLst>
                    <a:path w="2051" h="3476">
                      <a:moveTo>
                        <a:pt x="0" y="2627"/>
                      </a:moveTo>
                      <a:lnTo>
                        <a:pt x="6" y="2615"/>
                      </a:lnTo>
                      <a:lnTo>
                        <a:pt x="6" y="2604"/>
                      </a:lnTo>
                      <a:lnTo>
                        <a:pt x="11" y="2594"/>
                      </a:lnTo>
                      <a:lnTo>
                        <a:pt x="14" y="2585"/>
                      </a:lnTo>
                      <a:lnTo>
                        <a:pt x="14" y="2579"/>
                      </a:lnTo>
                      <a:lnTo>
                        <a:pt x="17" y="2574"/>
                      </a:lnTo>
                      <a:lnTo>
                        <a:pt x="19" y="2571"/>
                      </a:lnTo>
                      <a:lnTo>
                        <a:pt x="25" y="2566"/>
                      </a:lnTo>
                      <a:lnTo>
                        <a:pt x="31" y="2563"/>
                      </a:lnTo>
                      <a:lnTo>
                        <a:pt x="34" y="2546"/>
                      </a:lnTo>
                      <a:lnTo>
                        <a:pt x="36" y="2535"/>
                      </a:lnTo>
                      <a:lnTo>
                        <a:pt x="34" y="2527"/>
                      </a:lnTo>
                      <a:lnTo>
                        <a:pt x="34" y="2522"/>
                      </a:lnTo>
                      <a:lnTo>
                        <a:pt x="31" y="2510"/>
                      </a:lnTo>
                      <a:lnTo>
                        <a:pt x="34" y="2502"/>
                      </a:lnTo>
                      <a:lnTo>
                        <a:pt x="34" y="2497"/>
                      </a:lnTo>
                      <a:lnTo>
                        <a:pt x="39" y="2494"/>
                      </a:lnTo>
                      <a:lnTo>
                        <a:pt x="42" y="2486"/>
                      </a:lnTo>
                      <a:lnTo>
                        <a:pt x="50" y="2480"/>
                      </a:lnTo>
                      <a:lnTo>
                        <a:pt x="50" y="2477"/>
                      </a:lnTo>
                      <a:lnTo>
                        <a:pt x="52" y="2472"/>
                      </a:lnTo>
                      <a:lnTo>
                        <a:pt x="52" y="2461"/>
                      </a:lnTo>
                      <a:lnTo>
                        <a:pt x="50" y="2456"/>
                      </a:lnTo>
                      <a:lnTo>
                        <a:pt x="50" y="2444"/>
                      </a:lnTo>
                      <a:lnTo>
                        <a:pt x="47" y="2436"/>
                      </a:lnTo>
                      <a:lnTo>
                        <a:pt x="50" y="2431"/>
                      </a:lnTo>
                      <a:lnTo>
                        <a:pt x="44" y="2417"/>
                      </a:lnTo>
                      <a:lnTo>
                        <a:pt x="50" y="2408"/>
                      </a:lnTo>
                      <a:lnTo>
                        <a:pt x="58" y="2400"/>
                      </a:lnTo>
                      <a:lnTo>
                        <a:pt x="58" y="2395"/>
                      </a:lnTo>
                      <a:lnTo>
                        <a:pt x="55" y="2389"/>
                      </a:lnTo>
                      <a:lnTo>
                        <a:pt x="50" y="2387"/>
                      </a:lnTo>
                      <a:lnTo>
                        <a:pt x="50" y="2375"/>
                      </a:lnTo>
                      <a:lnTo>
                        <a:pt x="50" y="2372"/>
                      </a:lnTo>
                      <a:lnTo>
                        <a:pt x="52" y="2367"/>
                      </a:lnTo>
                      <a:lnTo>
                        <a:pt x="52" y="2364"/>
                      </a:lnTo>
                      <a:lnTo>
                        <a:pt x="55" y="2362"/>
                      </a:lnTo>
                      <a:lnTo>
                        <a:pt x="60" y="2362"/>
                      </a:lnTo>
                      <a:lnTo>
                        <a:pt x="60" y="2359"/>
                      </a:lnTo>
                      <a:lnTo>
                        <a:pt x="60" y="2354"/>
                      </a:lnTo>
                      <a:lnTo>
                        <a:pt x="70" y="2339"/>
                      </a:lnTo>
                      <a:lnTo>
                        <a:pt x="67" y="2331"/>
                      </a:lnTo>
                      <a:lnTo>
                        <a:pt x="67" y="2326"/>
                      </a:lnTo>
                      <a:lnTo>
                        <a:pt x="63" y="2320"/>
                      </a:lnTo>
                      <a:lnTo>
                        <a:pt x="63" y="2312"/>
                      </a:lnTo>
                      <a:lnTo>
                        <a:pt x="55" y="2306"/>
                      </a:lnTo>
                      <a:lnTo>
                        <a:pt x="55" y="2301"/>
                      </a:lnTo>
                      <a:lnTo>
                        <a:pt x="63" y="2293"/>
                      </a:lnTo>
                      <a:lnTo>
                        <a:pt x="70" y="2285"/>
                      </a:lnTo>
                      <a:lnTo>
                        <a:pt x="72" y="2279"/>
                      </a:lnTo>
                      <a:lnTo>
                        <a:pt x="78" y="2279"/>
                      </a:lnTo>
                      <a:lnTo>
                        <a:pt x="80" y="2279"/>
                      </a:lnTo>
                      <a:lnTo>
                        <a:pt x="83" y="2277"/>
                      </a:lnTo>
                      <a:lnTo>
                        <a:pt x="86" y="2268"/>
                      </a:lnTo>
                      <a:lnTo>
                        <a:pt x="91" y="2260"/>
                      </a:lnTo>
                      <a:lnTo>
                        <a:pt x="88" y="2251"/>
                      </a:lnTo>
                      <a:lnTo>
                        <a:pt x="91" y="2243"/>
                      </a:lnTo>
                      <a:lnTo>
                        <a:pt x="91" y="2234"/>
                      </a:lnTo>
                      <a:lnTo>
                        <a:pt x="100" y="2232"/>
                      </a:lnTo>
                      <a:lnTo>
                        <a:pt x="103" y="2232"/>
                      </a:lnTo>
                      <a:lnTo>
                        <a:pt x="105" y="2229"/>
                      </a:lnTo>
                      <a:lnTo>
                        <a:pt x="103" y="2221"/>
                      </a:lnTo>
                      <a:lnTo>
                        <a:pt x="108" y="2193"/>
                      </a:lnTo>
                      <a:lnTo>
                        <a:pt x="119" y="2188"/>
                      </a:lnTo>
                      <a:lnTo>
                        <a:pt x="121" y="2182"/>
                      </a:lnTo>
                      <a:lnTo>
                        <a:pt x="129" y="2177"/>
                      </a:lnTo>
                      <a:lnTo>
                        <a:pt x="132" y="2174"/>
                      </a:lnTo>
                      <a:lnTo>
                        <a:pt x="129" y="2165"/>
                      </a:lnTo>
                      <a:lnTo>
                        <a:pt x="129" y="2163"/>
                      </a:lnTo>
                      <a:lnTo>
                        <a:pt x="139" y="2144"/>
                      </a:lnTo>
                      <a:lnTo>
                        <a:pt x="141" y="2130"/>
                      </a:lnTo>
                      <a:lnTo>
                        <a:pt x="147" y="2116"/>
                      </a:lnTo>
                      <a:lnTo>
                        <a:pt x="144" y="2096"/>
                      </a:lnTo>
                      <a:lnTo>
                        <a:pt x="141" y="2096"/>
                      </a:lnTo>
                      <a:lnTo>
                        <a:pt x="141" y="2094"/>
                      </a:lnTo>
                      <a:lnTo>
                        <a:pt x="144" y="2080"/>
                      </a:lnTo>
                      <a:lnTo>
                        <a:pt x="149" y="2070"/>
                      </a:lnTo>
                      <a:lnTo>
                        <a:pt x="155" y="2063"/>
                      </a:lnTo>
                      <a:lnTo>
                        <a:pt x="157" y="2055"/>
                      </a:lnTo>
                      <a:lnTo>
                        <a:pt x="163" y="2050"/>
                      </a:lnTo>
                      <a:lnTo>
                        <a:pt x="174" y="2044"/>
                      </a:lnTo>
                      <a:lnTo>
                        <a:pt x="180" y="2039"/>
                      </a:lnTo>
                      <a:lnTo>
                        <a:pt x="182" y="2030"/>
                      </a:lnTo>
                      <a:lnTo>
                        <a:pt x="182" y="2019"/>
                      </a:lnTo>
                      <a:lnTo>
                        <a:pt x="188" y="2011"/>
                      </a:lnTo>
                      <a:lnTo>
                        <a:pt x="188" y="2006"/>
                      </a:lnTo>
                      <a:lnTo>
                        <a:pt x="193" y="1998"/>
                      </a:lnTo>
                      <a:lnTo>
                        <a:pt x="193" y="1986"/>
                      </a:lnTo>
                      <a:lnTo>
                        <a:pt x="202" y="1970"/>
                      </a:lnTo>
                      <a:lnTo>
                        <a:pt x="210" y="1961"/>
                      </a:lnTo>
                      <a:lnTo>
                        <a:pt x="210" y="1958"/>
                      </a:lnTo>
                      <a:lnTo>
                        <a:pt x="210" y="1956"/>
                      </a:lnTo>
                      <a:lnTo>
                        <a:pt x="213" y="1953"/>
                      </a:lnTo>
                      <a:lnTo>
                        <a:pt x="216" y="1945"/>
                      </a:lnTo>
                      <a:lnTo>
                        <a:pt x="218" y="1937"/>
                      </a:lnTo>
                      <a:lnTo>
                        <a:pt x="221" y="1923"/>
                      </a:lnTo>
                      <a:lnTo>
                        <a:pt x="238" y="1904"/>
                      </a:lnTo>
                      <a:lnTo>
                        <a:pt x="238" y="1898"/>
                      </a:lnTo>
                      <a:lnTo>
                        <a:pt x="241" y="1896"/>
                      </a:lnTo>
                      <a:lnTo>
                        <a:pt x="241" y="1887"/>
                      </a:lnTo>
                      <a:lnTo>
                        <a:pt x="246" y="1879"/>
                      </a:lnTo>
                      <a:lnTo>
                        <a:pt x="246" y="1868"/>
                      </a:lnTo>
                      <a:lnTo>
                        <a:pt x="251" y="1865"/>
                      </a:lnTo>
                      <a:lnTo>
                        <a:pt x="254" y="1860"/>
                      </a:lnTo>
                      <a:lnTo>
                        <a:pt x="257" y="1854"/>
                      </a:lnTo>
                      <a:lnTo>
                        <a:pt x="257" y="1846"/>
                      </a:lnTo>
                      <a:lnTo>
                        <a:pt x="259" y="1840"/>
                      </a:lnTo>
                      <a:lnTo>
                        <a:pt x="265" y="1835"/>
                      </a:lnTo>
                      <a:lnTo>
                        <a:pt x="262" y="1827"/>
                      </a:lnTo>
                      <a:lnTo>
                        <a:pt x="257" y="1818"/>
                      </a:lnTo>
                      <a:lnTo>
                        <a:pt x="257" y="1815"/>
                      </a:lnTo>
                      <a:lnTo>
                        <a:pt x="259" y="1815"/>
                      </a:lnTo>
                      <a:lnTo>
                        <a:pt x="259" y="1810"/>
                      </a:lnTo>
                      <a:lnTo>
                        <a:pt x="259" y="1804"/>
                      </a:lnTo>
                      <a:lnTo>
                        <a:pt x="265" y="1785"/>
                      </a:lnTo>
                      <a:lnTo>
                        <a:pt x="276" y="1774"/>
                      </a:lnTo>
                      <a:lnTo>
                        <a:pt x="279" y="1763"/>
                      </a:lnTo>
                      <a:lnTo>
                        <a:pt x="279" y="1760"/>
                      </a:lnTo>
                      <a:lnTo>
                        <a:pt x="279" y="1749"/>
                      </a:lnTo>
                      <a:lnTo>
                        <a:pt x="279" y="1746"/>
                      </a:lnTo>
                      <a:lnTo>
                        <a:pt x="282" y="1735"/>
                      </a:lnTo>
                      <a:lnTo>
                        <a:pt x="282" y="1733"/>
                      </a:lnTo>
                      <a:lnTo>
                        <a:pt x="287" y="1727"/>
                      </a:lnTo>
                      <a:lnTo>
                        <a:pt x="293" y="1722"/>
                      </a:lnTo>
                      <a:lnTo>
                        <a:pt x="301" y="1719"/>
                      </a:lnTo>
                      <a:lnTo>
                        <a:pt x="303" y="1702"/>
                      </a:lnTo>
                      <a:lnTo>
                        <a:pt x="315" y="1702"/>
                      </a:lnTo>
                      <a:lnTo>
                        <a:pt x="326" y="1689"/>
                      </a:lnTo>
                      <a:lnTo>
                        <a:pt x="340" y="1677"/>
                      </a:lnTo>
                      <a:lnTo>
                        <a:pt x="340" y="1674"/>
                      </a:lnTo>
                      <a:lnTo>
                        <a:pt x="340" y="1669"/>
                      </a:lnTo>
                      <a:lnTo>
                        <a:pt x="343" y="1666"/>
                      </a:lnTo>
                      <a:lnTo>
                        <a:pt x="354" y="1650"/>
                      </a:lnTo>
                      <a:lnTo>
                        <a:pt x="359" y="1639"/>
                      </a:lnTo>
                      <a:lnTo>
                        <a:pt x="362" y="1630"/>
                      </a:lnTo>
                      <a:lnTo>
                        <a:pt x="362" y="1625"/>
                      </a:lnTo>
                      <a:lnTo>
                        <a:pt x="364" y="1617"/>
                      </a:lnTo>
                      <a:lnTo>
                        <a:pt x="387" y="1597"/>
                      </a:lnTo>
                      <a:lnTo>
                        <a:pt x="389" y="1589"/>
                      </a:lnTo>
                      <a:lnTo>
                        <a:pt x="395" y="1579"/>
                      </a:lnTo>
                      <a:lnTo>
                        <a:pt x="400" y="1572"/>
                      </a:lnTo>
                      <a:lnTo>
                        <a:pt x="405" y="1564"/>
                      </a:lnTo>
                      <a:lnTo>
                        <a:pt x="412" y="1561"/>
                      </a:lnTo>
                      <a:lnTo>
                        <a:pt x="431" y="1545"/>
                      </a:lnTo>
                      <a:lnTo>
                        <a:pt x="448" y="1539"/>
                      </a:lnTo>
                      <a:lnTo>
                        <a:pt x="458" y="1539"/>
                      </a:lnTo>
                      <a:lnTo>
                        <a:pt x="466" y="1536"/>
                      </a:lnTo>
                      <a:lnTo>
                        <a:pt x="469" y="1531"/>
                      </a:lnTo>
                      <a:lnTo>
                        <a:pt x="478" y="1520"/>
                      </a:lnTo>
                      <a:lnTo>
                        <a:pt x="489" y="1503"/>
                      </a:lnTo>
                      <a:lnTo>
                        <a:pt x="508" y="1476"/>
                      </a:lnTo>
                      <a:lnTo>
                        <a:pt x="514" y="1467"/>
                      </a:lnTo>
                      <a:lnTo>
                        <a:pt x="517" y="1457"/>
                      </a:lnTo>
                      <a:lnTo>
                        <a:pt x="522" y="1451"/>
                      </a:lnTo>
                      <a:lnTo>
                        <a:pt x="525" y="1443"/>
                      </a:lnTo>
                      <a:lnTo>
                        <a:pt x="541" y="1429"/>
                      </a:lnTo>
                      <a:lnTo>
                        <a:pt x="547" y="1421"/>
                      </a:lnTo>
                      <a:lnTo>
                        <a:pt x="547" y="1415"/>
                      </a:lnTo>
                      <a:lnTo>
                        <a:pt x="550" y="1390"/>
                      </a:lnTo>
                      <a:lnTo>
                        <a:pt x="553" y="1385"/>
                      </a:lnTo>
                      <a:lnTo>
                        <a:pt x="555" y="1377"/>
                      </a:lnTo>
                      <a:lnTo>
                        <a:pt x="566" y="1360"/>
                      </a:lnTo>
                      <a:lnTo>
                        <a:pt x="569" y="1360"/>
                      </a:lnTo>
                      <a:lnTo>
                        <a:pt x="580" y="1355"/>
                      </a:lnTo>
                      <a:lnTo>
                        <a:pt x="588" y="1349"/>
                      </a:lnTo>
                      <a:lnTo>
                        <a:pt x="594" y="1344"/>
                      </a:lnTo>
                      <a:lnTo>
                        <a:pt x="599" y="1329"/>
                      </a:lnTo>
                      <a:lnTo>
                        <a:pt x="602" y="1321"/>
                      </a:lnTo>
                      <a:lnTo>
                        <a:pt x="604" y="1300"/>
                      </a:lnTo>
                      <a:lnTo>
                        <a:pt x="612" y="1283"/>
                      </a:lnTo>
                      <a:lnTo>
                        <a:pt x="619" y="1272"/>
                      </a:lnTo>
                      <a:lnTo>
                        <a:pt x="621" y="1267"/>
                      </a:lnTo>
                      <a:lnTo>
                        <a:pt x="624" y="1258"/>
                      </a:lnTo>
                      <a:lnTo>
                        <a:pt x="627" y="1244"/>
                      </a:lnTo>
                      <a:lnTo>
                        <a:pt x="624" y="1236"/>
                      </a:lnTo>
                      <a:lnTo>
                        <a:pt x="627" y="1231"/>
                      </a:lnTo>
                      <a:lnTo>
                        <a:pt x="627" y="1222"/>
                      </a:lnTo>
                      <a:lnTo>
                        <a:pt x="630" y="1219"/>
                      </a:lnTo>
                      <a:lnTo>
                        <a:pt x="630" y="1216"/>
                      </a:lnTo>
                      <a:lnTo>
                        <a:pt x="635" y="1214"/>
                      </a:lnTo>
                      <a:lnTo>
                        <a:pt x="638" y="1208"/>
                      </a:lnTo>
                      <a:lnTo>
                        <a:pt x="638" y="1195"/>
                      </a:lnTo>
                      <a:lnTo>
                        <a:pt x="638" y="1189"/>
                      </a:lnTo>
                      <a:lnTo>
                        <a:pt x="635" y="1175"/>
                      </a:lnTo>
                      <a:lnTo>
                        <a:pt x="640" y="1167"/>
                      </a:lnTo>
                      <a:lnTo>
                        <a:pt x="640" y="1156"/>
                      </a:lnTo>
                      <a:lnTo>
                        <a:pt x="643" y="1145"/>
                      </a:lnTo>
                      <a:lnTo>
                        <a:pt x="640" y="1126"/>
                      </a:lnTo>
                      <a:lnTo>
                        <a:pt x="640" y="1122"/>
                      </a:lnTo>
                      <a:lnTo>
                        <a:pt x="640" y="1114"/>
                      </a:lnTo>
                      <a:lnTo>
                        <a:pt x="643" y="1112"/>
                      </a:lnTo>
                      <a:lnTo>
                        <a:pt x="646" y="1106"/>
                      </a:lnTo>
                      <a:lnTo>
                        <a:pt x="646" y="1104"/>
                      </a:lnTo>
                      <a:lnTo>
                        <a:pt x="643" y="1098"/>
                      </a:lnTo>
                      <a:lnTo>
                        <a:pt x="638" y="1096"/>
                      </a:lnTo>
                      <a:lnTo>
                        <a:pt x="627" y="1093"/>
                      </a:lnTo>
                      <a:lnTo>
                        <a:pt x="619" y="1087"/>
                      </a:lnTo>
                      <a:lnTo>
                        <a:pt x="610" y="1076"/>
                      </a:lnTo>
                      <a:lnTo>
                        <a:pt x="602" y="1070"/>
                      </a:lnTo>
                      <a:lnTo>
                        <a:pt x="588" y="1060"/>
                      </a:lnTo>
                      <a:lnTo>
                        <a:pt x="577" y="1053"/>
                      </a:lnTo>
                      <a:lnTo>
                        <a:pt x="571" y="1048"/>
                      </a:lnTo>
                      <a:lnTo>
                        <a:pt x="569" y="1043"/>
                      </a:lnTo>
                      <a:lnTo>
                        <a:pt x="561" y="1024"/>
                      </a:lnTo>
                      <a:lnTo>
                        <a:pt x="561" y="1021"/>
                      </a:lnTo>
                      <a:lnTo>
                        <a:pt x="553" y="1004"/>
                      </a:lnTo>
                      <a:lnTo>
                        <a:pt x="553" y="996"/>
                      </a:lnTo>
                      <a:lnTo>
                        <a:pt x="555" y="974"/>
                      </a:lnTo>
                      <a:lnTo>
                        <a:pt x="561" y="971"/>
                      </a:lnTo>
                      <a:lnTo>
                        <a:pt x="566" y="960"/>
                      </a:lnTo>
                      <a:lnTo>
                        <a:pt x="577" y="946"/>
                      </a:lnTo>
                      <a:lnTo>
                        <a:pt x="594" y="930"/>
                      </a:lnTo>
                      <a:lnTo>
                        <a:pt x="599" y="924"/>
                      </a:lnTo>
                      <a:lnTo>
                        <a:pt x="599" y="922"/>
                      </a:lnTo>
                      <a:lnTo>
                        <a:pt x="604" y="913"/>
                      </a:lnTo>
                      <a:lnTo>
                        <a:pt x="612" y="902"/>
                      </a:lnTo>
                      <a:lnTo>
                        <a:pt x="621" y="891"/>
                      </a:lnTo>
                      <a:lnTo>
                        <a:pt x="624" y="881"/>
                      </a:lnTo>
                      <a:lnTo>
                        <a:pt x="632" y="866"/>
                      </a:lnTo>
                      <a:lnTo>
                        <a:pt x="635" y="858"/>
                      </a:lnTo>
                      <a:lnTo>
                        <a:pt x="632" y="847"/>
                      </a:lnTo>
                      <a:lnTo>
                        <a:pt x="630" y="822"/>
                      </a:lnTo>
                      <a:lnTo>
                        <a:pt x="630" y="797"/>
                      </a:lnTo>
                      <a:lnTo>
                        <a:pt x="630" y="795"/>
                      </a:lnTo>
                      <a:lnTo>
                        <a:pt x="630" y="784"/>
                      </a:lnTo>
                      <a:lnTo>
                        <a:pt x="630" y="778"/>
                      </a:lnTo>
                      <a:lnTo>
                        <a:pt x="624" y="759"/>
                      </a:lnTo>
                      <a:lnTo>
                        <a:pt x="621" y="756"/>
                      </a:lnTo>
                      <a:lnTo>
                        <a:pt x="621" y="751"/>
                      </a:lnTo>
                      <a:lnTo>
                        <a:pt x="621" y="743"/>
                      </a:lnTo>
                      <a:lnTo>
                        <a:pt x="624" y="736"/>
                      </a:lnTo>
                      <a:lnTo>
                        <a:pt x="632" y="728"/>
                      </a:lnTo>
                      <a:lnTo>
                        <a:pt x="635" y="723"/>
                      </a:lnTo>
                      <a:lnTo>
                        <a:pt x="638" y="723"/>
                      </a:lnTo>
                      <a:lnTo>
                        <a:pt x="646" y="720"/>
                      </a:lnTo>
                      <a:lnTo>
                        <a:pt x="663" y="712"/>
                      </a:lnTo>
                      <a:lnTo>
                        <a:pt x="673" y="700"/>
                      </a:lnTo>
                      <a:lnTo>
                        <a:pt x="690" y="690"/>
                      </a:lnTo>
                      <a:lnTo>
                        <a:pt x="696" y="684"/>
                      </a:lnTo>
                      <a:lnTo>
                        <a:pt x="701" y="676"/>
                      </a:lnTo>
                      <a:lnTo>
                        <a:pt x="721" y="676"/>
                      </a:lnTo>
                      <a:lnTo>
                        <a:pt x="732" y="671"/>
                      </a:lnTo>
                      <a:lnTo>
                        <a:pt x="737" y="667"/>
                      </a:lnTo>
                      <a:lnTo>
                        <a:pt x="742" y="664"/>
                      </a:lnTo>
                      <a:lnTo>
                        <a:pt x="759" y="662"/>
                      </a:lnTo>
                      <a:lnTo>
                        <a:pt x="770" y="662"/>
                      </a:lnTo>
                      <a:lnTo>
                        <a:pt x="773" y="662"/>
                      </a:lnTo>
                      <a:lnTo>
                        <a:pt x="778" y="662"/>
                      </a:lnTo>
                      <a:lnTo>
                        <a:pt x="784" y="662"/>
                      </a:lnTo>
                      <a:lnTo>
                        <a:pt x="798" y="656"/>
                      </a:lnTo>
                      <a:lnTo>
                        <a:pt x="801" y="656"/>
                      </a:lnTo>
                      <a:lnTo>
                        <a:pt x="806" y="651"/>
                      </a:lnTo>
                      <a:lnTo>
                        <a:pt x="814" y="638"/>
                      </a:lnTo>
                      <a:lnTo>
                        <a:pt x="836" y="631"/>
                      </a:lnTo>
                      <a:lnTo>
                        <a:pt x="845" y="626"/>
                      </a:lnTo>
                      <a:lnTo>
                        <a:pt x="847" y="621"/>
                      </a:lnTo>
                      <a:lnTo>
                        <a:pt x="850" y="615"/>
                      </a:lnTo>
                      <a:lnTo>
                        <a:pt x="850" y="605"/>
                      </a:lnTo>
                      <a:lnTo>
                        <a:pt x="845" y="587"/>
                      </a:lnTo>
                      <a:lnTo>
                        <a:pt x="845" y="582"/>
                      </a:lnTo>
                      <a:lnTo>
                        <a:pt x="847" y="574"/>
                      </a:lnTo>
                      <a:lnTo>
                        <a:pt x="853" y="569"/>
                      </a:lnTo>
                      <a:lnTo>
                        <a:pt x="853" y="560"/>
                      </a:lnTo>
                      <a:lnTo>
                        <a:pt x="859" y="552"/>
                      </a:lnTo>
                      <a:lnTo>
                        <a:pt x="862" y="549"/>
                      </a:lnTo>
                      <a:lnTo>
                        <a:pt x="867" y="538"/>
                      </a:lnTo>
                      <a:lnTo>
                        <a:pt x="886" y="521"/>
                      </a:lnTo>
                      <a:lnTo>
                        <a:pt x="892" y="518"/>
                      </a:lnTo>
                      <a:lnTo>
                        <a:pt x="900" y="510"/>
                      </a:lnTo>
                      <a:lnTo>
                        <a:pt x="903" y="505"/>
                      </a:lnTo>
                      <a:lnTo>
                        <a:pt x="908" y="497"/>
                      </a:lnTo>
                      <a:lnTo>
                        <a:pt x="911" y="493"/>
                      </a:lnTo>
                      <a:lnTo>
                        <a:pt x="933" y="493"/>
                      </a:lnTo>
                      <a:lnTo>
                        <a:pt x="941" y="497"/>
                      </a:lnTo>
                      <a:lnTo>
                        <a:pt x="952" y="505"/>
                      </a:lnTo>
                      <a:lnTo>
                        <a:pt x="958" y="508"/>
                      </a:lnTo>
                      <a:lnTo>
                        <a:pt x="961" y="505"/>
                      </a:lnTo>
                      <a:lnTo>
                        <a:pt x="964" y="493"/>
                      </a:lnTo>
                      <a:lnTo>
                        <a:pt x="961" y="485"/>
                      </a:lnTo>
                      <a:lnTo>
                        <a:pt x="958" y="483"/>
                      </a:lnTo>
                      <a:lnTo>
                        <a:pt x="952" y="480"/>
                      </a:lnTo>
                      <a:lnTo>
                        <a:pt x="947" y="477"/>
                      </a:lnTo>
                      <a:lnTo>
                        <a:pt x="944" y="472"/>
                      </a:lnTo>
                      <a:lnTo>
                        <a:pt x="944" y="469"/>
                      </a:lnTo>
                      <a:lnTo>
                        <a:pt x="947" y="467"/>
                      </a:lnTo>
                      <a:lnTo>
                        <a:pt x="944" y="460"/>
                      </a:lnTo>
                      <a:lnTo>
                        <a:pt x="941" y="447"/>
                      </a:lnTo>
                      <a:lnTo>
                        <a:pt x="939" y="439"/>
                      </a:lnTo>
                      <a:lnTo>
                        <a:pt x="939" y="431"/>
                      </a:lnTo>
                      <a:lnTo>
                        <a:pt x="939" y="422"/>
                      </a:lnTo>
                      <a:lnTo>
                        <a:pt x="944" y="416"/>
                      </a:lnTo>
                      <a:lnTo>
                        <a:pt x="949" y="411"/>
                      </a:lnTo>
                      <a:lnTo>
                        <a:pt x="955" y="408"/>
                      </a:lnTo>
                      <a:lnTo>
                        <a:pt x="967" y="411"/>
                      </a:lnTo>
                      <a:lnTo>
                        <a:pt x="980" y="406"/>
                      </a:lnTo>
                      <a:lnTo>
                        <a:pt x="991" y="398"/>
                      </a:lnTo>
                      <a:lnTo>
                        <a:pt x="997" y="392"/>
                      </a:lnTo>
                      <a:lnTo>
                        <a:pt x="1000" y="383"/>
                      </a:lnTo>
                      <a:lnTo>
                        <a:pt x="1000" y="378"/>
                      </a:lnTo>
                      <a:lnTo>
                        <a:pt x="991" y="367"/>
                      </a:lnTo>
                      <a:lnTo>
                        <a:pt x="980" y="364"/>
                      </a:lnTo>
                      <a:lnTo>
                        <a:pt x="977" y="362"/>
                      </a:lnTo>
                      <a:lnTo>
                        <a:pt x="977" y="355"/>
                      </a:lnTo>
                      <a:lnTo>
                        <a:pt x="980" y="350"/>
                      </a:lnTo>
                      <a:lnTo>
                        <a:pt x="985" y="342"/>
                      </a:lnTo>
                      <a:lnTo>
                        <a:pt x="991" y="337"/>
                      </a:lnTo>
                      <a:lnTo>
                        <a:pt x="997" y="334"/>
                      </a:lnTo>
                      <a:lnTo>
                        <a:pt x="1013" y="331"/>
                      </a:lnTo>
                      <a:lnTo>
                        <a:pt x="1021" y="326"/>
                      </a:lnTo>
                      <a:lnTo>
                        <a:pt x="1021" y="317"/>
                      </a:lnTo>
                      <a:lnTo>
                        <a:pt x="1021" y="314"/>
                      </a:lnTo>
                      <a:lnTo>
                        <a:pt x="1016" y="306"/>
                      </a:lnTo>
                      <a:lnTo>
                        <a:pt x="1016" y="303"/>
                      </a:lnTo>
                      <a:lnTo>
                        <a:pt x="1005" y="293"/>
                      </a:lnTo>
                      <a:lnTo>
                        <a:pt x="1000" y="284"/>
                      </a:lnTo>
                      <a:lnTo>
                        <a:pt x="997" y="281"/>
                      </a:lnTo>
                      <a:lnTo>
                        <a:pt x="997" y="278"/>
                      </a:lnTo>
                      <a:lnTo>
                        <a:pt x="994" y="260"/>
                      </a:lnTo>
                      <a:lnTo>
                        <a:pt x="994" y="257"/>
                      </a:lnTo>
                      <a:lnTo>
                        <a:pt x="994" y="245"/>
                      </a:lnTo>
                      <a:lnTo>
                        <a:pt x="997" y="240"/>
                      </a:lnTo>
                      <a:lnTo>
                        <a:pt x="1000" y="234"/>
                      </a:lnTo>
                      <a:lnTo>
                        <a:pt x="1005" y="232"/>
                      </a:lnTo>
                      <a:lnTo>
                        <a:pt x="1024" y="234"/>
                      </a:lnTo>
                      <a:lnTo>
                        <a:pt x="1033" y="232"/>
                      </a:lnTo>
                      <a:lnTo>
                        <a:pt x="1035" y="232"/>
                      </a:lnTo>
                      <a:lnTo>
                        <a:pt x="1038" y="229"/>
                      </a:lnTo>
                      <a:lnTo>
                        <a:pt x="1044" y="226"/>
                      </a:lnTo>
                      <a:lnTo>
                        <a:pt x="1049" y="218"/>
                      </a:lnTo>
                      <a:lnTo>
                        <a:pt x="1057" y="201"/>
                      </a:lnTo>
                      <a:lnTo>
                        <a:pt x="1061" y="196"/>
                      </a:lnTo>
                      <a:lnTo>
                        <a:pt x="1061" y="188"/>
                      </a:lnTo>
                      <a:lnTo>
                        <a:pt x="1061" y="183"/>
                      </a:lnTo>
                      <a:lnTo>
                        <a:pt x="1044" y="171"/>
                      </a:lnTo>
                      <a:lnTo>
                        <a:pt x="1038" y="168"/>
                      </a:lnTo>
                      <a:lnTo>
                        <a:pt x="1035" y="165"/>
                      </a:lnTo>
                      <a:lnTo>
                        <a:pt x="1030" y="160"/>
                      </a:lnTo>
                      <a:lnTo>
                        <a:pt x="1021" y="160"/>
                      </a:lnTo>
                      <a:lnTo>
                        <a:pt x="1008" y="157"/>
                      </a:lnTo>
                      <a:lnTo>
                        <a:pt x="1002" y="155"/>
                      </a:lnTo>
                      <a:lnTo>
                        <a:pt x="997" y="152"/>
                      </a:lnTo>
                      <a:lnTo>
                        <a:pt x="994" y="149"/>
                      </a:lnTo>
                      <a:lnTo>
                        <a:pt x="985" y="138"/>
                      </a:lnTo>
                      <a:lnTo>
                        <a:pt x="983" y="135"/>
                      </a:lnTo>
                      <a:lnTo>
                        <a:pt x="983" y="138"/>
                      </a:lnTo>
                      <a:lnTo>
                        <a:pt x="983" y="132"/>
                      </a:lnTo>
                      <a:lnTo>
                        <a:pt x="977" y="124"/>
                      </a:lnTo>
                      <a:lnTo>
                        <a:pt x="975" y="119"/>
                      </a:lnTo>
                      <a:lnTo>
                        <a:pt x="975" y="114"/>
                      </a:lnTo>
                      <a:lnTo>
                        <a:pt x="975" y="110"/>
                      </a:lnTo>
                      <a:lnTo>
                        <a:pt x="969" y="104"/>
                      </a:lnTo>
                      <a:lnTo>
                        <a:pt x="967" y="102"/>
                      </a:lnTo>
                      <a:lnTo>
                        <a:pt x="964" y="96"/>
                      </a:lnTo>
                      <a:lnTo>
                        <a:pt x="958" y="94"/>
                      </a:lnTo>
                      <a:lnTo>
                        <a:pt x="955" y="94"/>
                      </a:lnTo>
                      <a:lnTo>
                        <a:pt x="952" y="99"/>
                      </a:lnTo>
                      <a:lnTo>
                        <a:pt x="944" y="96"/>
                      </a:lnTo>
                      <a:lnTo>
                        <a:pt x="936" y="99"/>
                      </a:lnTo>
                      <a:lnTo>
                        <a:pt x="933" y="99"/>
                      </a:lnTo>
                      <a:lnTo>
                        <a:pt x="931" y="102"/>
                      </a:lnTo>
                      <a:lnTo>
                        <a:pt x="925" y="102"/>
                      </a:lnTo>
                      <a:lnTo>
                        <a:pt x="922" y="104"/>
                      </a:lnTo>
                      <a:lnTo>
                        <a:pt x="914" y="107"/>
                      </a:lnTo>
                      <a:lnTo>
                        <a:pt x="908" y="107"/>
                      </a:lnTo>
                      <a:lnTo>
                        <a:pt x="888" y="104"/>
                      </a:lnTo>
                      <a:lnTo>
                        <a:pt x="875" y="104"/>
                      </a:lnTo>
                      <a:lnTo>
                        <a:pt x="870" y="104"/>
                      </a:lnTo>
                      <a:lnTo>
                        <a:pt x="859" y="102"/>
                      </a:lnTo>
                      <a:lnTo>
                        <a:pt x="853" y="91"/>
                      </a:lnTo>
                      <a:lnTo>
                        <a:pt x="850" y="91"/>
                      </a:lnTo>
                      <a:lnTo>
                        <a:pt x="839" y="88"/>
                      </a:lnTo>
                      <a:lnTo>
                        <a:pt x="823" y="88"/>
                      </a:lnTo>
                      <a:lnTo>
                        <a:pt x="823" y="86"/>
                      </a:lnTo>
                      <a:lnTo>
                        <a:pt x="817" y="86"/>
                      </a:lnTo>
                      <a:lnTo>
                        <a:pt x="811" y="83"/>
                      </a:lnTo>
                      <a:lnTo>
                        <a:pt x="809" y="80"/>
                      </a:lnTo>
                      <a:lnTo>
                        <a:pt x="809" y="78"/>
                      </a:lnTo>
                      <a:lnTo>
                        <a:pt x="809" y="74"/>
                      </a:lnTo>
                      <a:lnTo>
                        <a:pt x="814" y="78"/>
                      </a:lnTo>
                      <a:lnTo>
                        <a:pt x="817" y="74"/>
                      </a:lnTo>
                      <a:lnTo>
                        <a:pt x="826" y="78"/>
                      </a:lnTo>
                      <a:lnTo>
                        <a:pt x="828" y="74"/>
                      </a:lnTo>
                      <a:lnTo>
                        <a:pt x="831" y="63"/>
                      </a:lnTo>
                      <a:lnTo>
                        <a:pt x="834" y="61"/>
                      </a:lnTo>
                      <a:lnTo>
                        <a:pt x="839" y="58"/>
                      </a:lnTo>
                      <a:lnTo>
                        <a:pt x="850" y="61"/>
                      </a:lnTo>
                      <a:lnTo>
                        <a:pt x="856" y="63"/>
                      </a:lnTo>
                      <a:lnTo>
                        <a:pt x="859" y="69"/>
                      </a:lnTo>
                      <a:lnTo>
                        <a:pt x="867" y="71"/>
                      </a:lnTo>
                      <a:lnTo>
                        <a:pt x="870" y="69"/>
                      </a:lnTo>
                      <a:lnTo>
                        <a:pt x="878" y="61"/>
                      </a:lnTo>
                      <a:lnTo>
                        <a:pt x="883" y="47"/>
                      </a:lnTo>
                      <a:lnTo>
                        <a:pt x="883" y="38"/>
                      </a:lnTo>
                      <a:lnTo>
                        <a:pt x="886" y="30"/>
                      </a:lnTo>
                      <a:lnTo>
                        <a:pt x="886" y="25"/>
                      </a:lnTo>
                      <a:lnTo>
                        <a:pt x="895" y="14"/>
                      </a:lnTo>
                      <a:lnTo>
                        <a:pt x="903" y="9"/>
                      </a:lnTo>
                      <a:lnTo>
                        <a:pt x="916" y="11"/>
                      </a:lnTo>
                      <a:lnTo>
                        <a:pt x="925" y="5"/>
                      </a:lnTo>
                      <a:lnTo>
                        <a:pt x="967" y="0"/>
                      </a:lnTo>
                      <a:lnTo>
                        <a:pt x="972" y="2"/>
                      </a:lnTo>
                      <a:lnTo>
                        <a:pt x="985" y="14"/>
                      </a:lnTo>
                      <a:lnTo>
                        <a:pt x="997" y="14"/>
                      </a:lnTo>
                      <a:lnTo>
                        <a:pt x="1005" y="19"/>
                      </a:lnTo>
                      <a:lnTo>
                        <a:pt x="1016" y="25"/>
                      </a:lnTo>
                      <a:lnTo>
                        <a:pt x="1021" y="27"/>
                      </a:lnTo>
                      <a:lnTo>
                        <a:pt x="1024" y="27"/>
                      </a:lnTo>
                      <a:lnTo>
                        <a:pt x="1030" y="33"/>
                      </a:lnTo>
                      <a:lnTo>
                        <a:pt x="1038" y="35"/>
                      </a:lnTo>
                      <a:lnTo>
                        <a:pt x="1044" y="38"/>
                      </a:lnTo>
                      <a:lnTo>
                        <a:pt x="1071" y="41"/>
                      </a:lnTo>
                      <a:lnTo>
                        <a:pt x="1082" y="45"/>
                      </a:lnTo>
                      <a:lnTo>
                        <a:pt x="1096" y="41"/>
                      </a:lnTo>
                      <a:lnTo>
                        <a:pt x="1110" y="27"/>
                      </a:lnTo>
                      <a:lnTo>
                        <a:pt x="1113" y="27"/>
                      </a:lnTo>
                      <a:lnTo>
                        <a:pt x="1118" y="27"/>
                      </a:lnTo>
                      <a:lnTo>
                        <a:pt x="1132" y="30"/>
                      </a:lnTo>
                      <a:lnTo>
                        <a:pt x="1140" y="30"/>
                      </a:lnTo>
                      <a:lnTo>
                        <a:pt x="1143" y="30"/>
                      </a:lnTo>
                      <a:lnTo>
                        <a:pt x="1162" y="38"/>
                      </a:lnTo>
                      <a:lnTo>
                        <a:pt x="1165" y="45"/>
                      </a:lnTo>
                      <a:lnTo>
                        <a:pt x="1168" y="53"/>
                      </a:lnTo>
                      <a:lnTo>
                        <a:pt x="1168" y="55"/>
                      </a:lnTo>
                      <a:lnTo>
                        <a:pt x="1168" y="58"/>
                      </a:lnTo>
                      <a:lnTo>
                        <a:pt x="1168" y="71"/>
                      </a:lnTo>
                      <a:lnTo>
                        <a:pt x="1179" y="86"/>
                      </a:lnTo>
                      <a:lnTo>
                        <a:pt x="1184" y="91"/>
                      </a:lnTo>
                      <a:lnTo>
                        <a:pt x="1199" y="91"/>
                      </a:lnTo>
                      <a:lnTo>
                        <a:pt x="1209" y="88"/>
                      </a:lnTo>
                      <a:lnTo>
                        <a:pt x="1220" y="88"/>
                      </a:lnTo>
                      <a:lnTo>
                        <a:pt x="1242" y="102"/>
                      </a:lnTo>
                      <a:lnTo>
                        <a:pt x="1250" y="104"/>
                      </a:lnTo>
                      <a:lnTo>
                        <a:pt x="1270" y="122"/>
                      </a:lnTo>
                      <a:lnTo>
                        <a:pt x="1286" y="127"/>
                      </a:lnTo>
                      <a:lnTo>
                        <a:pt x="1292" y="124"/>
                      </a:lnTo>
                      <a:lnTo>
                        <a:pt x="1294" y="124"/>
                      </a:lnTo>
                      <a:lnTo>
                        <a:pt x="1319" y="149"/>
                      </a:lnTo>
                      <a:lnTo>
                        <a:pt x="1325" y="165"/>
                      </a:lnTo>
                      <a:lnTo>
                        <a:pt x="1325" y="179"/>
                      </a:lnTo>
                      <a:lnTo>
                        <a:pt x="1328" y="191"/>
                      </a:lnTo>
                      <a:lnTo>
                        <a:pt x="1328" y="196"/>
                      </a:lnTo>
                      <a:lnTo>
                        <a:pt x="1328" y="207"/>
                      </a:lnTo>
                      <a:lnTo>
                        <a:pt x="1322" y="226"/>
                      </a:lnTo>
                      <a:lnTo>
                        <a:pt x="1319" y="234"/>
                      </a:lnTo>
                      <a:lnTo>
                        <a:pt x="1325" y="245"/>
                      </a:lnTo>
                      <a:lnTo>
                        <a:pt x="1330" y="250"/>
                      </a:lnTo>
                      <a:lnTo>
                        <a:pt x="1342" y="276"/>
                      </a:lnTo>
                      <a:lnTo>
                        <a:pt x="1345" y="290"/>
                      </a:lnTo>
                      <a:lnTo>
                        <a:pt x="1347" y="293"/>
                      </a:lnTo>
                      <a:lnTo>
                        <a:pt x="1347" y="319"/>
                      </a:lnTo>
                      <a:lnTo>
                        <a:pt x="1339" y="345"/>
                      </a:lnTo>
                      <a:lnTo>
                        <a:pt x="1345" y="353"/>
                      </a:lnTo>
                      <a:lnTo>
                        <a:pt x="1347" y="364"/>
                      </a:lnTo>
                      <a:lnTo>
                        <a:pt x="1347" y="367"/>
                      </a:lnTo>
                      <a:lnTo>
                        <a:pt x="1347" y="375"/>
                      </a:lnTo>
                      <a:lnTo>
                        <a:pt x="1345" y="386"/>
                      </a:lnTo>
                      <a:lnTo>
                        <a:pt x="1347" y="398"/>
                      </a:lnTo>
                      <a:lnTo>
                        <a:pt x="1353" y="422"/>
                      </a:lnTo>
                      <a:lnTo>
                        <a:pt x="1358" y="436"/>
                      </a:lnTo>
                      <a:lnTo>
                        <a:pt x="1363" y="444"/>
                      </a:lnTo>
                      <a:lnTo>
                        <a:pt x="1366" y="452"/>
                      </a:lnTo>
                      <a:lnTo>
                        <a:pt x="1366" y="460"/>
                      </a:lnTo>
                      <a:lnTo>
                        <a:pt x="1366" y="467"/>
                      </a:lnTo>
                      <a:lnTo>
                        <a:pt x="1355" y="488"/>
                      </a:lnTo>
                      <a:lnTo>
                        <a:pt x="1355" y="491"/>
                      </a:lnTo>
                      <a:lnTo>
                        <a:pt x="1353" y="505"/>
                      </a:lnTo>
                      <a:lnTo>
                        <a:pt x="1350" y="516"/>
                      </a:lnTo>
                      <a:lnTo>
                        <a:pt x="1347" y="527"/>
                      </a:lnTo>
                      <a:lnTo>
                        <a:pt x="1345" y="529"/>
                      </a:lnTo>
                      <a:lnTo>
                        <a:pt x="1353" y="552"/>
                      </a:lnTo>
                      <a:lnTo>
                        <a:pt x="1350" y="557"/>
                      </a:lnTo>
                      <a:lnTo>
                        <a:pt x="1347" y="557"/>
                      </a:lnTo>
                      <a:lnTo>
                        <a:pt x="1337" y="574"/>
                      </a:lnTo>
                      <a:lnTo>
                        <a:pt x="1337" y="579"/>
                      </a:lnTo>
                      <a:lnTo>
                        <a:pt x="1333" y="582"/>
                      </a:lnTo>
                      <a:lnTo>
                        <a:pt x="1333" y="593"/>
                      </a:lnTo>
                      <a:lnTo>
                        <a:pt x="1333" y="602"/>
                      </a:lnTo>
                      <a:lnTo>
                        <a:pt x="1333" y="605"/>
                      </a:lnTo>
                      <a:lnTo>
                        <a:pt x="1328" y="613"/>
                      </a:lnTo>
                      <a:lnTo>
                        <a:pt x="1319" y="629"/>
                      </a:lnTo>
                      <a:lnTo>
                        <a:pt x="1322" y="638"/>
                      </a:lnTo>
                      <a:lnTo>
                        <a:pt x="1319" y="640"/>
                      </a:lnTo>
                      <a:lnTo>
                        <a:pt x="1319" y="646"/>
                      </a:lnTo>
                      <a:lnTo>
                        <a:pt x="1319" y="664"/>
                      </a:lnTo>
                      <a:lnTo>
                        <a:pt x="1311" y="679"/>
                      </a:lnTo>
                      <a:lnTo>
                        <a:pt x="1306" y="695"/>
                      </a:lnTo>
                      <a:lnTo>
                        <a:pt x="1306" y="698"/>
                      </a:lnTo>
                      <a:lnTo>
                        <a:pt x="1309" y="698"/>
                      </a:lnTo>
                      <a:lnTo>
                        <a:pt x="1309" y="700"/>
                      </a:lnTo>
                      <a:lnTo>
                        <a:pt x="1314" y="715"/>
                      </a:lnTo>
                      <a:lnTo>
                        <a:pt x="1317" y="723"/>
                      </a:lnTo>
                      <a:lnTo>
                        <a:pt x="1314" y="728"/>
                      </a:lnTo>
                      <a:lnTo>
                        <a:pt x="1306" y="745"/>
                      </a:lnTo>
                      <a:lnTo>
                        <a:pt x="1306" y="756"/>
                      </a:lnTo>
                      <a:lnTo>
                        <a:pt x="1303" y="761"/>
                      </a:lnTo>
                      <a:lnTo>
                        <a:pt x="1300" y="769"/>
                      </a:lnTo>
                      <a:lnTo>
                        <a:pt x="1300" y="772"/>
                      </a:lnTo>
                      <a:lnTo>
                        <a:pt x="1297" y="778"/>
                      </a:lnTo>
                      <a:lnTo>
                        <a:pt x="1286" y="789"/>
                      </a:lnTo>
                      <a:lnTo>
                        <a:pt x="1281" y="792"/>
                      </a:lnTo>
                      <a:lnTo>
                        <a:pt x="1270" y="805"/>
                      </a:lnTo>
                      <a:lnTo>
                        <a:pt x="1268" y="817"/>
                      </a:lnTo>
                      <a:lnTo>
                        <a:pt x="1259" y="828"/>
                      </a:lnTo>
                      <a:lnTo>
                        <a:pt x="1253" y="830"/>
                      </a:lnTo>
                      <a:lnTo>
                        <a:pt x="1248" y="828"/>
                      </a:lnTo>
                      <a:lnTo>
                        <a:pt x="1240" y="825"/>
                      </a:lnTo>
                      <a:lnTo>
                        <a:pt x="1234" y="825"/>
                      </a:lnTo>
                      <a:lnTo>
                        <a:pt x="1231" y="828"/>
                      </a:lnTo>
                      <a:lnTo>
                        <a:pt x="1217" y="836"/>
                      </a:lnTo>
                      <a:lnTo>
                        <a:pt x="1217" y="838"/>
                      </a:lnTo>
                      <a:lnTo>
                        <a:pt x="1217" y="847"/>
                      </a:lnTo>
                      <a:lnTo>
                        <a:pt x="1217" y="853"/>
                      </a:lnTo>
                      <a:lnTo>
                        <a:pt x="1223" y="858"/>
                      </a:lnTo>
                      <a:lnTo>
                        <a:pt x="1240" y="866"/>
                      </a:lnTo>
                      <a:lnTo>
                        <a:pt x="1248" y="874"/>
                      </a:lnTo>
                      <a:lnTo>
                        <a:pt x="1256" y="894"/>
                      </a:lnTo>
                      <a:lnTo>
                        <a:pt x="1259" y="894"/>
                      </a:lnTo>
                      <a:lnTo>
                        <a:pt x="1261" y="894"/>
                      </a:lnTo>
                      <a:lnTo>
                        <a:pt x="1268" y="894"/>
                      </a:lnTo>
                      <a:lnTo>
                        <a:pt x="1276" y="881"/>
                      </a:lnTo>
                      <a:lnTo>
                        <a:pt x="1281" y="877"/>
                      </a:lnTo>
                      <a:lnTo>
                        <a:pt x="1300" y="877"/>
                      </a:lnTo>
                      <a:lnTo>
                        <a:pt x="1303" y="881"/>
                      </a:lnTo>
                      <a:lnTo>
                        <a:pt x="1319" y="891"/>
                      </a:lnTo>
                      <a:lnTo>
                        <a:pt x="1325" y="902"/>
                      </a:lnTo>
                      <a:lnTo>
                        <a:pt x="1328" y="907"/>
                      </a:lnTo>
                      <a:lnTo>
                        <a:pt x="1325" y="922"/>
                      </a:lnTo>
                      <a:lnTo>
                        <a:pt x="1314" y="927"/>
                      </a:lnTo>
                      <a:lnTo>
                        <a:pt x="1314" y="930"/>
                      </a:lnTo>
                      <a:lnTo>
                        <a:pt x="1292" y="938"/>
                      </a:lnTo>
                      <a:lnTo>
                        <a:pt x="1286" y="941"/>
                      </a:lnTo>
                      <a:lnTo>
                        <a:pt x="1281" y="952"/>
                      </a:lnTo>
                      <a:lnTo>
                        <a:pt x="1292" y="955"/>
                      </a:lnTo>
                      <a:lnTo>
                        <a:pt x="1297" y="952"/>
                      </a:lnTo>
                      <a:lnTo>
                        <a:pt x="1306" y="949"/>
                      </a:lnTo>
                      <a:lnTo>
                        <a:pt x="1311" y="949"/>
                      </a:lnTo>
                      <a:lnTo>
                        <a:pt x="1317" y="949"/>
                      </a:lnTo>
                      <a:lnTo>
                        <a:pt x="1317" y="955"/>
                      </a:lnTo>
                      <a:lnTo>
                        <a:pt x="1319" y="968"/>
                      </a:lnTo>
                      <a:lnTo>
                        <a:pt x="1325" y="974"/>
                      </a:lnTo>
                      <a:lnTo>
                        <a:pt x="1325" y="988"/>
                      </a:lnTo>
                      <a:lnTo>
                        <a:pt x="1328" y="991"/>
                      </a:lnTo>
                      <a:lnTo>
                        <a:pt x="1330" y="991"/>
                      </a:lnTo>
                      <a:lnTo>
                        <a:pt x="1333" y="984"/>
                      </a:lnTo>
                      <a:lnTo>
                        <a:pt x="1345" y="984"/>
                      </a:lnTo>
                      <a:lnTo>
                        <a:pt x="1347" y="988"/>
                      </a:lnTo>
                      <a:lnTo>
                        <a:pt x="1350" y="991"/>
                      </a:lnTo>
                      <a:lnTo>
                        <a:pt x="1350" y="993"/>
                      </a:lnTo>
                      <a:lnTo>
                        <a:pt x="1347" y="996"/>
                      </a:lnTo>
                      <a:lnTo>
                        <a:pt x="1345" y="999"/>
                      </a:lnTo>
                      <a:lnTo>
                        <a:pt x="1345" y="1001"/>
                      </a:lnTo>
                      <a:lnTo>
                        <a:pt x="1347" y="1001"/>
                      </a:lnTo>
                      <a:lnTo>
                        <a:pt x="1350" y="1001"/>
                      </a:lnTo>
                      <a:lnTo>
                        <a:pt x="1355" y="1004"/>
                      </a:lnTo>
                      <a:lnTo>
                        <a:pt x="1358" y="1004"/>
                      </a:lnTo>
                      <a:lnTo>
                        <a:pt x="1361" y="1007"/>
                      </a:lnTo>
                      <a:lnTo>
                        <a:pt x="1358" y="1012"/>
                      </a:lnTo>
                      <a:lnTo>
                        <a:pt x="1366" y="1018"/>
                      </a:lnTo>
                      <a:lnTo>
                        <a:pt x="1366" y="1027"/>
                      </a:lnTo>
                      <a:lnTo>
                        <a:pt x="1363" y="1032"/>
                      </a:lnTo>
                      <a:lnTo>
                        <a:pt x="1363" y="1035"/>
                      </a:lnTo>
                      <a:lnTo>
                        <a:pt x="1366" y="1040"/>
                      </a:lnTo>
                      <a:lnTo>
                        <a:pt x="1372" y="1043"/>
                      </a:lnTo>
                      <a:lnTo>
                        <a:pt x="1378" y="1037"/>
                      </a:lnTo>
                      <a:lnTo>
                        <a:pt x="1378" y="1035"/>
                      </a:lnTo>
                      <a:lnTo>
                        <a:pt x="1372" y="1035"/>
                      </a:lnTo>
                      <a:lnTo>
                        <a:pt x="1369" y="1029"/>
                      </a:lnTo>
                      <a:lnTo>
                        <a:pt x="1369" y="1027"/>
                      </a:lnTo>
                      <a:lnTo>
                        <a:pt x="1375" y="1027"/>
                      </a:lnTo>
                      <a:lnTo>
                        <a:pt x="1378" y="1027"/>
                      </a:lnTo>
                      <a:lnTo>
                        <a:pt x="1380" y="1032"/>
                      </a:lnTo>
                      <a:lnTo>
                        <a:pt x="1386" y="1035"/>
                      </a:lnTo>
                      <a:lnTo>
                        <a:pt x="1391" y="1040"/>
                      </a:lnTo>
                      <a:lnTo>
                        <a:pt x="1394" y="1043"/>
                      </a:lnTo>
                      <a:lnTo>
                        <a:pt x="1391" y="1045"/>
                      </a:lnTo>
                      <a:lnTo>
                        <a:pt x="1389" y="1045"/>
                      </a:lnTo>
                      <a:lnTo>
                        <a:pt x="1383" y="1045"/>
                      </a:lnTo>
                      <a:lnTo>
                        <a:pt x="1386" y="1048"/>
                      </a:lnTo>
                      <a:lnTo>
                        <a:pt x="1386" y="1051"/>
                      </a:lnTo>
                      <a:lnTo>
                        <a:pt x="1386" y="1053"/>
                      </a:lnTo>
                      <a:lnTo>
                        <a:pt x="1399" y="1057"/>
                      </a:lnTo>
                      <a:lnTo>
                        <a:pt x="1399" y="1062"/>
                      </a:lnTo>
                      <a:lnTo>
                        <a:pt x="1397" y="1062"/>
                      </a:lnTo>
                      <a:lnTo>
                        <a:pt x="1394" y="1060"/>
                      </a:lnTo>
                      <a:lnTo>
                        <a:pt x="1394" y="1062"/>
                      </a:lnTo>
                      <a:lnTo>
                        <a:pt x="1397" y="1065"/>
                      </a:lnTo>
                      <a:lnTo>
                        <a:pt x="1394" y="1068"/>
                      </a:lnTo>
                      <a:lnTo>
                        <a:pt x="1394" y="1073"/>
                      </a:lnTo>
                      <a:lnTo>
                        <a:pt x="1397" y="1073"/>
                      </a:lnTo>
                      <a:lnTo>
                        <a:pt x="1399" y="1076"/>
                      </a:lnTo>
                      <a:lnTo>
                        <a:pt x="1402" y="1073"/>
                      </a:lnTo>
                      <a:lnTo>
                        <a:pt x="1408" y="1076"/>
                      </a:lnTo>
                      <a:lnTo>
                        <a:pt x="1411" y="1073"/>
                      </a:lnTo>
                      <a:lnTo>
                        <a:pt x="1411" y="1076"/>
                      </a:lnTo>
                      <a:lnTo>
                        <a:pt x="1411" y="1078"/>
                      </a:lnTo>
                      <a:lnTo>
                        <a:pt x="1416" y="1078"/>
                      </a:lnTo>
                      <a:lnTo>
                        <a:pt x="1416" y="1081"/>
                      </a:lnTo>
                      <a:lnTo>
                        <a:pt x="1414" y="1087"/>
                      </a:lnTo>
                      <a:lnTo>
                        <a:pt x="1416" y="1084"/>
                      </a:lnTo>
                      <a:lnTo>
                        <a:pt x="1419" y="1084"/>
                      </a:lnTo>
                      <a:lnTo>
                        <a:pt x="1422" y="1084"/>
                      </a:lnTo>
                      <a:lnTo>
                        <a:pt x="1419" y="1087"/>
                      </a:lnTo>
                      <a:lnTo>
                        <a:pt x="1422" y="1096"/>
                      </a:lnTo>
                      <a:lnTo>
                        <a:pt x="1424" y="1101"/>
                      </a:lnTo>
                      <a:lnTo>
                        <a:pt x="1422" y="1104"/>
                      </a:lnTo>
                      <a:lnTo>
                        <a:pt x="1427" y="1104"/>
                      </a:lnTo>
                      <a:lnTo>
                        <a:pt x="1422" y="1106"/>
                      </a:lnTo>
                      <a:lnTo>
                        <a:pt x="1422" y="1109"/>
                      </a:lnTo>
                      <a:lnTo>
                        <a:pt x="1424" y="1109"/>
                      </a:lnTo>
                      <a:lnTo>
                        <a:pt x="1427" y="1109"/>
                      </a:lnTo>
                      <a:lnTo>
                        <a:pt x="1427" y="1112"/>
                      </a:lnTo>
                      <a:lnTo>
                        <a:pt x="1430" y="1114"/>
                      </a:lnTo>
                      <a:lnTo>
                        <a:pt x="1432" y="1117"/>
                      </a:lnTo>
                      <a:lnTo>
                        <a:pt x="1439" y="1117"/>
                      </a:lnTo>
                      <a:lnTo>
                        <a:pt x="1439" y="1120"/>
                      </a:lnTo>
                      <a:lnTo>
                        <a:pt x="1441" y="1120"/>
                      </a:lnTo>
                      <a:lnTo>
                        <a:pt x="1441" y="1122"/>
                      </a:lnTo>
                      <a:lnTo>
                        <a:pt x="1447" y="1120"/>
                      </a:lnTo>
                      <a:lnTo>
                        <a:pt x="1447" y="1126"/>
                      </a:lnTo>
                      <a:lnTo>
                        <a:pt x="1449" y="1126"/>
                      </a:lnTo>
                      <a:lnTo>
                        <a:pt x="1449" y="1129"/>
                      </a:lnTo>
                      <a:lnTo>
                        <a:pt x="1449" y="1131"/>
                      </a:lnTo>
                      <a:lnTo>
                        <a:pt x="1455" y="1137"/>
                      </a:lnTo>
                      <a:lnTo>
                        <a:pt x="1458" y="1139"/>
                      </a:lnTo>
                      <a:lnTo>
                        <a:pt x="1458" y="1142"/>
                      </a:lnTo>
                      <a:lnTo>
                        <a:pt x="1463" y="1142"/>
                      </a:lnTo>
                      <a:lnTo>
                        <a:pt x="1463" y="1150"/>
                      </a:lnTo>
                      <a:lnTo>
                        <a:pt x="1463" y="1156"/>
                      </a:lnTo>
                      <a:lnTo>
                        <a:pt x="1468" y="1153"/>
                      </a:lnTo>
                      <a:lnTo>
                        <a:pt x="1471" y="1153"/>
                      </a:lnTo>
                      <a:lnTo>
                        <a:pt x="1475" y="1162"/>
                      </a:lnTo>
                      <a:lnTo>
                        <a:pt x="1477" y="1158"/>
                      </a:lnTo>
                      <a:lnTo>
                        <a:pt x="1475" y="1167"/>
                      </a:lnTo>
                      <a:lnTo>
                        <a:pt x="1477" y="1170"/>
                      </a:lnTo>
                      <a:lnTo>
                        <a:pt x="1480" y="1167"/>
                      </a:lnTo>
                      <a:lnTo>
                        <a:pt x="1480" y="1170"/>
                      </a:lnTo>
                      <a:lnTo>
                        <a:pt x="1480" y="1173"/>
                      </a:lnTo>
                      <a:lnTo>
                        <a:pt x="1477" y="1173"/>
                      </a:lnTo>
                      <a:lnTo>
                        <a:pt x="1483" y="1178"/>
                      </a:lnTo>
                      <a:lnTo>
                        <a:pt x="1477" y="1181"/>
                      </a:lnTo>
                      <a:lnTo>
                        <a:pt x="1488" y="1181"/>
                      </a:lnTo>
                      <a:lnTo>
                        <a:pt x="1496" y="1189"/>
                      </a:lnTo>
                      <a:lnTo>
                        <a:pt x="1496" y="1198"/>
                      </a:lnTo>
                      <a:lnTo>
                        <a:pt x="1501" y="1200"/>
                      </a:lnTo>
                      <a:lnTo>
                        <a:pt x="1499" y="1203"/>
                      </a:lnTo>
                      <a:lnTo>
                        <a:pt x="1504" y="1206"/>
                      </a:lnTo>
                      <a:lnTo>
                        <a:pt x="1504" y="1208"/>
                      </a:lnTo>
                      <a:lnTo>
                        <a:pt x="1513" y="1208"/>
                      </a:lnTo>
                      <a:lnTo>
                        <a:pt x="1513" y="1211"/>
                      </a:lnTo>
                      <a:lnTo>
                        <a:pt x="1516" y="1211"/>
                      </a:lnTo>
                      <a:lnTo>
                        <a:pt x="1518" y="1211"/>
                      </a:lnTo>
                      <a:lnTo>
                        <a:pt x="1521" y="1211"/>
                      </a:lnTo>
                      <a:lnTo>
                        <a:pt x="1521" y="1214"/>
                      </a:lnTo>
                      <a:lnTo>
                        <a:pt x="1524" y="1214"/>
                      </a:lnTo>
                      <a:lnTo>
                        <a:pt x="1527" y="1206"/>
                      </a:lnTo>
                      <a:lnTo>
                        <a:pt x="1529" y="1208"/>
                      </a:lnTo>
                      <a:lnTo>
                        <a:pt x="1529" y="1206"/>
                      </a:lnTo>
                      <a:lnTo>
                        <a:pt x="1537" y="1203"/>
                      </a:lnTo>
                      <a:lnTo>
                        <a:pt x="1535" y="1200"/>
                      </a:lnTo>
                      <a:lnTo>
                        <a:pt x="1540" y="1198"/>
                      </a:lnTo>
                      <a:lnTo>
                        <a:pt x="1540" y="1191"/>
                      </a:lnTo>
                      <a:lnTo>
                        <a:pt x="1540" y="1189"/>
                      </a:lnTo>
                      <a:lnTo>
                        <a:pt x="1544" y="1189"/>
                      </a:lnTo>
                      <a:lnTo>
                        <a:pt x="1546" y="1183"/>
                      </a:lnTo>
                      <a:lnTo>
                        <a:pt x="1552" y="1183"/>
                      </a:lnTo>
                      <a:lnTo>
                        <a:pt x="1554" y="1183"/>
                      </a:lnTo>
                      <a:lnTo>
                        <a:pt x="1554" y="1181"/>
                      </a:lnTo>
                      <a:lnTo>
                        <a:pt x="1554" y="1178"/>
                      </a:lnTo>
                      <a:lnTo>
                        <a:pt x="1557" y="1178"/>
                      </a:lnTo>
                      <a:lnTo>
                        <a:pt x="1560" y="1181"/>
                      </a:lnTo>
                      <a:lnTo>
                        <a:pt x="1562" y="1181"/>
                      </a:lnTo>
                      <a:lnTo>
                        <a:pt x="1565" y="1175"/>
                      </a:lnTo>
                      <a:lnTo>
                        <a:pt x="1568" y="1175"/>
                      </a:lnTo>
                      <a:lnTo>
                        <a:pt x="1568" y="1170"/>
                      </a:lnTo>
                      <a:lnTo>
                        <a:pt x="1573" y="1167"/>
                      </a:lnTo>
                      <a:lnTo>
                        <a:pt x="1573" y="1170"/>
                      </a:lnTo>
                      <a:lnTo>
                        <a:pt x="1577" y="1173"/>
                      </a:lnTo>
                      <a:lnTo>
                        <a:pt x="1579" y="1170"/>
                      </a:lnTo>
                      <a:lnTo>
                        <a:pt x="1582" y="1167"/>
                      </a:lnTo>
                      <a:lnTo>
                        <a:pt x="1585" y="1173"/>
                      </a:lnTo>
                      <a:lnTo>
                        <a:pt x="1587" y="1173"/>
                      </a:lnTo>
                      <a:lnTo>
                        <a:pt x="1587" y="1170"/>
                      </a:lnTo>
                      <a:lnTo>
                        <a:pt x="1590" y="1170"/>
                      </a:lnTo>
                      <a:lnTo>
                        <a:pt x="1598" y="1167"/>
                      </a:lnTo>
                      <a:lnTo>
                        <a:pt x="1601" y="1165"/>
                      </a:lnTo>
                      <a:lnTo>
                        <a:pt x="1604" y="1167"/>
                      </a:lnTo>
                      <a:lnTo>
                        <a:pt x="1606" y="1167"/>
                      </a:lnTo>
                      <a:lnTo>
                        <a:pt x="1606" y="1165"/>
                      </a:lnTo>
                      <a:lnTo>
                        <a:pt x="1609" y="1167"/>
                      </a:lnTo>
                      <a:lnTo>
                        <a:pt x="1609" y="1165"/>
                      </a:lnTo>
                      <a:lnTo>
                        <a:pt x="1613" y="1162"/>
                      </a:lnTo>
                      <a:lnTo>
                        <a:pt x="1615" y="1158"/>
                      </a:lnTo>
                      <a:lnTo>
                        <a:pt x="1615" y="1162"/>
                      </a:lnTo>
                      <a:lnTo>
                        <a:pt x="1618" y="1162"/>
                      </a:lnTo>
                      <a:lnTo>
                        <a:pt x="1621" y="1153"/>
                      </a:lnTo>
                      <a:lnTo>
                        <a:pt x="1623" y="1156"/>
                      </a:lnTo>
                      <a:lnTo>
                        <a:pt x="1626" y="1153"/>
                      </a:lnTo>
                      <a:lnTo>
                        <a:pt x="1629" y="1153"/>
                      </a:lnTo>
                      <a:lnTo>
                        <a:pt x="1631" y="1153"/>
                      </a:lnTo>
                      <a:lnTo>
                        <a:pt x="1634" y="1150"/>
                      </a:lnTo>
                      <a:lnTo>
                        <a:pt x="1637" y="1150"/>
                      </a:lnTo>
                      <a:lnTo>
                        <a:pt x="1639" y="1147"/>
                      </a:lnTo>
                      <a:lnTo>
                        <a:pt x="1646" y="1150"/>
                      </a:lnTo>
                      <a:lnTo>
                        <a:pt x="1648" y="1150"/>
                      </a:lnTo>
                      <a:lnTo>
                        <a:pt x="1654" y="1150"/>
                      </a:lnTo>
                      <a:lnTo>
                        <a:pt x="1656" y="1145"/>
                      </a:lnTo>
                      <a:lnTo>
                        <a:pt x="1659" y="1145"/>
                      </a:lnTo>
                      <a:lnTo>
                        <a:pt x="1664" y="1147"/>
                      </a:lnTo>
                      <a:lnTo>
                        <a:pt x="1667" y="1147"/>
                      </a:lnTo>
                      <a:lnTo>
                        <a:pt x="1673" y="1142"/>
                      </a:lnTo>
                      <a:lnTo>
                        <a:pt x="1682" y="1142"/>
                      </a:lnTo>
                      <a:lnTo>
                        <a:pt x="1687" y="1145"/>
                      </a:lnTo>
                      <a:lnTo>
                        <a:pt x="1687" y="1147"/>
                      </a:lnTo>
                      <a:lnTo>
                        <a:pt x="1692" y="1147"/>
                      </a:lnTo>
                      <a:lnTo>
                        <a:pt x="1695" y="1150"/>
                      </a:lnTo>
                      <a:lnTo>
                        <a:pt x="1700" y="1153"/>
                      </a:lnTo>
                      <a:lnTo>
                        <a:pt x="1700" y="1156"/>
                      </a:lnTo>
                      <a:lnTo>
                        <a:pt x="1700" y="1162"/>
                      </a:lnTo>
                      <a:lnTo>
                        <a:pt x="1706" y="1165"/>
                      </a:lnTo>
                      <a:lnTo>
                        <a:pt x="1717" y="1170"/>
                      </a:lnTo>
                      <a:lnTo>
                        <a:pt x="1728" y="1178"/>
                      </a:lnTo>
                      <a:lnTo>
                        <a:pt x="1731" y="1183"/>
                      </a:lnTo>
                      <a:lnTo>
                        <a:pt x="1731" y="1186"/>
                      </a:lnTo>
                      <a:lnTo>
                        <a:pt x="1733" y="1189"/>
                      </a:lnTo>
                      <a:lnTo>
                        <a:pt x="1733" y="1191"/>
                      </a:lnTo>
                      <a:lnTo>
                        <a:pt x="1733" y="1203"/>
                      </a:lnTo>
                      <a:lnTo>
                        <a:pt x="1733" y="1208"/>
                      </a:lnTo>
                      <a:lnTo>
                        <a:pt x="1739" y="1214"/>
                      </a:lnTo>
                      <a:lnTo>
                        <a:pt x="1739" y="1219"/>
                      </a:lnTo>
                      <a:lnTo>
                        <a:pt x="1736" y="1222"/>
                      </a:lnTo>
                      <a:lnTo>
                        <a:pt x="1731" y="1222"/>
                      </a:lnTo>
                      <a:lnTo>
                        <a:pt x="1728" y="1227"/>
                      </a:lnTo>
                      <a:lnTo>
                        <a:pt x="1728" y="1234"/>
                      </a:lnTo>
                      <a:lnTo>
                        <a:pt x="1720" y="1255"/>
                      </a:lnTo>
                      <a:lnTo>
                        <a:pt x="1720" y="1258"/>
                      </a:lnTo>
                      <a:lnTo>
                        <a:pt x="1720" y="1260"/>
                      </a:lnTo>
                      <a:lnTo>
                        <a:pt x="1725" y="1263"/>
                      </a:lnTo>
                      <a:lnTo>
                        <a:pt x="1731" y="1269"/>
                      </a:lnTo>
                      <a:lnTo>
                        <a:pt x="1728" y="1272"/>
                      </a:lnTo>
                      <a:lnTo>
                        <a:pt x="1723" y="1277"/>
                      </a:lnTo>
                      <a:lnTo>
                        <a:pt x="1720" y="1285"/>
                      </a:lnTo>
                      <a:lnTo>
                        <a:pt x="1723" y="1300"/>
                      </a:lnTo>
                      <a:lnTo>
                        <a:pt x="1717" y="1308"/>
                      </a:lnTo>
                      <a:lnTo>
                        <a:pt x="1711" y="1313"/>
                      </a:lnTo>
                      <a:lnTo>
                        <a:pt x="1706" y="1319"/>
                      </a:lnTo>
                      <a:lnTo>
                        <a:pt x="1700" y="1321"/>
                      </a:lnTo>
                      <a:lnTo>
                        <a:pt x="1692" y="1321"/>
                      </a:lnTo>
                      <a:lnTo>
                        <a:pt x="1687" y="1324"/>
                      </a:lnTo>
                      <a:lnTo>
                        <a:pt x="1682" y="1324"/>
                      </a:lnTo>
                      <a:lnTo>
                        <a:pt x="1670" y="1319"/>
                      </a:lnTo>
                      <a:lnTo>
                        <a:pt x="1659" y="1324"/>
                      </a:lnTo>
                      <a:lnTo>
                        <a:pt x="1654" y="1327"/>
                      </a:lnTo>
                      <a:lnTo>
                        <a:pt x="1648" y="1329"/>
                      </a:lnTo>
                      <a:lnTo>
                        <a:pt x="1639" y="1332"/>
                      </a:lnTo>
                      <a:lnTo>
                        <a:pt x="1637" y="1338"/>
                      </a:lnTo>
                      <a:lnTo>
                        <a:pt x="1634" y="1341"/>
                      </a:lnTo>
                      <a:lnTo>
                        <a:pt x="1631" y="1346"/>
                      </a:lnTo>
                      <a:lnTo>
                        <a:pt x="1629" y="1344"/>
                      </a:lnTo>
                      <a:lnTo>
                        <a:pt x="1626" y="1344"/>
                      </a:lnTo>
                      <a:lnTo>
                        <a:pt x="1623" y="1344"/>
                      </a:lnTo>
                      <a:lnTo>
                        <a:pt x="1618" y="1344"/>
                      </a:lnTo>
                      <a:lnTo>
                        <a:pt x="1609" y="1341"/>
                      </a:lnTo>
                      <a:lnTo>
                        <a:pt x="1609" y="1344"/>
                      </a:lnTo>
                      <a:lnTo>
                        <a:pt x="1609" y="1346"/>
                      </a:lnTo>
                      <a:lnTo>
                        <a:pt x="1606" y="1346"/>
                      </a:lnTo>
                      <a:lnTo>
                        <a:pt x="1609" y="1352"/>
                      </a:lnTo>
                      <a:lnTo>
                        <a:pt x="1604" y="1355"/>
                      </a:lnTo>
                      <a:lnTo>
                        <a:pt x="1601" y="1352"/>
                      </a:lnTo>
                      <a:lnTo>
                        <a:pt x="1604" y="1360"/>
                      </a:lnTo>
                      <a:lnTo>
                        <a:pt x="1604" y="1363"/>
                      </a:lnTo>
                      <a:lnTo>
                        <a:pt x="1604" y="1365"/>
                      </a:lnTo>
                      <a:lnTo>
                        <a:pt x="1601" y="1372"/>
                      </a:lnTo>
                      <a:lnTo>
                        <a:pt x="1604" y="1374"/>
                      </a:lnTo>
                      <a:lnTo>
                        <a:pt x="1596" y="1382"/>
                      </a:lnTo>
                      <a:lnTo>
                        <a:pt x="1593" y="1385"/>
                      </a:lnTo>
                      <a:lnTo>
                        <a:pt x="1590" y="1380"/>
                      </a:lnTo>
                      <a:lnTo>
                        <a:pt x="1587" y="1382"/>
                      </a:lnTo>
                      <a:lnTo>
                        <a:pt x="1587" y="1385"/>
                      </a:lnTo>
                      <a:lnTo>
                        <a:pt x="1582" y="1385"/>
                      </a:lnTo>
                      <a:lnTo>
                        <a:pt x="1582" y="1390"/>
                      </a:lnTo>
                      <a:lnTo>
                        <a:pt x="1585" y="1396"/>
                      </a:lnTo>
                      <a:lnTo>
                        <a:pt x="1582" y="1396"/>
                      </a:lnTo>
                      <a:lnTo>
                        <a:pt x="1585" y="1398"/>
                      </a:lnTo>
                      <a:lnTo>
                        <a:pt x="1582" y="1401"/>
                      </a:lnTo>
                      <a:lnTo>
                        <a:pt x="1585" y="1405"/>
                      </a:lnTo>
                      <a:lnTo>
                        <a:pt x="1582" y="1407"/>
                      </a:lnTo>
                      <a:lnTo>
                        <a:pt x="1585" y="1410"/>
                      </a:lnTo>
                      <a:lnTo>
                        <a:pt x="1582" y="1410"/>
                      </a:lnTo>
                      <a:lnTo>
                        <a:pt x="1582" y="1413"/>
                      </a:lnTo>
                      <a:lnTo>
                        <a:pt x="1579" y="1415"/>
                      </a:lnTo>
                      <a:lnTo>
                        <a:pt x="1579" y="1418"/>
                      </a:lnTo>
                      <a:lnTo>
                        <a:pt x="1577" y="1421"/>
                      </a:lnTo>
                      <a:lnTo>
                        <a:pt x="1573" y="1418"/>
                      </a:lnTo>
                      <a:lnTo>
                        <a:pt x="1573" y="1421"/>
                      </a:lnTo>
                      <a:lnTo>
                        <a:pt x="1570" y="1421"/>
                      </a:lnTo>
                      <a:lnTo>
                        <a:pt x="1573" y="1424"/>
                      </a:lnTo>
                      <a:lnTo>
                        <a:pt x="1570" y="1424"/>
                      </a:lnTo>
                      <a:lnTo>
                        <a:pt x="1570" y="1426"/>
                      </a:lnTo>
                      <a:lnTo>
                        <a:pt x="1568" y="1424"/>
                      </a:lnTo>
                      <a:lnTo>
                        <a:pt x="1568" y="1426"/>
                      </a:lnTo>
                      <a:lnTo>
                        <a:pt x="1565" y="1426"/>
                      </a:lnTo>
                      <a:lnTo>
                        <a:pt x="1565" y="1424"/>
                      </a:lnTo>
                      <a:lnTo>
                        <a:pt x="1565" y="1429"/>
                      </a:lnTo>
                      <a:lnTo>
                        <a:pt x="1562" y="1426"/>
                      </a:lnTo>
                      <a:lnTo>
                        <a:pt x="1562" y="1429"/>
                      </a:lnTo>
                      <a:lnTo>
                        <a:pt x="1562" y="1432"/>
                      </a:lnTo>
                      <a:lnTo>
                        <a:pt x="1562" y="1434"/>
                      </a:lnTo>
                      <a:lnTo>
                        <a:pt x="1560" y="1434"/>
                      </a:lnTo>
                      <a:lnTo>
                        <a:pt x="1557" y="1432"/>
                      </a:lnTo>
                      <a:lnTo>
                        <a:pt x="1557" y="1434"/>
                      </a:lnTo>
                      <a:lnTo>
                        <a:pt x="1554" y="1434"/>
                      </a:lnTo>
                      <a:lnTo>
                        <a:pt x="1557" y="1434"/>
                      </a:lnTo>
                      <a:lnTo>
                        <a:pt x="1557" y="1437"/>
                      </a:lnTo>
                      <a:lnTo>
                        <a:pt x="1560" y="1434"/>
                      </a:lnTo>
                      <a:lnTo>
                        <a:pt x="1562" y="1437"/>
                      </a:lnTo>
                      <a:lnTo>
                        <a:pt x="1562" y="1441"/>
                      </a:lnTo>
                      <a:lnTo>
                        <a:pt x="1560" y="1441"/>
                      </a:lnTo>
                      <a:lnTo>
                        <a:pt x="1562" y="1443"/>
                      </a:lnTo>
                      <a:lnTo>
                        <a:pt x="1560" y="1443"/>
                      </a:lnTo>
                      <a:lnTo>
                        <a:pt x="1560" y="1446"/>
                      </a:lnTo>
                      <a:lnTo>
                        <a:pt x="1557" y="1446"/>
                      </a:lnTo>
                      <a:lnTo>
                        <a:pt x="1557" y="1449"/>
                      </a:lnTo>
                      <a:lnTo>
                        <a:pt x="1554" y="1451"/>
                      </a:lnTo>
                      <a:lnTo>
                        <a:pt x="1557" y="1454"/>
                      </a:lnTo>
                      <a:lnTo>
                        <a:pt x="1554" y="1457"/>
                      </a:lnTo>
                      <a:lnTo>
                        <a:pt x="1560" y="1459"/>
                      </a:lnTo>
                      <a:lnTo>
                        <a:pt x="1562" y="1459"/>
                      </a:lnTo>
                      <a:lnTo>
                        <a:pt x="1560" y="1462"/>
                      </a:lnTo>
                      <a:lnTo>
                        <a:pt x="1565" y="1462"/>
                      </a:lnTo>
                      <a:lnTo>
                        <a:pt x="1562" y="1465"/>
                      </a:lnTo>
                      <a:lnTo>
                        <a:pt x="1565" y="1467"/>
                      </a:lnTo>
                      <a:lnTo>
                        <a:pt x="1568" y="1474"/>
                      </a:lnTo>
                      <a:lnTo>
                        <a:pt x="1565" y="1476"/>
                      </a:lnTo>
                      <a:lnTo>
                        <a:pt x="1562" y="1476"/>
                      </a:lnTo>
                      <a:lnTo>
                        <a:pt x="1557" y="1482"/>
                      </a:lnTo>
                      <a:lnTo>
                        <a:pt x="1557" y="1490"/>
                      </a:lnTo>
                      <a:lnTo>
                        <a:pt x="1554" y="1490"/>
                      </a:lnTo>
                      <a:lnTo>
                        <a:pt x="1552" y="1490"/>
                      </a:lnTo>
                      <a:lnTo>
                        <a:pt x="1549" y="1490"/>
                      </a:lnTo>
                      <a:lnTo>
                        <a:pt x="1552" y="1498"/>
                      </a:lnTo>
                      <a:lnTo>
                        <a:pt x="1554" y="1501"/>
                      </a:lnTo>
                      <a:lnTo>
                        <a:pt x="1554" y="1506"/>
                      </a:lnTo>
                      <a:lnTo>
                        <a:pt x="1557" y="1506"/>
                      </a:lnTo>
                      <a:lnTo>
                        <a:pt x="1557" y="1510"/>
                      </a:lnTo>
                      <a:lnTo>
                        <a:pt x="1560" y="1510"/>
                      </a:lnTo>
                      <a:lnTo>
                        <a:pt x="1562" y="1518"/>
                      </a:lnTo>
                      <a:lnTo>
                        <a:pt x="1560" y="1520"/>
                      </a:lnTo>
                      <a:lnTo>
                        <a:pt x="1560" y="1528"/>
                      </a:lnTo>
                      <a:lnTo>
                        <a:pt x="1557" y="1531"/>
                      </a:lnTo>
                      <a:lnTo>
                        <a:pt x="1560" y="1534"/>
                      </a:lnTo>
                      <a:lnTo>
                        <a:pt x="1557" y="1536"/>
                      </a:lnTo>
                      <a:lnTo>
                        <a:pt x="1554" y="1536"/>
                      </a:lnTo>
                      <a:lnTo>
                        <a:pt x="1554" y="1539"/>
                      </a:lnTo>
                      <a:lnTo>
                        <a:pt x="1557" y="1542"/>
                      </a:lnTo>
                      <a:lnTo>
                        <a:pt x="1554" y="1545"/>
                      </a:lnTo>
                      <a:lnTo>
                        <a:pt x="1546" y="1545"/>
                      </a:lnTo>
                      <a:lnTo>
                        <a:pt x="1540" y="1551"/>
                      </a:lnTo>
                      <a:lnTo>
                        <a:pt x="1537" y="1553"/>
                      </a:lnTo>
                      <a:lnTo>
                        <a:pt x="1535" y="1551"/>
                      </a:lnTo>
                      <a:lnTo>
                        <a:pt x="1532" y="1551"/>
                      </a:lnTo>
                      <a:lnTo>
                        <a:pt x="1529" y="1551"/>
                      </a:lnTo>
                      <a:lnTo>
                        <a:pt x="1524" y="1553"/>
                      </a:lnTo>
                      <a:lnTo>
                        <a:pt x="1527" y="1559"/>
                      </a:lnTo>
                      <a:lnTo>
                        <a:pt x="1527" y="1561"/>
                      </a:lnTo>
                      <a:lnTo>
                        <a:pt x="1529" y="1564"/>
                      </a:lnTo>
                      <a:lnTo>
                        <a:pt x="1532" y="1564"/>
                      </a:lnTo>
                      <a:lnTo>
                        <a:pt x="1535" y="1570"/>
                      </a:lnTo>
                      <a:lnTo>
                        <a:pt x="1529" y="1572"/>
                      </a:lnTo>
                      <a:lnTo>
                        <a:pt x="1529" y="1575"/>
                      </a:lnTo>
                      <a:lnTo>
                        <a:pt x="1524" y="1579"/>
                      </a:lnTo>
                      <a:lnTo>
                        <a:pt x="1524" y="1581"/>
                      </a:lnTo>
                      <a:lnTo>
                        <a:pt x="1518" y="1584"/>
                      </a:lnTo>
                      <a:lnTo>
                        <a:pt x="1516" y="1584"/>
                      </a:lnTo>
                      <a:lnTo>
                        <a:pt x="1513" y="1587"/>
                      </a:lnTo>
                      <a:lnTo>
                        <a:pt x="1516" y="1592"/>
                      </a:lnTo>
                      <a:lnTo>
                        <a:pt x="1516" y="1595"/>
                      </a:lnTo>
                      <a:lnTo>
                        <a:pt x="1513" y="1597"/>
                      </a:lnTo>
                      <a:lnTo>
                        <a:pt x="1513" y="1600"/>
                      </a:lnTo>
                      <a:lnTo>
                        <a:pt x="1508" y="1600"/>
                      </a:lnTo>
                      <a:lnTo>
                        <a:pt x="1508" y="1597"/>
                      </a:lnTo>
                      <a:lnTo>
                        <a:pt x="1508" y="1600"/>
                      </a:lnTo>
                      <a:lnTo>
                        <a:pt x="1504" y="1605"/>
                      </a:lnTo>
                      <a:lnTo>
                        <a:pt x="1504" y="1608"/>
                      </a:lnTo>
                      <a:lnTo>
                        <a:pt x="1496" y="1608"/>
                      </a:lnTo>
                      <a:lnTo>
                        <a:pt x="1493" y="1611"/>
                      </a:lnTo>
                      <a:lnTo>
                        <a:pt x="1499" y="1614"/>
                      </a:lnTo>
                      <a:lnTo>
                        <a:pt x="1501" y="1611"/>
                      </a:lnTo>
                      <a:lnTo>
                        <a:pt x="1501" y="1614"/>
                      </a:lnTo>
                      <a:lnTo>
                        <a:pt x="1504" y="1614"/>
                      </a:lnTo>
                      <a:lnTo>
                        <a:pt x="1504" y="1617"/>
                      </a:lnTo>
                      <a:lnTo>
                        <a:pt x="1499" y="1620"/>
                      </a:lnTo>
                      <a:lnTo>
                        <a:pt x="1499" y="1622"/>
                      </a:lnTo>
                      <a:lnTo>
                        <a:pt x="1499" y="1625"/>
                      </a:lnTo>
                      <a:lnTo>
                        <a:pt x="1496" y="1625"/>
                      </a:lnTo>
                      <a:lnTo>
                        <a:pt x="1499" y="1628"/>
                      </a:lnTo>
                      <a:lnTo>
                        <a:pt x="1493" y="1628"/>
                      </a:lnTo>
                      <a:lnTo>
                        <a:pt x="1493" y="1630"/>
                      </a:lnTo>
                      <a:lnTo>
                        <a:pt x="1501" y="1636"/>
                      </a:lnTo>
                      <a:lnTo>
                        <a:pt x="1501" y="1633"/>
                      </a:lnTo>
                      <a:lnTo>
                        <a:pt x="1508" y="1633"/>
                      </a:lnTo>
                      <a:lnTo>
                        <a:pt x="1513" y="1636"/>
                      </a:lnTo>
                      <a:lnTo>
                        <a:pt x="1518" y="1633"/>
                      </a:lnTo>
                      <a:lnTo>
                        <a:pt x="1516" y="1639"/>
                      </a:lnTo>
                      <a:lnTo>
                        <a:pt x="1518" y="1639"/>
                      </a:lnTo>
                      <a:lnTo>
                        <a:pt x="1521" y="1639"/>
                      </a:lnTo>
                      <a:lnTo>
                        <a:pt x="1521" y="1636"/>
                      </a:lnTo>
                      <a:lnTo>
                        <a:pt x="1527" y="1636"/>
                      </a:lnTo>
                      <a:lnTo>
                        <a:pt x="1532" y="1639"/>
                      </a:lnTo>
                      <a:lnTo>
                        <a:pt x="1546" y="1633"/>
                      </a:lnTo>
                      <a:lnTo>
                        <a:pt x="1554" y="1633"/>
                      </a:lnTo>
                      <a:lnTo>
                        <a:pt x="1557" y="1639"/>
                      </a:lnTo>
                      <a:lnTo>
                        <a:pt x="1554" y="1641"/>
                      </a:lnTo>
                      <a:lnTo>
                        <a:pt x="1552" y="1641"/>
                      </a:lnTo>
                      <a:lnTo>
                        <a:pt x="1549" y="1641"/>
                      </a:lnTo>
                      <a:lnTo>
                        <a:pt x="1552" y="1644"/>
                      </a:lnTo>
                      <a:lnTo>
                        <a:pt x="1549" y="1644"/>
                      </a:lnTo>
                      <a:lnTo>
                        <a:pt x="1552" y="1647"/>
                      </a:lnTo>
                      <a:lnTo>
                        <a:pt x="1549" y="1650"/>
                      </a:lnTo>
                      <a:lnTo>
                        <a:pt x="1552" y="1656"/>
                      </a:lnTo>
                      <a:lnTo>
                        <a:pt x="1549" y="1656"/>
                      </a:lnTo>
                      <a:lnTo>
                        <a:pt x="1552" y="1661"/>
                      </a:lnTo>
                      <a:lnTo>
                        <a:pt x="1554" y="1661"/>
                      </a:lnTo>
                      <a:lnTo>
                        <a:pt x="1560" y="1661"/>
                      </a:lnTo>
                      <a:lnTo>
                        <a:pt x="1562" y="1658"/>
                      </a:lnTo>
                      <a:lnTo>
                        <a:pt x="1565" y="1656"/>
                      </a:lnTo>
                      <a:lnTo>
                        <a:pt x="1565" y="1658"/>
                      </a:lnTo>
                      <a:lnTo>
                        <a:pt x="1565" y="1664"/>
                      </a:lnTo>
                      <a:lnTo>
                        <a:pt x="1568" y="1664"/>
                      </a:lnTo>
                      <a:lnTo>
                        <a:pt x="1579" y="1666"/>
                      </a:lnTo>
                      <a:lnTo>
                        <a:pt x="1582" y="1669"/>
                      </a:lnTo>
                      <a:lnTo>
                        <a:pt x="1585" y="1674"/>
                      </a:lnTo>
                      <a:lnTo>
                        <a:pt x="1582" y="1682"/>
                      </a:lnTo>
                      <a:lnTo>
                        <a:pt x="1582" y="1686"/>
                      </a:lnTo>
                      <a:lnTo>
                        <a:pt x="1587" y="1689"/>
                      </a:lnTo>
                      <a:lnTo>
                        <a:pt x="1593" y="1686"/>
                      </a:lnTo>
                      <a:lnTo>
                        <a:pt x="1593" y="1689"/>
                      </a:lnTo>
                      <a:lnTo>
                        <a:pt x="1596" y="1694"/>
                      </a:lnTo>
                      <a:lnTo>
                        <a:pt x="1593" y="1699"/>
                      </a:lnTo>
                      <a:lnTo>
                        <a:pt x="1590" y="1705"/>
                      </a:lnTo>
                      <a:lnTo>
                        <a:pt x="1596" y="1713"/>
                      </a:lnTo>
                      <a:lnTo>
                        <a:pt x="1593" y="1716"/>
                      </a:lnTo>
                      <a:lnTo>
                        <a:pt x="1590" y="1719"/>
                      </a:lnTo>
                      <a:lnTo>
                        <a:pt x="1590" y="1722"/>
                      </a:lnTo>
                      <a:lnTo>
                        <a:pt x="1585" y="1725"/>
                      </a:lnTo>
                      <a:lnTo>
                        <a:pt x="1585" y="1727"/>
                      </a:lnTo>
                      <a:lnTo>
                        <a:pt x="1585" y="1730"/>
                      </a:lnTo>
                      <a:lnTo>
                        <a:pt x="1587" y="1735"/>
                      </a:lnTo>
                      <a:lnTo>
                        <a:pt x="1596" y="1733"/>
                      </a:lnTo>
                      <a:lnTo>
                        <a:pt x="1598" y="1733"/>
                      </a:lnTo>
                      <a:lnTo>
                        <a:pt x="1598" y="1738"/>
                      </a:lnTo>
                      <a:lnTo>
                        <a:pt x="1604" y="1746"/>
                      </a:lnTo>
                      <a:lnTo>
                        <a:pt x="1609" y="1751"/>
                      </a:lnTo>
                      <a:lnTo>
                        <a:pt x="1613" y="1755"/>
                      </a:lnTo>
                      <a:lnTo>
                        <a:pt x="1615" y="1758"/>
                      </a:lnTo>
                      <a:lnTo>
                        <a:pt x="1621" y="1766"/>
                      </a:lnTo>
                      <a:lnTo>
                        <a:pt x="1618" y="1774"/>
                      </a:lnTo>
                      <a:lnTo>
                        <a:pt x="1618" y="1777"/>
                      </a:lnTo>
                      <a:lnTo>
                        <a:pt x="1626" y="1779"/>
                      </a:lnTo>
                      <a:lnTo>
                        <a:pt x="1626" y="1777"/>
                      </a:lnTo>
                      <a:lnTo>
                        <a:pt x="1629" y="1774"/>
                      </a:lnTo>
                      <a:lnTo>
                        <a:pt x="1634" y="1771"/>
                      </a:lnTo>
                      <a:lnTo>
                        <a:pt x="1646" y="1771"/>
                      </a:lnTo>
                      <a:lnTo>
                        <a:pt x="1654" y="1769"/>
                      </a:lnTo>
                      <a:lnTo>
                        <a:pt x="1656" y="1769"/>
                      </a:lnTo>
                      <a:lnTo>
                        <a:pt x="1662" y="1774"/>
                      </a:lnTo>
                      <a:lnTo>
                        <a:pt x="1670" y="1777"/>
                      </a:lnTo>
                      <a:lnTo>
                        <a:pt x="1667" y="1779"/>
                      </a:lnTo>
                      <a:lnTo>
                        <a:pt x="1664" y="1785"/>
                      </a:lnTo>
                      <a:lnTo>
                        <a:pt x="1664" y="1791"/>
                      </a:lnTo>
                      <a:lnTo>
                        <a:pt x="1667" y="1794"/>
                      </a:lnTo>
                      <a:lnTo>
                        <a:pt x="1673" y="1799"/>
                      </a:lnTo>
                      <a:lnTo>
                        <a:pt x="1678" y="1799"/>
                      </a:lnTo>
                      <a:lnTo>
                        <a:pt x="1684" y="1802"/>
                      </a:lnTo>
                      <a:lnTo>
                        <a:pt x="1687" y="1807"/>
                      </a:lnTo>
                      <a:lnTo>
                        <a:pt x="1695" y="1804"/>
                      </a:lnTo>
                      <a:lnTo>
                        <a:pt x="1700" y="1807"/>
                      </a:lnTo>
                      <a:lnTo>
                        <a:pt x="1700" y="1812"/>
                      </a:lnTo>
                      <a:lnTo>
                        <a:pt x="1695" y="1818"/>
                      </a:lnTo>
                      <a:lnTo>
                        <a:pt x="1695" y="1820"/>
                      </a:lnTo>
                      <a:lnTo>
                        <a:pt x="1700" y="1829"/>
                      </a:lnTo>
                      <a:lnTo>
                        <a:pt x="1700" y="1832"/>
                      </a:lnTo>
                      <a:lnTo>
                        <a:pt x="1708" y="1835"/>
                      </a:lnTo>
                      <a:lnTo>
                        <a:pt x="1708" y="1838"/>
                      </a:lnTo>
                      <a:lnTo>
                        <a:pt x="1692" y="1848"/>
                      </a:lnTo>
                      <a:lnTo>
                        <a:pt x="1687" y="1851"/>
                      </a:lnTo>
                      <a:lnTo>
                        <a:pt x="1687" y="1860"/>
                      </a:lnTo>
                      <a:lnTo>
                        <a:pt x="1682" y="1868"/>
                      </a:lnTo>
                      <a:lnTo>
                        <a:pt x="1682" y="1879"/>
                      </a:lnTo>
                      <a:lnTo>
                        <a:pt x="1678" y="1884"/>
                      </a:lnTo>
                      <a:lnTo>
                        <a:pt x="1662" y="1896"/>
                      </a:lnTo>
                      <a:lnTo>
                        <a:pt x="1664" y="1906"/>
                      </a:lnTo>
                      <a:lnTo>
                        <a:pt x="1664" y="1912"/>
                      </a:lnTo>
                      <a:lnTo>
                        <a:pt x="1667" y="1915"/>
                      </a:lnTo>
                      <a:lnTo>
                        <a:pt x="1667" y="1917"/>
                      </a:lnTo>
                      <a:lnTo>
                        <a:pt x="1673" y="1917"/>
                      </a:lnTo>
                      <a:lnTo>
                        <a:pt x="1687" y="1917"/>
                      </a:lnTo>
                      <a:lnTo>
                        <a:pt x="1695" y="1923"/>
                      </a:lnTo>
                      <a:lnTo>
                        <a:pt x="1698" y="1929"/>
                      </a:lnTo>
                      <a:lnTo>
                        <a:pt x="1695" y="1932"/>
                      </a:lnTo>
                      <a:lnTo>
                        <a:pt x="1692" y="1940"/>
                      </a:lnTo>
                      <a:lnTo>
                        <a:pt x="1692" y="1942"/>
                      </a:lnTo>
                      <a:lnTo>
                        <a:pt x="1700" y="1945"/>
                      </a:lnTo>
                      <a:lnTo>
                        <a:pt x="1708" y="1945"/>
                      </a:lnTo>
                      <a:lnTo>
                        <a:pt x="1720" y="1940"/>
                      </a:lnTo>
                      <a:lnTo>
                        <a:pt x="1723" y="1945"/>
                      </a:lnTo>
                      <a:lnTo>
                        <a:pt x="1728" y="1950"/>
                      </a:lnTo>
                      <a:lnTo>
                        <a:pt x="1725" y="1958"/>
                      </a:lnTo>
                      <a:lnTo>
                        <a:pt x="1728" y="1958"/>
                      </a:lnTo>
                      <a:lnTo>
                        <a:pt x="1733" y="1965"/>
                      </a:lnTo>
                      <a:lnTo>
                        <a:pt x="1728" y="1967"/>
                      </a:lnTo>
                      <a:lnTo>
                        <a:pt x="1728" y="1970"/>
                      </a:lnTo>
                      <a:lnTo>
                        <a:pt x="1736" y="1973"/>
                      </a:lnTo>
                      <a:lnTo>
                        <a:pt x="1736" y="1981"/>
                      </a:lnTo>
                      <a:lnTo>
                        <a:pt x="1733" y="1984"/>
                      </a:lnTo>
                      <a:lnTo>
                        <a:pt x="1733" y="1992"/>
                      </a:lnTo>
                      <a:lnTo>
                        <a:pt x="1739" y="1998"/>
                      </a:lnTo>
                      <a:lnTo>
                        <a:pt x="1733" y="2003"/>
                      </a:lnTo>
                      <a:lnTo>
                        <a:pt x="1736" y="2014"/>
                      </a:lnTo>
                      <a:lnTo>
                        <a:pt x="1733" y="2019"/>
                      </a:lnTo>
                      <a:lnTo>
                        <a:pt x="1742" y="2030"/>
                      </a:lnTo>
                      <a:lnTo>
                        <a:pt x="1742" y="2044"/>
                      </a:lnTo>
                      <a:lnTo>
                        <a:pt x="1744" y="2047"/>
                      </a:lnTo>
                      <a:lnTo>
                        <a:pt x="1747" y="2055"/>
                      </a:lnTo>
                      <a:lnTo>
                        <a:pt x="1756" y="2058"/>
                      </a:lnTo>
                      <a:lnTo>
                        <a:pt x="1759" y="2058"/>
                      </a:lnTo>
                      <a:lnTo>
                        <a:pt x="1772" y="2075"/>
                      </a:lnTo>
                      <a:lnTo>
                        <a:pt x="1777" y="2094"/>
                      </a:lnTo>
                      <a:lnTo>
                        <a:pt x="1786" y="2096"/>
                      </a:lnTo>
                      <a:lnTo>
                        <a:pt x="1794" y="2103"/>
                      </a:lnTo>
                      <a:lnTo>
                        <a:pt x="1800" y="2096"/>
                      </a:lnTo>
                      <a:lnTo>
                        <a:pt x="1805" y="2099"/>
                      </a:lnTo>
                      <a:lnTo>
                        <a:pt x="1817" y="2099"/>
                      </a:lnTo>
                      <a:lnTo>
                        <a:pt x="1830" y="2096"/>
                      </a:lnTo>
                      <a:lnTo>
                        <a:pt x="1841" y="2094"/>
                      </a:lnTo>
                      <a:lnTo>
                        <a:pt x="1846" y="2096"/>
                      </a:lnTo>
                      <a:lnTo>
                        <a:pt x="1849" y="2099"/>
                      </a:lnTo>
                      <a:lnTo>
                        <a:pt x="1853" y="2103"/>
                      </a:lnTo>
                      <a:lnTo>
                        <a:pt x="1861" y="2113"/>
                      </a:lnTo>
                      <a:lnTo>
                        <a:pt x="1872" y="2111"/>
                      </a:lnTo>
                      <a:lnTo>
                        <a:pt x="1889" y="2113"/>
                      </a:lnTo>
                      <a:lnTo>
                        <a:pt x="1907" y="2099"/>
                      </a:lnTo>
                      <a:lnTo>
                        <a:pt x="1913" y="2096"/>
                      </a:lnTo>
                      <a:lnTo>
                        <a:pt x="1915" y="2096"/>
                      </a:lnTo>
                      <a:lnTo>
                        <a:pt x="1918" y="2099"/>
                      </a:lnTo>
                      <a:lnTo>
                        <a:pt x="1922" y="2124"/>
                      </a:lnTo>
                      <a:lnTo>
                        <a:pt x="1927" y="2132"/>
                      </a:lnTo>
                      <a:lnTo>
                        <a:pt x="1930" y="2130"/>
                      </a:lnTo>
                      <a:lnTo>
                        <a:pt x="1938" y="2127"/>
                      </a:lnTo>
                      <a:lnTo>
                        <a:pt x="1949" y="2132"/>
                      </a:lnTo>
                      <a:lnTo>
                        <a:pt x="1958" y="2130"/>
                      </a:lnTo>
                      <a:lnTo>
                        <a:pt x="1976" y="2124"/>
                      </a:lnTo>
                      <a:lnTo>
                        <a:pt x="1993" y="2132"/>
                      </a:lnTo>
                      <a:lnTo>
                        <a:pt x="2012" y="2135"/>
                      </a:lnTo>
                      <a:lnTo>
                        <a:pt x="2032" y="2124"/>
                      </a:lnTo>
                      <a:lnTo>
                        <a:pt x="2037" y="2119"/>
                      </a:lnTo>
                      <a:lnTo>
                        <a:pt x="2040" y="2111"/>
                      </a:lnTo>
                      <a:lnTo>
                        <a:pt x="2037" y="2103"/>
                      </a:lnTo>
                      <a:lnTo>
                        <a:pt x="2035" y="2096"/>
                      </a:lnTo>
                      <a:lnTo>
                        <a:pt x="2040" y="2088"/>
                      </a:lnTo>
                      <a:lnTo>
                        <a:pt x="2043" y="2094"/>
                      </a:lnTo>
                      <a:lnTo>
                        <a:pt x="2051" y="2094"/>
                      </a:lnTo>
                      <a:lnTo>
                        <a:pt x="2051" y="2099"/>
                      </a:lnTo>
                      <a:lnTo>
                        <a:pt x="2048" y="2103"/>
                      </a:lnTo>
                      <a:lnTo>
                        <a:pt x="2051" y="2113"/>
                      </a:lnTo>
                      <a:lnTo>
                        <a:pt x="2051" y="2124"/>
                      </a:lnTo>
                      <a:lnTo>
                        <a:pt x="2051" y="2132"/>
                      </a:lnTo>
                      <a:lnTo>
                        <a:pt x="2051" y="2135"/>
                      </a:lnTo>
                      <a:lnTo>
                        <a:pt x="2048" y="2139"/>
                      </a:lnTo>
                      <a:lnTo>
                        <a:pt x="2045" y="2144"/>
                      </a:lnTo>
                      <a:lnTo>
                        <a:pt x="2040" y="2157"/>
                      </a:lnTo>
                      <a:lnTo>
                        <a:pt x="2035" y="2168"/>
                      </a:lnTo>
                      <a:lnTo>
                        <a:pt x="2029" y="2172"/>
                      </a:lnTo>
                      <a:lnTo>
                        <a:pt x="2012" y="2172"/>
                      </a:lnTo>
                      <a:lnTo>
                        <a:pt x="2007" y="2174"/>
                      </a:lnTo>
                      <a:lnTo>
                        <a:pt x="2001" y="2177"/>
                      </a:lnTo>
                      <a:lnTo>
                        <a:pt x="1999" y="2177"/>
                      </a:lnTo>
                      <a:lnTo>
                        <a:pt x="1999" y="2180"/>
                      </a:lnTo>
                      <a:lnTo>
                        <a:pt x="1999" y="2182"/>
                      </a:lnTo>
                      <a:lnTo>
                        <a:pt x="1996" y="2188"/>
                      </a:lnTo>
                      <a:lnTo>
                        <a:pt x="2001" y="2196"/>
                      </a:lnTo>
                      <a:lnTo>
                        <a:pt x="1999" y="2208"/>
                      </a:lnTo>
                      <a:lnTo>
                        <a:pt x="1996" y="2208"/>
                      </a:lnTo>
                      <a:lnTo>
                        <a:pt x="1982" y="2208"/>
                      </a:lnTo>
                      <a:lnTo>
                        <a:pt x="1974" y="2213"/>
                      </a:lnTo>
                      <a:lnTo>
                        <a:pt x="1968" y="2218"/>
                      </a:lnTo>
                      <a:lnTo>
                        <a:pt x="1966" y="2224"/>
                      </a:lnTo>
                      <a:lnTo>
                        <a:pt x="1949" y="2234"/>
                      </a:lnTo>
                      <a:lnTo>
                        <a:pt x="1943" y="2237"/>
                      </a:lnTo>
                      <a:lnTo>
                        <a:pt x="1941" y="2246"/>
                      </a:lnTo>
                      <a:lnTo>
                        <a:pt x="1935" y="2246"/>
                      </a:lnTo>
                      <a:lnTo>
                        <a:pt x="1930" y="2249"/>
                      </a:lnTo>
                      <a:lnTo>
                        <a:pt x="1922" y="2249"/>
                      </a:lnTo>
                      <a:lnTo>
                        <a:pt x="1918" y="2251"/>
                      </a:lnTo>
                      <a:lnTo>
                        <a:pt x="1915" y="2262"/>
                      </a:lnTo>
                      <a:lnTo>
                        <a:pt x="1905" y="2265"/>
                      </a:lnTo>
                      <a:lnTo>
                        <a:pt x="1905" y="2273"/>
                      </a:lnTo>
                      <a:lnTo>
                        <a:pt x="1902" y="2277"/>
                      </a:lnTo>
                      <a:lnTo>
                        <a:pt x="1897" y="2279"/>
                      </a:lnTo>
                      <a:lnTo>
                        <a:pt x="1889" y="2277"/>
                      </a:lnTo>
                      <a:lnTo>
                        <a:pt x="1880" y="2285"/>
                      </a:lnTo>
                      <a:lnTo>
                        <a:pt x="1872" y="2285"/>
                      </a:lnTo>
                      <a:lnTo>
                        <a:pt x="1863" y="2287"/>
                      </a:lnTo>
                      <a:lnTo>
                        <a:pt x="1861" y="2285"/>
                      </a:lnTo>
                      <a:lnTo>
                        <a:pt x="1853" y="2287"/>
                      </a:lnTo>
                      <a:lnTo>
                        <a:pt x="1853" y="2290"/>
                      </a:lnTo>
                      <a:lnTo>
                        <a:pt x="1846" y="2293"/>
                      </a:lnTo>
                      <a:lnTo>
                        <a:pt x="1841" y="2295"/>
                      </a:lnTo>
                      <a:lnTo>
                        <a:pt x="1841" y="2298"/>
                      </a:lnTo>
                      <a:lnTo>
                        <a:pt x="1844" y="2301"/>
                      </a:lnTo>
                      <a:lnTo>
                        <a:pt x="1849" y="2309"/>
                      </a:lnTo>
                      <a:lnTo>
                        <a:pt x="1853" y="2312"/>
                      </a:lnTo>
                      <a:lnTo>
                        <a:pt x="1853" y="2315"/>
                      </a:lnTo>
                      <a:lnTo>
                        <a:pt x="1849" y="2326"/>
                      </a:lnTo>
                      <a:lnTo>
                        <a:pt x="1841" y="2331"/>
                      </a:lnTo>
                      <a:lnTo>
                        <a:pt x="1825" y="2342"/>
                      </a:lnTo>
                      <a:lnTo>
                        <a:pt x="1828" y="2342"/>
                      </a:lnTo>
                      <a:lnTo>
                        <a:pt x="1836" y="2345"/>
                      </a:lnTo>
                      <a:lnTo>
                        <a:pt x="1836" y="2356"/>
                      </a:lnTo>
                      <a:lnTo>
                        <a:pt x="1833" y="2362"/>
                      </a:lnTo>
                      <a:lnTo>
                        <a:pt x="1828" y="2364"/>
                      </a:lnTo>
                      <a:lnTo>
                        <a:pt x="1817" y="2370"/>
                      </a:lnTo>
                      <a:lnTo>
                        <a:pt x="1813" y="2372"/>
                      </a:lnTo>
                      <a:lnTo>
                        <a:pt x="1811" y="2378"/>
                      </a:lnTo>
                      <a:lnTo>
                        <a:pt x="1808" y="2387"/>
                      </a:lnTo>
                      <a:lnTo>
                        <a:pt x="1808" y="2389"/>
                      </a:lnTo>
                      <a:lnTo>
                        <a:pt x="1813" y="2400"/>
                      </a:lnTo>
                      <a:lnTo>
                        <a:pt x="1813" y="2403"/>
                      </a:lnTo>
                      <a:lnTo>
                        <a:pt x="1800" y="2411"/>
                      </a:lnTo>
                      <a:lnTo>
                        <a:pt x="1794" y="2420"/>
                      </a:lnTo>
                      <a:lnTo>
                        <a:pt x="1780" y="2428"/>
                      </a:lnTo>
                      <a:lnTo>
                        <a:pt x="1777" y="2431"/>
                      </a:lnTo>
                      <a:lnTo>
                        <a:pt x="1775" y="2436"/>
                      </a:lnTo>
                      <a:lnTo>
                        <a:pt x="1767" y="2441"/>
                      </a:lnTo>
                      <a:lnTo>
                        <a:pt x="1764" y="2441"/>
                      </a:lnTo>
                      <a:lnTo>
                        <a:pt x="1764" y="2449"/>
                      </a:lnTo>
                      <a:lnTo>
                        <a:pt x="1756" y="2458"/>
                      </a:lnTo>
                      <a:lnTo>
                        <a:pt x="1747" y="2480"/>
                      </a:lnTo>
                      <a:lnTo>
                        <a:pt x="1744" y="2508"/>
                      </a:lnTo>
                      <a:lnTo>
                        <a:pt x="1736" y="2522"/>
                      </a:lnTo>
                      <a:lnTo>
                        <a:pt x="1731" y="2530"/>
                      </a:lnTo>
                      <a:lnTo>
                        <a:pt x="1725" y="2530"/>
                      </a:lnTo>
                      <a:lnTo>
                        <a:pt x="1692" y="2546"/>
                      </a:lnTo>
                      <a:lnTo>
                        <a:pt x="1682" y="2549"/>
                      </a:lnTo>
                      <a:lnTo>
                        <a:pt x="1684" y="2554"/>
                      </a:lnTo>
                      <a:lnTo>
                        <a:pt x="1682" y="2563"/>
                      </a:lnTo>
                      <a:lnTo>
                        <a:pt x="1678" y="2563"/>
                      </a:lnTo>
                      <a:lnTo>
                        <a:pt x="1678" y="2569"/>
                      </a:lnTo>
                      <a:lnTo>
                        <a:pt x="1682" y="2571"/>
                      </a:lnTo>
                      <a:lnTo>
                        <a:pt x="1682" y="2577"/>
                      </a:lnTo>
                      <a:lnTo>
                        <a:pt x="1684" y="2587"/>
                      </a:lnTo>
                      <a:lnTo>
                        <a:pt x="1690" y="2596"/>
                      </a:lnTo>
                      <a:lnTo>
                        <a:pt x="1698" y="2599"/>
                      </a:lnTo>
                      <a:lnTo>
                        <a:pt x="1700" y="2599"/>
                      </a:lnTo>
                      <a:lnTo>
                        <a:pt x="1706" y="2602"/>
                      </a:lnTo>
                      <a:lnTo>
                        <a:pt x="1706" y="2613"/>
                      </a:lnTo>
                      <a:lnTo>
                        <a:pt x="1706" y="2615"/>
                      </a:lnTo>
                      <a:lnTo>
                        <a:pt x="1715" y="2621"/>
                      </a:lnTo>
                      <a:lnTo>
                        <a:pt x="1715" y="2623"/>
                      </a:lnTo>
                      <a:lnTo>
                        <a:pt x="1715" y="2638"/>
                      </a:lnTo>
                      <a:lnTo>
                        <a:pt x="1717" y="2646"/>
                      </a:lnTo>
                      <a:lnTo>
                        <a:pt x="1720" y="2648"/>
                      </a:lnTo>
                      <a:lnTo>
                        <a:pt x="1723" y="2651"/>
                      </a:lnTo>
                      <a:lnTo>
                        <a:pt x="1731" y="2654"/>
                      </a:lnTo>
                      <a:lnTo>
                        <a:pt x="1733" y="2659"/>
                      </a:lnTo>
                      <a:lnTo>
                        <a:pt x="1736" y="2659"/>
                      </a:lnTo>
                      <a:lnTo>
                        <a:pt x="1742" y="2659"/>
                      </a:lnTo>
                      <a:lnTo>
                        <a:pt x="1747" y="2659"/>
                      </a:lnTo>
                      <a:lnTo>
                        <a:pt x="1756" y="2663"/>
                      </a:lnTo>
                      <a:lnTo>
                        <a:pt x="1759" y="2668"/>
                      </a:lnTo>
                      <a:lnTo>
                        <a:pt x="1761" y="2671"/>
                      </a:lnTo>
                      <a:lnTo>
                        <a:pt x="1764" y="2671"/>
                      </a:lnTo>
                      <a:lnTo>
                        <a:pt x="1769" y="2668"/>
                      </a:lnTo>
                      <a:lnTo>
                        <a:pt x="1772" y="2668"/>
                      </a:lnTo>
                      <a:lnTo>
                        <a:pt x="1780" y="2668"/>
                      </a:lnTo>
                      <a:lnTo>
                        <a:pt x="1786" y="2671"/>
                      </a:lnTo>
                      <a:lnTo>
                        <a:pt x="1800" y="2668"/>
                      </a:lnTo>
                      <a:lnTo>
                        <a:pt x="1811" y="2673"/>
                      </a:lnTo>
                      <a:lnTo>
                        <a:pt x="1820" y="2676"/>
                      </a:lnTo>
                      <a:lnTo>
                        <a:pt x="1822" y="2676"/>
                      </a:lnTo>
                      <a:lnTo>
                        <a:pt x="1828" y="2679"/>
                      </a:lnTo>
                      <a:lnTo>
                        <a:pt x="1833" y="2679"/>
                      </a:lnTo>
                      <a:lnTo>
                        <a:pt x="1838" y="2684"/>
                      </a:lnTo>
                      <a:lnTo>
                        <a:pt x="1838" y="2687"/>
                      </a:lnTo>
                      <a:lnTo>
                        <a:pt x="1841" y="2692"/>
                      </a:lnTo>
                      <a:lnTo>
                        <a:pt x="1846" y="2696"/>
                      </a:lnTo>
                      <a:lnTo>
                        <a:pt x="1853" y="2699"/>
                      </a:lnTo>
                      <a:lnTo>
                        <a:pt x="1855" y="2696"/>
                      </a:lnTo>
                      <a:lnTo>
                        <a:pt x="1861" y="2692"/>
                      </a:lnTo>
                      <a:lnTo>
                        <a:pt x="1863" y="2699"/>
                      </a:lnTo>
                      <a:lnTo>
                        <a:pt x="1872" y="2699"/>
                      </a:lnTo>
                      <a:lnTo>
                        <a:pt x="1877" y="2696"/>
                      </a:lnTo>
                      <a:lnTo>
                        <a:pt x="1880" y="2699"/>
                      </a:lnTo>
                      <a:lnTo>
                        <a:pt x="1889" y="2701"/>
                      </a:lnTo>
                      <a:lnTo>
                        <a:pt x="1891" y="2701"/>
                      </a:lnTo>
                      <a:lnTo>
                        <a:pt x="1894" y="2704"/>
                      </a:lnTo>
                      <a:lnTo>
                        <a:pt x="1894" y="2709"/>
                      </a:lnTo>
                      <a:lnTo>
                        <a:pt x="1894" y="2712"/>
                      </a:lnTo>
                      <a:lnTo>
                        <a:pt x="1874" y="2715"/>
                      </a:lnTo>
                      <a:lnTo>
                        <a:pt x="1866" y="2717"/>
                      </a:lnTo>
                      <a:lnTo>
                        <a:pt x="1858" y="2715"/>
                      </a:lnTo>
                      <a:lnTo>
                        <a:pt x="1853" y="2717"/>
                      </a:lnTo>
                      <a:lnTo>
                        <a:pt x="1838" y="2712"/>
                      </a:lnTo>
                      <a:lnTo>
                        <a:pt x="1825" y="2704"/>
                      </a:lnTo>
                      <a:lnTo>
                        <a:pt x="1822" y="2704"/>
                      </a:lnTo>
                      <a:lnTo>
                        <a:pt x="1820" y="2704"/>
                      </a:lnTo>
                      <a:lnTo>
                        <a:pt x="1817" y="2704"/>
                      </a:lnTo>
                      <a:lnTo>
                        <a:pt x="1811" y="2707"/>
                      </a:lnTo>
                      <a:lnTo>
                        <a:pt x="1805" y="2704"/>
                      </a:lnTo>
                      <a:lnTo>
                        <a:pt x="1800" y="2707"/>
                      </a:lnTo>
                      <a:lnTo>
                        <a:pt x="1800" y="2712"/>
                      </a:lnTo>
                      <a:lnTo>
                        <a:pt x="1802" y="2717"/>
                      </a:lnTo>
                      <a:lnTo>
                        <a:pt x="1805" y="2720"/>
                      </a:lnTo>
                      <a:lnTo>
                        <a:pt x="1808" y="2728"/>
                      </a:lnTo>
                      <a:lnTo>
                        <a:pt x="1808" y="2734"/>
                      </a:lnTo>
                      <a:lnTo>
                        <a:pt x="1802" y="2737"/>
                      </a:lnTo>
                      <a:lnTo>
                        <a:pt x="1794" y="2751"/>
                      </a:lnTo>
                      <a:lnTo>
                        <a:pt x="1780" y="2756"/>
                      </a:lnTo>
                      <a:lnTo>
                        <a:pt x="1775" y="2759"/>
                      </a:lnTo>
                      <a:lnTo>
                        <a:pt x="1777" y="2761"/>
                      </a:lnTo>
                      <a:lnTo>
                        <a:pt x="1786" y="2759"/>
                      </a:lnTo>
                      <a:lnTo>
                        <a:pt x="1792" y="2765"/>
                      </a:lnTo>
                      <a:lnTo>
                        <a:pt x="1797" y="2768"/>
                      </a:lnTo>
                      <a:lnTo>
                        <a:pt x="1797" y="2770"/>
                      </a:lnTo>
                      <a:lnTo>
                        <a:pt x="1792" y="2773"/>
                      </a:lnTo>
                      <a:lnTo>
                        <a:pt x="1792" y="2776"/>
                      </a:lnTo>
                      <a:lnTo>
                        <a:pt x="1794" y="2778"/>
                      </a:lnTo>
                      <a:lnTo>
                        <a:pt x="1792" y="2784"/>
                      </a:lnTo>
                      <a:lnTo>
                        <a:pt x="1786" y="2786"/>
                      </a:lnTo>
                      <a:lnTo>
                        <a:pt x="1786" y="2789"/>
                      </a:lnTo>
                      <a:lnTo>
                        <a:pt x="1786" y="2792"/>
                      </a:lnTo>
                      <a:lnTo>
                        <a:pt x="1784" y="2794"/>
                      </a:lnTo>
                      <a:lnTo>
                        <a:pt x="1777" y="2792"/>
                      </a:lnTo>
                      <a:lnTo>
                        <a:pt x="1775" y="2794"/>
                      </a:lnTo>
                      <a:lnTo>
                        <a:pt x="1777" y="2801"/>
                      </a:lnTo>
                      <a:lnTo>
                        <a:pt x="1775" y="2806"/>
                      </a:lnTo>
                      <a:lnTo>
                        <a:pt x="1780" y="2814"/>
                      </a:lnTo>
                      <a:lnTo>
                        <a:pt x="1786" y="2812"/>
                      </a:lnTo>
                      <a:lnTo>
                        <a:pt x="1789" y="2814"/>
                      </a:lnTo>
                      <a:lnTo>
                        <a:pt x="1794" y="2820"/>
                      </a:lnTo>
                      <a:lnTo>
                        <a:pt x="1800" y="2820"/>
                      </a:lnTo>
                      <a:lnTo>
                        <a:pt x="1811" y="2814"/>
                      </a:lnTo>
                      <a:lnTo>
                        <a:pt x="1820" y="2817"/>
                      </a:lnTo>
                      <a:lnTo>
                        <a:pt x="1825" y="2820"/>
                      </a:lnTo>
                      <a:lnTo>
                        <a:pt x="1830" y="2822"/>
                      </a:lnTo>
                      <a:lnTo>
                        <a:pt x="1841" y="2820"/>
                      </a:lnTo>
                      <a:lnTo>
                        <a:pt x="1846" y="2814"/>
                      </a:lnTo>
                      <a:lnTo>
                        <a:pt x="1853" y="2814"/>
                      </a:lnTo>
                      <a:lnTo>
                        <a:pt x="1855" y="2814"/>
                      </a:lnTo>
                      <a:lnTo>
                        <a:pt x="1858" y="2820"/>
                      </a:lnTo>
                      <a:lnTo>
                        <a:pt x="1858" y="2825"/>
                      </a:lnTo>
                      <a:lnTo>
                        <a:pt x="1849" y="2833"/>
                      </a:lnTo>
                      <a:lnTo>
                        <a:pt x="1841" y="2833"/>
                      </a:lnTo>
                      <a:lnTo>
                        <a:pt x="1828" y="2839"/>
                      </a:lnTo>
                      <a:lnTo>
                        <a:pt x="1811" y="2842"/>
                      </a:lnTo>
                      <a:lnTo>
                        <a:pt x="1805" y="2842"/>
                      </a:lnTo>
                      <a:lnTo>
                        <a:pt x="1794" y="2845"/>
                      </a:lnTo>
                      <a:lnTo>
                        <a:pt x="1792" y="2850"/>
                      </a:lnTo>
                      <a:lnTo>
                        <a:pt x="1789" y="2853"/>
                      </a:lnTo>
                      <a:lnTo>
                        <a:pt x="1784" y="2855"/>
                      </a:lnTo>
                      <a:lnTo>
                        <a:pt x="1775" y="2863"/>
                      </a:lnTo>
                      <a:lnTo>
                        <a:pt x="1775" y="2870"/>
                      </a:lnTo>
                      <a:lnTo>
                        <a:pt x="1772" y="2870"/>
                      </a:lnTo>
                      <a:lnTo>
                        <a:pt x="1767" y="2872"/>
                      </a:lnTo>
                      <a:lnTo>
                        <a:pt x="1767" y="2878"/>
                      </a:lnTo>
                      <a:lnTo>
                        <a:pt x="1772" y="2883"/>
                      </a:lnTo>
                      <a:lnTo>
                        <a:pt x="1772" y="2886"/>
                      </a:lnTo>
                      <a:lnTo>
                        <a:pt x="1775" y="2889"/>
                      </a:lnTo>
                      <a:lnTo>
                        <a:pt x="1769" y="2891"/>
                      </a:lnTo>
                      <a:lnTo>
                        <a:pt x="1772" y="2897"/>
                      </a:lnTo>
                      <a:lnTo>
                        <a:pt x="1772" y="2899"/>
                      </a:lnTo>
                      <a:lnTo>
                        <a:pt x="1777" y="2902"/>
                      </a:lnTo>
                      <a:lnTo>
                        <a:pt x="1780" y="2908"/>
                      </a:lnTo>
                      <a:lnTo>
                        <a:pt x="1777" y="2914"/>
                      </a:lnTo>
                      <a:lnTo>
                        <a:pt x="1777" y="2919"/>
                      </a:lnTo>
                      <a:lnTo>
                        <a:pt x="1775" y="2927"/>
                      </a:lnTo>
                      <a:lnTo>
                        <a:pt x="1775" y="2930"/>
                      </a:lnTo>
                      <a:lnTo>
                        <a:pt x="1769" y="2932"/>
                      </a:lnTo>
                      <a:lnTo>
                        <a:pt x="1772" y="2935"/>
                      </a:lnTo>
                      <a:lnTo>
                        <a:pt x="1772" y="2938"/>
                      </a:lnTo>
                      <a:lnTo>
                        <a:pt x="1772" y="2941"/>
                      </a:lnTo>
                      <a:lnTo>
                        <a:pt x="1769" y="2944"/>
                      </a:lnTo>
                      <a:lnTo>
                        <a:pt x="1777" y="2947"/>
                      </a:lnTo>
                      <a:lnTo>
                        <a:pt x="1777" y="2952"/>
                      </a:lnTo>
                      <a:lnTo>
                        <a:pt x="1780" y="2955"/>
                      </a:lnTo>
                      <a:lnTo>
                        <a:pt x="1777" y="2963"/>
                      </a:lnTo>
                      <a:lnTo>
                        <a:pt x="1772" y="2966"/>
                      </a:lnTo>
                      <a:lnTo>
                        <a:pt x="1775" y="2966"/>
                      </a:lnTo>
                      <a:lnTo>
                        <a:pt x="1780" y="2975"/>
                      </a:lnTo>
                      <a:lnTo>
                        <a:pt x="1777" y="2977"/>
                      </a:lnTo>
                      <a:lnTo>
                        <a:pt x="1775" y="2983"/>
                      </a:lnTo>
                      <a:lnTo>
                        <a:pt x="1784" y="2985"/>
                      </a:lnTo>
                      <a:lnTo>
                        <a:pt x="1786" y="2985"/>
                      </a:lnTo>
                      <a:lnTo>
                        <a:pt x="1794" y="2988"/>
                      </a:lnTo>
                      <a:lnTo>
                        <a:pt x="1797" y="2988"/>
                      </a:lnTo>
                      <a:lnTo>
                        <a:pt x="1797" y="2991"/>
                      </a:lnTo>
                      <a:lnTo>
                        <a:pt x="1786" y="2993"/>
                      </a:lnTo>
                      <a:lnTo>
                        <a:pt x="1786" y="2996"/>
                      </a:lnTo>
                      <a:lnTo>
                        <a:pt x="1786" y="2999"/>
                      </a:lnTo>
                      <a:lnTo>
                        <a:pt x="1784" y="3001"/>
                      </a:lnTo>
                      <a:lnTo>
                        <a:pt x="1786" y="3004"/>
                      </a:lnTo>
                      <a:lnTo>
                        <a:pt x="1789" y="3001"/>
                      </a:lnTo>
                      <a:lnTo>
                        <a:pt x="1792" y="3007"/>
                      </a:lnTo>
                      <a:lnTo>
                        <a:pt x="1797" y="3010"/>
                      </a:lnTo>
                      <a:lnTo>
                        <a:pt x="1800" y="3010"/>
                      </a:lnTo>
                      <a:lnTo>
                        <a:pt x="1808" y="3016"/>
                      </a:lnTo>
                      <a:lnTo>
                        <a:pt x="1811" y="3021"/>
                      </a:lnTo>
                      <a:lnTo>
                        <a:pt x="1808" y="3024"/>
                      </a:lnTo>
                      <a:lnTo>
                        <a:pt x="1808" y="3029"/>
                      </a:lnTo>
                      <a:lnTo>
                        <a:pt x="1805" y="3032"/>
                      </a:lnTo>
                      <a:lnTo>
                        <a:pt x="1805" y="3035"/>
                      </a:lnTo>
                      <a:lnTo>
                        <a:pt x="1808" y="3037"/>
                      </a:lnTo>
                      <a:lnTo>
                        <a:pt x="1811" y="3035"/>
                      </a:lnTo>
                      <a:lnTo>
                        <a:pt x="1813" y="3035"/>
                      </a:lnTo>
                      <a:lnTo>
                        <a:pt x="1817" y="3035"/>
                      </a:lnTo>
                      <a:lnTo>
                        <a:pt x="1820" y="3035"/>
                      </a:lnTo>
                      <a:lnTo>
                        <a:pt x="1825" y="3040"/>
                      </a:lnTo>
                      <a:lnTo>
                        <a:pt x="1828" y="3046"/>
                      </a:lnTo>
                      <a:lnTo>
                        <a:pt x="1828" y="3049"/>
                      </a:lnTo>
                      <a:lnTo>
                        <a:pt x="1825" y="3054"/>
                      </a:lnTo>
                      <a:lnTo>
                        <a:pt x="1825" y="3068"/>
                      </a:lnTo>
                      <a:lnTo>
                        <a:pt x="1836" y="3070"/>
                      </a:lnTo>
                      <a:lnTo>
                        <a:pt x="1855" y="3062"/>
                      </a:lnTo>
                      <a:lnTo>
                        <a:pt x="1863" y="3060"/>
                      </a:lnTo>
                      <a:lnTo>
                        <a:pt x="1866" y="3065"/>
                      </a:lnTo>
                      <a:lnTo>
                        <a:pt x="1863" y="3070"/>
                      </a:lnTo>
                      <a:lnTo>
                        <a:pt x="1866" y="3076"/>
                      </a:lnTo>
                      <a:lnTo>
                        <a:pt x="1863" y="3085"/>
                      </a:lnTo>
                      <a:lnTo>
                        <a:pt x="1846" y="3085"/>
                      </a:lnTo>
                      <a:lnTo>
                        <a:pt x="1836" y="3087"/>
                      </a:lnTo>
                      <a:lnTo>
                        <a:pt x="1828" y="3090"/>
                      </a:lnTo>
                      <a:lnTo>
                        <a:pt x="1825" y="3090"/>
                      </a:lnTo>
                      <a:lnTo>
                        <a:pt x="1822" y="3093"/>
                      </a:lnTo>
                      <a:lnTo>
                        <a:pt x="1820" y="3101"/>
                      </a:lnTo>
                      <a:lnTo>
                        <a:pt x="1817" y="3104"/>
                      </a:lnTo>
                      <a:lnTo>
                        <a:pt x="1813" y="3106"/>
                      </a:lnTo>
                      <a:lnTo>
                        <a:pt x="1817" y="3112"/>
                      </a:lnTo>
                      <a:lnTo>
                        <a:pt x="1811" y="3126"/>
                      </a:lnTo>
                      <a:lnTo>
                        <a:pt x="1817" y="3129"/>
                      </a:lnTo>
                      <a:lnTo>
                        <a:pt x="1817" y="3131"/>
                      </a:lnTo>
                      <a:lnTo>
                        <a:pt x="1820" y="3131"/>
                      </a:lnTo>
                      <a:lnTo>
                        <a:pt x="1822" y="3131"/>
                      </a:lnTo>
                      <a:lnTo>
                        <a:pt x="1825" y="3137"/>
                      </a:lnTo>
                      <a:lnTo>
                        <a:pt x="1820" y="3142"/>
                      </a:lnTo>
                      <a:lnTo>
                        <a:pt x="1813" y="3145"/>
                      </a:lnTo>
                      <a:lnTo>
                        <a:pt x="1808" y="3154"/>
                      </a:lnTo>
                      <a:lnTo>
                        <a:pt x="1811" y="3154"/>
                      </a:lnTo>
                      <a:lnTo>
                        <a:pt x="1811" y="3157"/>
                      </a:lnTo>
                      <a:lnTo>
                        <a:pt x="1817" y="3159"/>
                      </a:lnTo>
                      <a:lnTo>
                        <a:pt x="1820" y="3162"/>
                      </a:lnTo>
                      <a:lnTo>
                        <a:pt x="1820" y="3173"/>
                      </a:lnTo>
                      <a:lnTo>
                        <a:pt x="1813" y="3175"/>
                      </a:lnTo>
                      <a:lnTo>
                        <a:pt x="1817" y="3181"/>
                      </a:lnTo>
                      <a:lnTo>
                        <a:pt x="1817" y="3187"/>
                      </a:lnTo>
                      <a:lnTo>
                        <a:pt x="1813" y="3190"/>
                      </a:lnTo>
                      <a:lnTo>
                        <a:pt x="1813" y="3195"/>
                      </a:lnTo>
                      <a:lnTo>
                        <a:pt x="1813" y="3200"/>
                      </a:lnTo>
                      <a:lnTo>
                        <a:pt x="1817" y="3203"/>
                      </a:lnTo>
                      <a:lnTo>
                        <a:pt x="1820" y="3206"/>
                      </a:lnTo>
                      <a:lnTo>
                        <a:pt x="1822" y="3211"/>
                      </a:lnTo>
                      <a:lnTo>
                        <a:pt x="1817" y="3216"/>
                      </a:lnTo>
                      <a:lnTo>
                        <a:pt x="1808" y="3223"/>
                      </a:lnTo>
                      <a:lnTo>
                        <a:pt x="1813" y="3231"/>
                      </a:lnTo>
                      <a:lnTo>
                        <a:pt x="1811" y="3236"/>
                      </a:lnTo>
                      <a:lnTo>
                        <a:pt x="1808" y="3242"/>
                      </a:lnTo>
                      <a:lnTo>
                        <a:pt x="1808" y="3247"/>
                      </a:lnTo>
                      <a:lnTo>
                        <a:pt x="1805" y="3261"/>
                      </a:lnTo>
                      <a:lnTo>
                        <a:pt x="1813" y="3259"/>
                      </a:lnTo>
                      <a:lnTo>
                        <a:pt x="1817" y="3252"/>
                      </a:lnTo>
                      <a:lnTo>
                        <a:pt x="1820" y="3252"/>
                      </a:lnTo>
                      <a:lnTo>
                        <a:pt x="1838" y="3256"/>
                      </a:lnTo>
                      <a:lnTo>
                        <a:pt x="1846" y="3250"/>
                      </a:lnTo>
                      <a:lnTo>
                        <a:pt x="1853" y="3250"/>
                      </a:lnTo>
                      <a:lnTo>
                        <a:pt x="1872" y="3242"/>
                      </a:lnTo>
                      <a:lnTo>
                        <a:pt x="1877" y="3244"/>
                      </a:lnTo>
                      <a:lnTo>
                        <a:pt x="1882" y="3247"/>
                      </a:lnTo>
                      <a:lnTo>
                        <a:pt x="1880" y="3250"/>
                      </a:lnTo>
                      <a:lnTo>
                        <a:pt x="1869" y="3256"/>
                      </a:lnTo>
                      <a:lnTo>
                        <a:pt x="1863" y="3252"/>
                      </a:lnTo>
                      <a:lnTo>
                        <a:pt x="1855" y="3256"/>
                      </a:lnTo>
                      <a:lnTo>
                        <a:pt x="1855" y="3259"/>
                      </a:lnTo>
                      <a:lnTo>
                        <a:pt x="1853" y="3261"/>
                      </a:lnTo>
                      <a:lnTo>
                        <a:pt x="1849" y="3264"/>
                      </a:lnTo>
                      <a:lnTo>
                        <a:pt x="1838" y="3264"/>
                      </a:lnTo>
                      <a:lnTo>
                        <a:pt x="1830" y="3267"/>
                      </a:lnTo>
                      <a:lnTo>
                        <a:pt x="1830" y="3264"/>
                      </a:lnTo>
                      <a:lnTo>
                        <a:pt x="1817" y="3269"/>
                      </a:lnTo>
                      <a:lnTo>
                        <a:pt x="1813" y="3267"/>
                      </a:lnTo>
                      <a:lnTo>
                        <a:pt x="1811" y="3269"/>
                      </a:lnTo>
                      <a:lnTo>
                        <a:pt x="1802" y="3272"/>
                      </a:lnTo>
                      <a:lnTo>
                        <a:pt x="1792" y="3272"/>
                      </a:lnTo>
                      <a:lnTo>
                        <a:pt x="1792" y="3275"/>
                      </a:lnTo>
                      <a:lnTo>
                        <a:pt x="1780" y="3277"/>
                      </a:lnTo>
                      <a:lnTo>
                        <a:pt x="1775" y="3275"/>
                      </a:lnTo>
                      <a:lnTo>
                        <a:pt x="1777" y="3269"/>
                      </a:lnTo>
                      <a:lnTo>
                        <a:pt x="1775" y="3267"/>
                      </a:lnTo>
                      <a:lnTo>
                        <a:pt x="1777" y="3264"/>
                      </a:lnTo>
                      <a:lnTo>
                        <a:pt x="1777" y="3259"/>
                      </a:lnTo>
                      <a:lnTo>
                        <a:pt x="1777" y="3256"/>
                      </a:lnTo>
                      <a:lnTo>
                        <a:pt x="1780" y="3252"/>
                      </a:lnTo>
                      <a:lnTo>
                        <a:pt x="1780" y="3244"/>
                      </a:lnTo>
                      <a:lnTo>
                        <a:pt x="1780" y="3242"/>
                      </a:lnTo>
                      <a:lnTo>
                        <a:pt x="1777" y="3239"/>
                      </a:lnTo>
                      <a:lnTo>
                        <a:pt x="1780" y="3236"/>
                      </a:lnTo>
                      <a:lnTo>
                        <a:pt x="1777" y="3234"/>
                      </a:lnTo>
                      <a:lnTo>
                        <a:pt x="1780" y="3231"/>
                      </a:lnTo>
                      <a:lnTo>
                        <a:pt x="1777" y="3231"/>
                      </a:lnTo>
                      <a:lnTo>
                        <a:pt x="1780" y="3226"/>
                      </a:lnTo>
                      <a:lnTo>
                        <a:pt x="1775" y="3223"/>
                      </a:lnTo>
                      <a:lnTo>
                        <a:pt x="1775" y="3216"/>
                      </a:lnTo>
                      <a:lnTo>
                        <a:pt x="1775" y="3220"/>
                      </a:lnTo>
                      <a:lnTo>
                        <a:pt x="1772" y="3216"/>
                      </a:lnTo>
                      <a:lnTo>
                        <a:pt x="1767" y="3220"/>
                      </a:lnTo>
                      <a:lnTo>
                        <a:pt x="1764" y="3216"/>
                      </a:lnTo>
                      <a:lnTo>
                        <a:pt x="1761" y="3216"/>
                      </a:lnTo>
                      <a:lnTo>
                        <a:pt x="1761" y="3214"/>
                      </a:lnTo>
                      <a:lnTo>
                        <a:pt x="1761" y="3208"/>
                      </a:lnTo>
                      <a:lnTo>
                        <a:pt x="1759" y="3206"/>
                      </a:lnTo>
                      <a:lnTo>
                        <a:pt x="1753" y="3252"/>
                      </a:lnTo>
                      <a:lnTo>
                        <a:pt x="1751" y="3252"/>
                      </a:lnTo>
                      <a:lnTo>
                        <a:pt x="1747" y="3256"/>
                      </a:lnTo>
                      <a:lnTo>
                        <a:pt x="1744" y="3259"/>
                      </a:lnTo>
                      <a:lnTo>
                        <a:pt x="1744" y="3269"/>
                      </a:lnTo>
                      <a:lnTo>
                        <a:pt x="1733" y="3269"/>
                      </a:lnTo>
                      <a:lnTo>
                        <a:pt x="1670" y="3269"/>
                      </a:lnTo>
                      <a:lnTo>
                        <a:pt x="1623" y="3267"/>
                      </a:lnTo>
                      <a:lnTo>
                        <a:pt x="1596" y="3283"/>
                      </a:lnTo>
                      <a:lnTo>
                        <a:pt x="1593" y="3283"/>
                      </a:lnTo>
                      <a:lnTo>
                        <a:pt x="1596" y="3285"/>
                      </a:lnTo>
                      <a:lnTo>
                        <a:pt x="1590" y="3289"/>
                      </a:lnTo>
                      <a:lnTo>
                        <a:pt x="1590" y="3294"/>
                      </a:lnTo>
                      <a:lnTo>
                        <a:pt x="1587" y="3294"/>
                      </a:lnTo>
                      <a:lnTo>
                        <a:pt x="1585" y="3300"/>
                      </a:lnTo>
                      <a:lnTo>
                        <a:pt x="1585" y="3303"/>
                      </a:lnTo>
                      <a:lnTo>
                        <a:pt x="1582" y="3303"/>
                      </a:lnTo>
                      <a:lnTo>
                        <a:pt x="1582" y="3305"/>
                      </a:lnTo>
                      <a:lnTo>
                        <a:pt x="1582" y="3308"/>
                      </a:lnTo>
                      <a:lnTo>
                        <a:pt x="1573" y="3311"/>
                      </a:lnTo>
                      <a:lnTo>
                        <a:pt x="1573" y="3308"/>
                      </a:lnTo>
                      <a:lnTo>
                        <a:pt x="1573" y="3305"/>
                      </a:lnTo>
                      <a:lnTo>
                        <a:pt x="1570" y="3308"/>
                      </a:lnTo>
                      <a:lnTo>
                        <a:pt x="1570" y="3305"/>
                      </a:lnTo>
                      <a:lnTo>
                        <a:pt x="1570" y="3303"/>
                      </a:lnTo>
                      <a:lnTo>
                        <a:pt x="1565" y="3303"/>
                      </a:lnTo>
                      <a:lnTo>
                        <a:pt x="1562" y="3308"/>
                      </a:lnTo>
                      <a:lnTo>
                        <a:pt x="1557" y="3311"/>
                      </a:lnTo>
                      <a:lnTo>
                        <a:pt x="1552" y="3316"/>
                      </a:lnTo>
                      <a:lnTo>
                        <a:pt x="1552" y="3319"/>
                      </a:lnTo>
                      <a:lnTo>
                        <a:pt x="1544" y="3321"/>
                      </a:lnTo>
                      <a:lnTo>
                        <a:pt x="1540" y="3328"/>
                      </a:lnTo>
                      <a:lnTo>
                        <a:pt x="1535" y="3328"/>
                      </a:lnTo>
                      <a:lnTo>
                        <a:pt x="1529" y="3333"/>
                      </a:lnTo>
                      <a:lnTo>
                        <a:pt x="1529" y="3336"/>
                      </a:lnTo>
                      <a:lnTo>
                        <a:pt x="1527" y="3336"/>
                      </a:lnTo>
                      <a:lnTo>
                        <a:pt x="1527" y="3333"/>
                      </a:lnTo>
                      <a:lnTo>
                        <a:pt x="1524" y="3333"/>
                      </a:lnTo>
                      <a:lnTo>
                        <a:pt x="1521" y="3333"/>
                      </a:lnTo>
                      <a:lnTo>
                        <a:pt x="1518" y="3333"/>
                      </a:lnTo>
                      <a:lnTo>
                        <a:pt x="1518" y="3336"/>
                      </a:lnTo>
                      <a:lnTo>
                        <a:pt x="1518" y="3341"/>
                      </a:lnTo>
                      <a:lnTo>
                        <a:pt x="1513" y="3341"/>
                      </a:lnTo>
                      <a:lnTo>
                        <a:pt x="1508" y="3344"/>
                      </a:lnTo>
                      <a:lnTo>
                        <a:pt x="1504" y="3344"/>
                      </a:lnTo>
                      <a:lnTo>
                        <a:pt x="1501" y="3346"/>
                      </a:lnTo>
                      <a:lnTo>
                        <a:pt x="1496" y="3349"/>
                      </a:lnTo>
                      <a:lnTo>
                        <a:pt x="1493" y="3346"/>
                      </a:lnTo>
                      <a:lnTo>
                        <a:pt x="1493" y="3349"/>
                      </a:lnTo>
                      <a:lnTo>
                        <a:pt x="1488" y="3349"/>
                      </a:lnTo>
                      <a:lnTo>
                        <a:pt x="1488" y="3352"/>
                      </a:lnTo>
                      <a:lnTo>
                        <a:pt x="1488" y="3354"/>
                      </a:lnTo>
                      <a:lnTo>
                        <a:pt x="1485" y="3357"/>
                      </a:lnTo>
                      <a:lnTo>
                        <a:pt x="1485" y="3354"/>
                      </a:lnTo>
                      <a:lnTo>
                        <a:pt x="1483" y="3352"/>
                      </a:lnTo>
                      <a:lnTo>
                        <a:pt x="1480" y="3354"/>
                      </a:lnTo>
                      <a:lnTo>
                        <a:pt x="1480" y="3357"/>
                      </a:lnTo>
                      <a:lnTo>
                        <a:pt x="1477" y="3357"/>
                      </a:lnTo>
                      <a:lnTo>
                        <a:pt x="1477" y="3352"/>
                      </a:lnTo>
                      <a:lnTo>
                        <a:pt x="1475" y="3354"/>
                      </a:lnTo>
                      <a:lnTo>
                        <a:pt x="1468" y="3354"/>
                      </a:lnTo>
                      <a:lnTo>
                        <a:pt x="1463" y="3361"/>
                      </a:lnTo>
                      <a:lnTo>
                        <a:pt x="1466" y="3361"/>
                      </a:lnTo>
                      <a:lnTo>
                        <a:pt x="1466" y="3366"/>
                      </a:lnTo>
                      <a:lnTo>
                        <a:pt x="1460" y="3369"/>
                      </a:lnTo>
                      <a:lnTo>
                        <a:pt x="1455" y="3366"/>
                      </a:lnTo>
                      <a:lnTo>
                        <a:pt x="1452" y="3369"/>
                      </a:lnTo>
                      <a:lnTo>
                        <a:pt x="1447" y="3366"/>
                      </a:lnTo>
                      <a:lnTo>
                        <a:pt x="1449" y="3363"/>
                      </a:lnTo>
                      <a:lnTo>
                        <a:pt x="1447" y="3361"/>
                      </a:lnTo>
                      <a:lnTo>
                        <a:pt x="1441" y="3363"/>
                      </a:lnTo>
                      <a:lnTo>
                        <a:pt x="1435" y="3361"/>
                      </a:lnTo>
                      <a:lnTo>
                        <a:pt x="1432" y="3363"/>
                      </a:lnTo>
                      <a:lnTo>
                        <a:pt x="1430" y="3363"/>
                      </a:lnTo>
                      <a:lnTo>
                        <a:pt x="1427" y="3363"/>
                      </a:lnTo>
                      <a:lnTo>
                        <a:pt x="1427" y="3366"/>
                      </a:lnTo>
                      <a:lnTo>
                        <a:pt x="1419" y="3369"/>
                      </a:lnTo>
                      <a:lnTo>
                        <a:pt x="1422" y="3377"/>
                      </a:lnTo>
                      <a:lnTo>
                        <a:pt x="1419" y="3380"/>
                      </a:lnTo>
                      <a:lnTo>
                        <a:pt x="1414" y="3380"/>
                      </a:lnTo>
                      <a:lnTo>
                        <a:pt x="1414" y="3385"/>
                      </a:lnTo>
                      <a:lnTo>
                        <a:pt x="1411" y="3385"/>
                      </a:lnTo>
                      <a:lnTo>
                        <a:pt x="1408" y="3390"/>
                      </a:lnTo>
                      <a:lnTo>
                        <a:pt x="1402" y="3390"/>
                      </a:lnTo>
                      <a:lnTo>
                        <a:pt x="1406" y="3388"/>
                      </a:lnTo>
                      <a:lnTo>
                        <a:pt x="1402" y="3388"/>
                      </a:lnTo>
                      <a:lnTo>
                        <a:pt x="1402" y="3385"/>
                      </a:lnTo>
                      <a:lnTo>
                        <a:pt x="1394" y="3385"/>
                      </a:lnTo>
                      <a:lnTo>
                        <a:pt x="1391" y="3388"/>
                      </a:lnTo>
                      <a:lnTo>
                        <a:pt x="1383" y="3385"/>
                      </a:lnTo>
                      <a:lnTo>
                        <a:pt x="1378" y="3385"/>
                      </a:lnTo>
                      <a:lnTo>
                        <a:pt x="1372" y="3380"/>
                      </a:lnTo>
                      <a:lnTo>
                        <a:pt x="1369" y="3377"/>
                      </a:lnTo>
                      <a:lnTo>
                        <a:pt x="1366" y="3382"/>
                      </a:lnTo>
                      <a:lnTo>
                        <a:pt x="1363" y="3382"/>
                      </a:lnTo>
                      <a:lnTo>
                        <a:pt x="1361" y="3385"/>
                      </a:lnTo>
                      <a:lnTo>
                        <a:pt x="1361" y="3390"/>
                      </a:lnTo>
                      <a:lnTo>
                        <a:pt x="1353" y="3394"/>
                      </a:lnTo>
                      <a:lnTo>
                        <a:pt x="1350" y="3402"/>
                      </a:lnTo>
                      <a:lnTo>
                        <a:pt x="1347" y="3402"/>
                      </a:lnTo>
                      <a:lnTo>
                        <a:pt x="1345" y="3399"/>
                      </a:lnTo>
                      <a:lnTo>
                        <a:pt x="1345" y="3394"/>
                      </a:lnTo>
                      <a:lnTo>
                        <a:pt x="1337" y="3385"/>
                      </a:lnTo>
                      <a:lnTo>
                        <a:pt x="1339" y="3382"/>
                      </a:lnTo>
                      <a:lnTo>
                        <a:pt x="1347" y="3380"/>
                      </a:lnTo>
                      <a:lnTo>
                        <a:pt x="1345" y="3377"/>
                      </a:lnTo>
                      <a:lnTo>
                        <a:pt x="1339" y="3374"/>
                      </a:lnTo>
                      <a:lnTo>
                        <a:pt x="1333" y="3377"/>
                      </a:lnTo>
                      <a:lnTo>
                        <a:pt x="1322" y="3374"/>
                      </a:lnTo>
                      <a:lnTo>
                        <a:pt x="1322" y="3369"/>
                      </a:lnTo>
                      <a:lnTo>
                        <a:pt x="1328" y="3357"/>
                      </a:lnTo>
                      <a:lnTo>
                        <a:pt x="1322" y="3357"/>
                      </a:lnTo>
                      <a:lnTo>
                        <a:pt x="1317" y="3361"/>
                      </a:lnTo>
                      <a:lnTo>
                        <a:pt x="1314" y="3361"/>
                      </a:lnTo>
                      <a:lnTo>
                        <a:pt x="1309" y="3357"/>
                      </a:lnTo>
                      <a:lnTo>
                        <a:pt x="1306" y="3357"/>
                      </a:lnTo>
                      <a:lnTo>
                        <a:pt x="1300" y="3361"/>
                      </a:lnTo>
                      <a:lnTo>
                        <a:pt x="1292" y="3357"/>
                      </a:lnTo>
                      <a:lnTo>
                        <a:pt x="1289" y="3344"/>
                      </a:lnTo>
                      <a:lnTo>
                        <a:pt x="1292" y="3333"/>
                      </a:lnTo>
                      <a:lnTo>
                        <a:pt x="1289" y="3330"/>
                      </a:lnTo>
                      <a:lnTo>
                        <a:pt x="1281" y="3330"/>
                      </a:lnTo>
                      <a:lnTo>
                        <a:pt x="1270" y="3325"/>
                      </a:lnTo>
                      <a:lnTo>
                        <a:pt x="1268" y="3328"/>
                      </a:lnTo>
                      <a:lnTo>
                        <a:pt x="1264" y="3325"/>
                      </a:lnTo>
                      <a:lnTo>
                        <a:pt x="1261" y="3330"/>
                      </a:lnTo>
                      <a:lnTo>
                        <a:pt x="1259" y="3333"/>
                      </a:lnTo>
                      <a:lnTo>
                        <a:pt x="1259" y="3336"/>
                      </a:lnTo>
                      <a:lnTo>
                        <a:pt x="1256" y="3336"/>
                      </a:lnTo>
                      <a:lnTo>
                        <a:pt x="1259" y="3338"/>
                      </a:lnTo>
                      <a:lnTo>
                        <a:pt x="1259" y="3341"/>
                      </a:lnTo>
                      <a:lnTo>
                        <a:pt x="1259" y="3344"/>
                      </a:lnTo>
                      <a:lnTo>
                        <a:pt x="1256" y="3344"/>
                      </a:lnTo>
                      <a:lnTo>
                        <a:pt x="1256" y="3346"/>
                      </a:lnTo>
                      <a:lnTo>
                        <a:pt x="1253" y="3349"/>
                      </a:lnTo>
                      <a:lnTo>
                        <a:pt x="1248" y="3352"/>
                      </a:lnTo>
                      <a:lnTo>
                        <a:pt x="1256" y="3354"/>
                      </a:lnTo>
                      <a:lnTo>
                        <a:pt x="1253" y="3361"/>
                      </a:lnTo>
                      <a:lnTo>
                        <a:pt x="1250" y="3363"/>
                      </a:lnTo>
                      <a:lnTo>
                        <a:pt x="1253" y="3363"/>
                      </a:lnTo>
                      <a:lnTo>
                        <a:pt x="1250" y="3366"/>
                      </a:lnTo>
                      <a:lnTo>
                        <a:pt x="1253" y="3369"/>
                      </a:lnTo>
                      <a:lnTo>
                        <a:pt x="1250" y="3369"/>
                      </a:lnTo>
                      <a:lnTo>
                        <a:pt x="1250" y="3372"/>
                      </a:lnTo>
                      <a:lnTo>
                        <a:pt x="1256" y="3374"/>
                      </a:lnTo>
                      <a:lnTo>
                        <a:pt x="1256" y="3377"/>
                      </a:lnTo>
                      <a:lnTo>
                        <a:pt x="1253" y="3380"/>
                      </a:lnTo>
                      <a:lnTo>
                        <a:pt x="1259" y="3382"/>
                      </a:lnTo>
                      <a:lnTo>
                        <a:pt x="1259" y="3385"/>
                      </a:lnTo>
                      <a:lnTo>
                        <a:pt x="1261" y="3390"/>
                      </a:lnTo>
                      <a:lnTo>
                        <a:pt x="1256" y="3397"/>
                      </a:lnTo>
                      <a:lnTo>
                        <a:pt x="1253" y="3397"/>
                      </a:lnTo>
                      <a:lnTo>
                        <a:pt x="1253" y="3405"/>
                      </a:lnTo>
                      <a:lnTo>
                        <a:pt x="1253" y="3407"/>
                      </a:lnTo>
                      <a:lnTo>
                        <a:pt x="1256" y="3413"/>
                      </a:lnTo>
                      <a:lnTo>
                        <a:pt x="1253" y="3415"/>
                      </a:lnTo>
                      <a:lnTo>
                        <a:pt x="1256" y="3423"/>
                      </a:lnTo>
                      <a:lnTo>
                        <a:pt x="1256" y="3430"/>
                      </a:lnTo>
                      <a:lnTo>
                        <a:pt x="1261" y="3435"/>
                      </a:lnTo>
                      <a:lnTo>
                        <a:pt x="1268" y="3435"/>
                      </a:lnTo>
                      <a:lnTo>
                        <a:pt x="1268" y="3443"/>
                      </a:lnTo>
                      <a:lnTo>
                        <a:pt x="1264" y="3446"/>
                      </a:lnTo>
                      <a:lnTo>
                        <a:pt x="1261" y="3446"/>
                      </a:lnTo>
                      <a:lnTo>
                        <a:pt x="1259" y="3451"/>
                      </a:lnTo>
                      <a:lnTo>
                        <a:pt x="1256" y="3454"/>
                      </a:lnTo>
                      <a:lnTo>
                        <a:pt x="1253" y="3459"/>
                      </a:lnTo>
                      <a:lnTo>
                        <a:pt x="1250" y="3463"/>
                      </a:lnTo>
                      <a:lnTo>
                        <a:pt x="1248" y="3468"/>
                      </a:lnTo>
                      <a:lnTo>
                        <a:pt x="1245" y="3476"/>
                      </a:lnTo>
                      <a:lnTo>
                        <a:pt x="1195" y="3421"/>
                      </a:lnTo>
                      <a:lnTo>
                        <a:pt x="1195" y="3418"/>
                      </a:lnTo>
                      <a:lnTo>
                        <a:pt x="1187" y="3413"/>
                      </a:lnTo>
                      <a:lnTo>
                        <a:pt x="1179" y="3415"/>
                      </a:lnTo>
                      <a:lnTo>
                        <a:pt x="1171" y="3413"/>
                      </a:lnTo>
                      <a:lnTo>
                        <a:pt x="1168" y="3415"/>
                      </a:lnTo>
                      <a:lnTo>
                        <a:pt x="1162" y="3415"/>
                      </a:lnTo>
                      <a:lnTo>
                        <a:pt x="1159" y="3413"/>
                      </a:lnTo>
                      <a:lnTo>
                        <a:pt x="1159" y="3410"/>
                      </a:lnTo>
                      <a:lnTo>
                        <a:pt x="1156" y="3413"/>
                      </a:lnTo>
                      <a:lnTo>
                        <a:pt x="1154" y="3413"/>
                      </a:lnTo>
                      <a:lnTo>
                        <a:pt x="1154" y="3407"/>
                      </a:lnTo>
                      <a:lnTo>
                        <a:pt x="1151" y="3405"/>
                      </a:lnTo>
                      <a:lnTo>
                        <a:pt x="1148" y="3405"/>
                      </a:lnTo>
                      <a:lnTo>
                        <a:pt x="1148" y="3407"/>
                      </a:lnTo>
                      <a:lnTo>
                        <a:pt x="1148" y="3405"/>
                      </a:lnTo>
                      <a:lnTo>
                        <a:pt x="1146" y="3405"/>
                      </a:lnTo>
                      <a:lnTo>
                        <a:pt x="1143" y="3405"/>
                      </a:lnTo>
                      <a:lnTo>
                        <a:pt x="1140" y="3402"/>
                      </a:lnTo>
                      <a:lnTo>
                        <a:pt x="1138" y="3410"/>
                      </a:lnTo>
                      <a:lnTo>
                        <a:pt x="1135" y="3410"/>
                      </a:lnTo>
                      <a:lnTo>
                        <a:pt x="1132" y="3410"/>
                      </a:lnTo>
                      <a:lnTo>
                        <a:pt x="1130" y="3413"/>
                      </a:lnTo>
                      <a:lnTo>
                        <a:pt x="1126" y="3410"/>
                      </a:lnTo>
                      <a:lnTo>
                        <a:pt x="1126" y="3407"/>
                      </a:lnTo>
                      <a:lnTo>
                        <a:pt x="1123" y="3405"/>
                      </a:lnTo>
                      <a:lnTo>
                        <a:pt x="1121" y="3397"/>
                      </a:lnTo>
                      <a:lnTo>
                        <a:pt x="1115" y="3397"/>
                      </a:lnTo>
                      <a:lnTo>
                        <a:pt x="1107" y="3399"/>
                      </a:lnTo>
                      <a:lnTo>
                        <a:pt x="1104" y="3394"/>
                      </a:lnTo>
                      <a:lnTo>
                        <a:pt x="1102" y="3397"/>
                      </a:lnTo>
                      <a:lnTo>
                        <a:pt x="1102" y="3394"/>
                      </a:lnTo>
                      <a:lnTo>
                        <a:pt x="1104" y="3390"/>
                      </a:lnTo>
                      <a:lnTo>
                        <a:pt x="1102" y="3388"/>
                      </a:lnTo>
                      <a:lnTo>
                        <a:pt x="1093" y="3388"/>
                      </a:lnTo>
                      <a:lnTo>
                        <a:pt x="1093" y="3385"/>
                      </a:lnTo>
                      <a:lnTo>
                        <a:pt x="1093" y="3382"/>
                      </a:lnTo>
                      <a:lnTo>
                        <a:pt x="1093" y="3380"/>
                      </a:lnTo>
                      <a:lnTo>
                        <a:pt x="1090" y="3382"/>
                      </a:lnTo>
                      <a:lnTo>
                        <a:pt x="1090" y="3380"/>
                      </a:lnTo>
                      <a:lnTo>
                        <a:pt x="1085" y="3382"/>
                      </a:lnTo>
                      <a:lnTo>
                        <a:pt x="1085" y="3380"/>
                      </a:lnTo>
                      <a:lnTo>
                        <a:pt x="1082" y="3382"/>
                      </a:lnTo>
                      <a:lnTo>
                        <a:pt x="1085" y="3394"/>
                      </a:lnTo>
                      <a:lnTo>
                        <a:pt x="1082" y="3394"/>
                      </a:lnTo>
                      <a:lnTo>
                        <a:pt x="1082" y="3397"/>
                      </a:lnTo>
                      <a:lnTo>
                        <a:pt x="1082" y="3399"/>
                      </a:lnTo>
                      <a:lnTo>
                        <a:pt x="1082" y="3402"/>
                      </a:lnTo>
                      <a:lnTo>
                        <a:pt x="1077" y="3402"/>
                      </a:lnTo>
                      <a:lnTo>
                        <a:pt x="1074" y="3405"/>
                      </a:lnTo>
                      <a:lnTo>
                        <a:pt x="1071" y="3402"/>
                      </a:lnTo>
                      <a:lnTo>
                        <a:pt x="1069" y="3405"/>
                      </a:lnTo>
                      <a:lnTo>
                        <a:pt x="1066" y="3402"/>
                      </a:lnTo>
                      <a:lnTo>
                        <a:pt x="1066" y="3405"/>
                      </a:lnTo>
                      <a:lnTo>
                        <a:pt x="1057" y="3407"/>
                      </a:lnTo>
                      <a:lnTo>
                        <a:pt x="1054" y="3410"/>
                      </a:lnTo>
                      <a:lnTo>
                        <a:pt x="1052" y="3407"/>
                      </a:lnTo>
                      <a:lnTo>
                        <a:pt x="1052" y="3410"/>
                      </a:lnTo>
                      <a:lnTo>
                        <a:pt x="1049" y="3407"/>
                      </a:lnTo>
                      <a:lnTo>
                        <a:pt x="1046" y="3410"/>
                      </a:lnTo>
                      <a:lnTo>
                        <a:pt x="1046" y="3407"/>
                      </a:lnTo>
                      <a:lnTo>
                        <a:pt x="1052" y="3399"/>
                      </a:lnTo>
                      <a:lnTo>
                        <a:pt x="1052" y="3385"/>
                      </a:lnTo>
                      <a:lnTo>
                        <a:pt x="1049" y="3385"/>
                      </a:lnTo>
                      <a:lnTo>
                        <a:pt x="1046" y="3382"/>
                      </a:lnTo>
                      <a:lnTo>
                        <a:pt x="1046" y="3380"/>
                      </a:lnTo>
                      <a:lnTo>
                        <a:pt x="1049" y="3377"/>
                      </a:lnTo>
                      <a:lnTo>
                        <a:pt x="1052" y="3374"/>
                      </a:lnTo>
                      <a:lnTo>
                        <a:pt x="1049" y="3369"/>
                      </a:lnTo>
                      <a:lnTo>
                        <a:pt x="1049" y="3366"/>
                      </a:lnTo>
                      <a:lnTo>
                        <a:pt x="1049" y="3363"/>
                      </a:lnTo>
                      <a:lnTo>
                        <a:pt x="1049" y="3361"/>
                      </a:lnTo>
                      <a:lnTo>
                        <a:pt x="1049" y="3357"/>
                      </a:lnTo>
                      <a:lnTo>
                        <a:pt x="1052" y="3354"/>
                      </a:lnTo>
                      <a:lnTo>
                        <a:pt x="1052" y="3349"/>
                      </a:lnTo>
                      <a:lnTo>
                        <a:pt x="1054" y="3346"/>
                      </a:lnTo>
                      <a:lnTo>
                        <a:pt x="1054" y="3344"/>
                      </a:lnTo>
                      <a:lnTo>
                        <a:pt x="1052" y="3346"/>
                      </a:lnTo>
                      <a:lnTo>
                        <a:pt x="1049" y="3346"/>
                      </a:lnTo>
                      <a:lnTo>
                        <a:pt x="1044" y="3344"/>
                      </a:lnTo>
                      <a:lnTo>
                        <a:pt x="1041" y="3346"/>
                      </a:lnTo>
                      <a:lnTo>
                        <a:pt x="1038" y="3346"/>
                      </a:lnTo>
                      <a:lnTo>
                        <a:pt x="1035" y="3349"/>
                      </a:lnTo>
                      <a:lnTo>
                        <a:pt x="1035" y="3352"/>
                      </a:lnTo>
                      <a:lnTo>
                        <a:pt x="1030" y="3354"/>
                      </a:lnTo>
                      <a:lnTo>
                        <a:pt x="1027" y="3352"/>
                      </a:lnTo>
                      <a:lnTo>
                        <a:pt x="1024" y="3354"/>
                      </a:lnTo>
                      <a:lnTo>
                        <a:pt x="1021" y="3352"/>
                      </a:lnTo>
                      <a:lnTo>
                        <a:pt x="1018" y="3357"/>
                      </a:lnTo>
                      <a:lnTo>
                        <a:pt x="1016" y="3357"/>
                      </a:lnTo>
                      <a:lnTo>
                        <a:pt x="1016" y="3361"/>
                      </a:lnTo>
                      <a:lnTo>
                        <a:pt x="1013" y="3363"/>
                      </a:lnTo>
                      <a:lnTo>
                        <a:pt x="1008" y="3363"/>
                      </a:lnTo>
                      <a:lnTo>
                        <a:pt x="1008" y="3366"/>
                      </a:lnTo>
                      <a:lnTo>
                        <a:pt x="1005" y="3366"/>
                      </a:lnTo>
                      <a:lnTo>
                        <a:pt x="1002" y="3369"/>
                      </a:lnTo>
                      <a:lnTo>
                        <a:pt x="1002" y="3363"/>
                      </a:lnTo>
                      <a:lnTo>
                        <a:pt x="1002" y="3366"/>
                      </a:lnTo>
                      <a:lnTo>
                        <a:pt x="1000" y="3366"/>
                      </a:lnTo>
                      <a:lnTo>
                        <a:pt x="997" y="3366"/>
                      </a:lnTo>
                      <a:lnTo>
                        <a:pt x="997" y="3372"/>
                      </a:lnTo>
                      <a:lnTo>
                        <a:pt x="997" y="3374"/>
                      </a:lnTo>
                      <a:lnTo>
                        <a:pt x="988" y="3377"/>
                      </a:lnTo>
                      <a:lnTo>
                        <a:pt x="991" y="3377"/>
                      </a:lnTo>
                      <a:lnTo>
                        <a:pt x="988" y="3377"/>
                      </a:lnTo>
                      <a:lnTo>
                        <a:pt x="991" y="3377"/>
                      </a:lnTo>
                      <a:lnTo>
                        <a:pt x="991" y="3380"/>
                      </a:lnTo>
                      <a:lnTo>
                        <a:pt x="988" y="3380"/>
                      </a:lnTo>
                      <a:lnTo>
                        <a:pt x="985" y="3380"/>
                      </a:lnTo>
                      <a:lnTo>
                        <a:pt x="985" y="3377"/>
                      </a:lnTo>
                      <a:lnTo>
                        <a:pt x="983" y="3377"/>
                      </a:lnTo>
                      <a:lnTo>
                        <a:pt x="980" y="3377"/>
                      </a:lnTo>
                      <a:lnTo>
                        <a:pt x="975" y="3377"/>
                      </a:lnTo>
                      <a:lnTo>
                        <a:pt x="977" y="3380"/>
                      </a:lnTo>
                      <a:lnTo>
                        <a:pt x="975" y="3382"/>
                      </a:lnTo>
                      <a:lnTo>
                        <a:pt x="977" y="3385"/>
                      </a:lnTo>
                      <a:lnTo>
                        <a:pt x="975" y="3385"/>
                      </a:lnTo>
                      <a:lnTo>
                        <a:pt x="972" y="3382"/>
                      </a:lnTo>
                      <a:lnTo>
                        <a:pt x="969" y="3382"/>
                      </a:lnTo>
                      <a:lnTo>
                        <a:pt x="967" y="3385"/>
                      </a:lnTo>
                      <a:lnTo>
                        <a:pt x="964" y="3385"/>
                      </a:lnTo>
                      <a:lnTo>
                        <a:pt x="964" y="3388"/>
                      </a:lnTo>
                      <a:lnTo>
                        <a:pt x="961" y="3388"/>
                      </a:lnTo>
                      <a:lnTo>
                        <a:pt x="958" y="3394"/>
                      </a:lnTo>
                      <a:lnTo>
                        <a:pt x="958" y="3390"/>
                      </a:lnTo>
                      <a:lnTo>
                        <a:pt x="955" y="3394"/>
                      </a:lnTo>
                      <a:lnTo>
                        <a:pt x="952" y="3394"/>
                      </a:lnTo>
                      <a:lnTo>
                        <a:pt x="949" y="3394"/>
                      </a:lnTo>
                      <a:lnTo>
                        <a:pt x="944" y="3397"/>
                      </a:lnTo>
                      <a:lnTo>
                        <a:pt x="941" y="3394"/>
                      </a:lnTo>
                      <a:lnTo>
                        <a:pt x="939" y="3397"/>
                      </a:lnTo>
                      <a:lnTo>
                        <a:pt x="939" y="3399"/>
                      </a:lnTo>
                      <a:lnTo>
                        <a:pt x="939" y="3402"/>
                      </a:lnTo>
                      <a:lnTo>
                        <a:pt x="936" y="3405"/>
                      </a:lnTo>
                      <a:lnTo>
                        <a:pt x="933" y="3399"/>
                      </a:lnTo>
                      <a:lnTo>
                        <a:pt x="928" y="3399"/>
                      </a:lnTo>
                      <a:lnTo>
                        <a:pt x="928" y="3390"/>
                      </a:lnTo>
                      <a:lnTo>
                        <a:pt x="931" y="3390"/>
                      </a:lnTo>
                      <a:lnTo>
                        <a:pt x="928" y="3388"/>
                      </a:lnTo>
                      <a:lnTo>
                        <a:pt x="928" y="3385"/>
                      </a:lnTo>
                      <a:lnTo>
                        <a:pt x="931" y="3385"/>
                      </a:lnTo>
                      <a:lnTo>
                        <a:pt x="925" y="3382"/>
                      </a:lnTo>
                      <a:lnTo>
                        <a:pt x="925" y="3380"/>
                      </a:lnTo>
                      <a:lnTo>
                        <a:pt x="922" y="3380"/>
                      </a:lnTo>
                      <a:lnTo>
                        <a:pt x="922" y="3374"/>
                      </a:lnTo>
                      <a:lnTo>
                        <a:pt x="922" y="3372"/>
                      </a:lnTo>
                      <a:lnTo>
                        <a:pt x="922" y="3369"/>
                      </a:lnTo>
                      <a:lnTo>
                        <a:pt x="922" y="3366"/>
                      </a:lnTo>
                      <a:lnTo>
                        <a:pt x="919" y="3363"/>
                      </a:lnTo>
                      <a:lnTo>
                        <a:pt x="922" y="3361"/>
                      </a:lnTo>
                      <a:lnTo>
                        <a:pt x="922" y="3354"/>
                      </a:lnTo>
                      <a:lnTo>
                        <a:pt x="922" y="3352"/>
                      </a:lnTo>
                      <a:lnTo>
                        <a:pt x="922" y="3349"/>
                      </a:lnTo>
                      <a:lnTo>
                        <a:pt x="925" y="3349"/>
                      </a:lnTo>
                      <a:lnTo>
                        <a:pt x="922" y="3341"/>
                      </a:lnTo>
                      <a:lnTo>
                        <a:pt x="922" y="3338"/>
                      </a:lnTo>
                      <a:lnTo>
                        <a:pt x="919" y="3336"/>
                      </a:lnTo>
                      <a:lnTo>
                        <a:pt x="919" y="3341"/>
                      </a:lnTo>
                      <a:lnTo>
                        <a:pt x="916" y="3341"/>
                      </a:lnTo>
                      <a:lnTo>
                        <a:pt x="914" y="3338"/>
                      </a:lnTo>
                      <a:lnTo>
                        <a:pt x="908" y="3336"/>
                      </a:lnTo>
                      <a:lnTo>
                        <a:pt x="903" y="3341"/>
                      </a:lnTo>
                      <a:lnTo>
                        <a:pt x="903" y="3352"/>
                      </a:lnTo>
                      <a:lnTo>
                        <a:pt x="900" y="3357"/>
                      </a:lnTo>
                      <a:lnTo>
                        <a:pt x="900" y="3361"/>
                      </a:lnTo>
                      <a:lnTo>
                        <a:pt x="895" y="3363"/>
                      </a:lnTo>
                      <a:lnTo>
                        <a:pt x="888" y="3366"/>
                      </a:lnTo>
                      <a:lnTo>
                        <a:pt x="888" y="3374"/>
                      </a:lnTo>
                      <a:lnTo>
                        <a:pt x="892" y="3377"/>
                      </a:lnTo>
                      <a:lnTo>
                        <a:pt x="888" y="3380"/>
                      </a:lnTo>
                      <a:lnTo>
                        <a:pt x="888" y="3388"/>
                      </a:lnTo>
                      <a:lnTo>
                        <a:pt x="886" y="3397"/>
                      </a:lnTo>
                      <a:lnTo>
                        <a:pt x="888" y="3399"/>
                      </a:lnTo>
                      <a:lnTo>
                        <a:pt x="888" y="3407"/>
                      </a:lnTo>
                      <a:lnTo>
                        <a:pt x="883" y="3413"/>
                      </a:lnTo>
                      <a:lnTo>
                        <a:pt x="880" y="3413"/>
                      </a:lnTo>
                      <a:lnTo>
                        <a:pt x="878" y="3413"/>
                      </a:lnTo>
                      <a:lnTo>
                        <a:pt x="870" y="3405"/>
                      </a:lnTo>
                      <a:lnTo>
                        <a:pt x="872" y="3399"/>
                      </a:lnTo>
                      <a:lnTo>
                        <a:pt x="875" y="3390"/>
                      </a:lnTo>
                      <a:lnTo>
                        <a:pt x="875" y="3388"/>
                      </a:lnTo>
                      <a:lnTo>
                        <a:pt x="872" y="3385"/>
                      </a:lnTo>
                      <a:lnTo>
                        <a:pt x="870" y="3380"/>
                      </a:lnTo>
                      <a:lnTo>
                        <a:pt x="872" y="3380"/>
                      </a:lnTo>
                      <a:lnTo>
                        <a:pt x="878" y="3374"/>
                      </a:lnTo>
                      <a:lnTo>
                        <a:pt x="878" y="3369"/>
                      </a:lnTo>
                      <a:lnTo>
                        <a:pt x="878" y="3361"/>
                      </a:lnTo>
                      <a:lnTo>
                        <a:pt x="880" y="3361"/>
                      </a:lnTo>
                      <a:lnTo>
                        <a:pt x="878" y="3357"/>
                      </a:lnTo>
                      <a:lnTo>
                        <a:pt x="880" y="3354"/>
                      </a:lnTo>
                      <a:lnTo>
                        <a:pt x="875" y="3352"/>
                      </a:lnTo>
                      <a:lnTo>
                        <a:pt x="875" y="3346"/>
                      </a:lnTo>
                      <a:lnTo>
                        <a:pt x="872" y="3344"/>
                      </a:lnTo>
                      <a:lnTo>
                        <a:pt x="875" y="3344"/>
                      </a:lnTo>
                      <a:lnTo>
                        <a:pt x="875" y="3341"/>
                      </a:lnTo>
                      <a:lnTo>
                        <a:pt x="878" y="3341"/>
                      </a:lnTo>
                      <a:lnTo>
                        <a:pt x="878" y="3336"/>
                      </a:lnTo>
                      <a:lnTo>
                        <a:pt x="880" y="3333"/>
                      </a:lnTo>
                      <a:lnTo>
                        <a:pt x="878" y="3325"/>
                      </a:lnTo>
                      <a:lnTo>
                        <a:pt x="872" y="3325"/>
                      </a:lnTo>
                      <a:lnTo>
                        <a:pt x="875" y="3321"/>
                      </a:lnTo>
                      <a:lnTo>
                        <a:pt x="872" y="3316"/>
                      </a:lnTo>
                      <a:lnTo>
                        <a:pt x="872" y="3313"/>
                      </a:lnTo>
                      <a:lnTo>
                        <a:pt x="870" y="3313"/>
                      </a:lnTo>
                      <a:lnTo>
                        <a:pt x="870" y="3308"/>
                      </a:lnTo>
                      <a:lnTo>
                        <a:pt x="870" y="3305"/>
                      </a:lnTo>
                      <a:lnTo>
                        <a:pt x="867" y="3305"/>
                      </a:lnTo>
                      <a:lnTo>
                        <a:pt x="864" y="3303"/>
                      </a:lnTo>
                      <a:lnTo>
                        <a:pt x="859" y="3303"/>
                      </a:lnTo>
                      <a:lnTo>
                        <a:pt x="856" y="3294"/>
                      </a:lnTo>
                      <a:lnTo>
                        <a:pt x="856" y="3289"/>
                      </a:lnTo>
                      <a:lnTo>
                        <a:pt x="856" y="3285"/>
                      </a:lnTo>
                      <a:lnTo>
                        <a:pt x="850" y="3285"/>
                      </a:lnTo>
                      <a:lnTo>
                        <a:pt x="847" y="3285"/>
                      </a:lnTo>
                      <a:lnTo>
                        <a:pt x="847" y="3283"/>
                      </a:lnTo>
                      <a:lnTo>
                        <a:pt x="845" y="3280"/>
                      </a:lnTo>
                      <a:lnTo>
                        <a:pt x="842" y="3283"/>
                      </a:lnTo>
                      <a:lnTo>
                        <a:pt x="839" y="3277"/>
                      </a:lnTo>
                      <a:lnTo>
                        <a:pt x="836" y="3277"/>
                      </a:lnTo>
                      <a:lnTo>
                        <a:pt x="836" y="3283"/>
                      </a:lnTo>
                      <a:lnTo>
                        <a:pt x="834" y="3283"/>
                      </a:lnTo>
                      <a:lnTo>
                        <a:pt x="834" y="3280"/>
                      </a:lnTo>
                      <a:lnTo>
                        <a:pt x="828" y="3280"/>
                      </a:lnTo>
                      <a:lnTo>
                        <a:pt x="828" y="3283"/>
                      </a:lnTo>
                      <a:lnTo>
                        <a:pt x="826" y="3280"/>
                      </a:lnTo>
                      <a:lnTo>
                        <a:pt x="823" y="3283"/>
                      </a:lnTo>
                      <a:lnTo>
                        <a:pt x="819" y="3277"/>
                      </a:lnTo>
                      <a:lnTo>
                        <a:pt x="817" y="3277"/>
                      </a:lnTo>
                      <a:lnTo>
                        <a:pt x="817" y="3269"/>
                      </a:lnTo>
                      <a:lnTo>
                        <a:pt x="817" y="3264"/>
                      </a:lnTo>
                      <a:lnTo>
                        <a:pt x="814" y="3259"/>
                      </a:lnTo>
                      <a:lnTo>
                        <a:pt x="817" y="3252"/>
                      </a:lnTo>
                      <a:lnTo>
                        <a:pt x="814" y="3247"/>
                      </a:lnTo>
                      <a:lnTo>
                        <a:pt x="811" y="3247"/>
                      </a:lnTo>
                      <a:lnTo>
                        <a:pt x="809" y="3242"/>
                      </a:lnTo>
                      <a:lnTo>
                        <a:pt x="806" y="3242"/>
                      </a:lnTo>
                      <a:lnTo>
                        <a:pt x="803" y="3239"/>
                      </a:lnTo>
                      <a:lnTo>
                        <a:pt x="795" y="3231"/>
                      </a:lnTo>
                      <a:lnTo>
                        <a:pt x="795" y="3234"/>
                      </a:lnTo>
                      <a:lnTo>
                        <a:pt x="793" y="3234"/>
                      </a:lnTo>
                      <a:lnTo>
                        <a:pt x="793" y="3228"/>
                      </a:lnTo>
                      <a:lnTo>
                        <a:pt x="790" y="3228"/>
                      </a:lnTo>
                      <a:lnTo>
                        <a:pt x="787" y="3226"/>
                      </a:lnTo>
                      <a:lnTo>
                        <a:pt x="784" y="3226"/>
                      </a:lnTo>
                      <a:lnTo>
                        <a:pt x="784" y="3223"/>
                      </a:lnTo>
                      <a:lnTo>
                        <a:pt x="781" y="3220"/>
                      </a:lnTo>
                      <a:lnTo>
                        <a:pt x="781" y="3216"/>
                      </a:lnTo>
                      <a:lnTo>
                        <a:pt x="778" y="3216"/>
                      </a:lnTo>
                      <a:lnTo>
                        <a:pt x="776" y="3214"/>
                      </a:lnTo>
                      <a:lnTo>
                        <a:pt x="776" y="3216"/>
                      </a:lnTo>
                      <a:lnTo>
                        <a:pt x="773" y="3216"/>
                      </a:lnTo>
                      <a:lnTo>
                        <a:pt x="770" y="3214"/>
                      </a:lnTo>
                      <a:lnTo>
                        <a:pt x="773" y="3208"/>
                      </a:lnTo>
                      <a:lnTo>
                        <a:pt x="770" y="3206"/>
                      </a:lnTo>
                      <a:lnTo>
                        <a:pt x="770" y="3200"/>
                      </a:lnTo>
                      <a:lnTo>
                        <a:pt x="768" y="3200"/>
                      </a:lnTo>
                      <a:lnTo>
                        <a:pt x="765" y="3200"/>
                      </a:lnTo>
                      <a:lnTo>
                        <a:pt x="762" y="3198"/>
                      </a:lnTo>
                      <a:lnTo>
                        <a:pt x="759" y="3200"/>
                      </a:lnTo>
                      <a:lnTo>
                        <a:pt x="762" y="3203"/>
                      </a:lnTo>
                      <a:lnTo>
                        <a:pt x="759" y="3203"/>
                      </a:lnTo>
                      <a:lnTo>
                        <a:pt x="757" y="3206"/>
                      </a:lnTo>
                      <a:lnTo>
                        <a:pt x="718" y="3264"/>
                      </a:lnTo>
                      <a:lnTo>
                        <a:pt x="715" y="3259"/>
                      </a:lnTo>
                      <a:lnTo>
                        <a:pt x="707" y="3252"/>
                      </a:lnTo>
                      <a:lnTo>
                        <a:pt x="704" y="3247"/>
                      </a:lnTo>
                      <a:lnTo>
                        <a:pt x="701" y="3244"/>
                      </a:lnTo>
                      <a:lnTo>
                        <a:pt x="699" y="3242"/>
                      </a:lnTo>
                      <a:lnTo>
                        <a:pt x="696" y="3242"/>
                      </a:lnTo>
                      <a:lnTo>
                        <a:pt x="690" y="3244"/>
                      </a:lnTo>
                      <a:lnTo>
                        <a:pt x="688" y="3244"/>
                      </a:lnTo>
                      <a:lnTo>
                        <a:pt x="688" y="3242"/>
                      </a:lnTo>
                      <a:lnTo>
                        <a:pt x="676" y="3242"/>
                      </a:lnTo>
                      <a:lnTo>
                        <a:pt x="673" y="3236"/>
                      </a:lnTo>
                      <a:lnTo>
                        <a:pt x="673" y="3234"/>
                      </a:lnTo>
                      <a:lnTo>
                        <a:pt x="676" y="3234"/>
                      </a:lnTo>
                      <a:lnTo>
                        <a:pt x="673" y="3231"/>
                      </a:lnTo>
                      <a:lnTo>
                        <a:pt x="679" y="3226"/>
                      </a:lnTo>
                      <a:lnTo>
                        <a:pt x="679" y="3223"/>
                      </a:lnTo>
                      <a:lnTo>
                        <a:pt x="679" y="3220"/>
                      </a:lnTo>
                      <a:lnTo>
                        <a:pt x="681" y="3216"/>
                      </a:lnTo>
                      <a:lnTo>
                        <a:pt x="673" y="3216"/>
                      </a:lnTo>
                      <a:lnTo>
                        <a:pt x="668" y="3211"/>
                      </a:lnTo>
                      <a:lnTo>
                        <a:pt x="665" y="3211"/>
                      </a:lnTo>
                      <a:lnTo>
                        <a:pt x="660" y="3192"/>
                      </a:lnTo>
                      <a:lnTo>
                        <a:pt x="652" y="3198"/>
                      </a:lnTo>
                      <a:lnTo>
                        <a:pt x="649" y="3206"/>
                      </a:lnTo>
                      <a:lnTo>
                        <a:pt x="646" y="3206"/>
                      </a:lnTo>
                      <a:lnTo>
                        <a:pt x="640" y="3211"/>
                      </a:lnTo>
                      <a:lnTo>
                        <a:pt x="632" y="3216"/>
                      </a:lnTo>
                      <a:lnTo>
                        <a:pt x="630" y="3220"/>
                      </a:lnTo>
                      <a:lnTo>
                        <a:pt x="630" y="3226"/>
                      </a:lnTo>
                      <a:lnTo>
                        <a:pt x="624" y="3228"/>
                      </a:lnTo>
                      <a:lnTo>
                        <a:pt x="621" y="3231"/>
                      </a:lnTo>
                      <a:lnTo>
                        <a:pt x="619" y="3228"/>
                      </a:lnTo>
                      <a:lnTo>
                        <a:pt x="616" y="3231"/>
                      </a:lnTo>
                      <a:lnTo>
                        <a:pt x="612" y="3234"/>
                      </a:lnTo>
                      <a:lnTo>
                        <a:pt x="612" y="3236"/>
                      </a:lnTo>
                      <a:lnTo>
                        <a:pt x="607" y="3239"/>
                      </a:lnTo>
                      <a:lnTo>
                        <a:pt x="607" y="3247"/>
                      </a:lnTo>
                      <a:lnTo>
                        <a:pt x="604" y="3252"/>
                      </a:lnTo>
                      <a:lnTo>
                        <a:pt x="604" y="3256"/>
                      </a:lnTo>
                      <a:lnTo>
                        <a:pt x="602" y="3256"/>
                      </a:lnTo>
                      <a:lnTo>
                        <a:pt x="599" y="3259"/>
                      </a:lnTo>
                      <a:lnTo>
                        <a:pt x="594" y="3269"/>
                      </a:lnTo>
                      <a:lnTo>
                        <a:pt x="594" y="3272"/>
                      </a:lnTo>
                      <a:lnTo>
                        <a:pt x="596" y="3272"/>
                      </a:lnTo>
                      <a:lnTo>
                        <a:pt x="596" y="3277"/>
                      </a:lnTo>
                      <a:lnTo>
                        <a:pt x="594" y="3277"/>
                      </a:lnTo>
                      <a:lnTo>
                        <a:pt x="586" y="3292"/>
                      </a:lnTo>
                      <a:lnTo>
                        <a:pt x="577" y="3303"/>
                      </a:lnTo>
                      <a:lnTo>
                        <a:pt x="571" y="3308"/>
                      </a:lnTo>
                      <a:lnTo>
                        <a:pt x="563" y="3325"/>
                      </a:lnTo>
                      <a:lnTo>
                        <a:pt x="563" y="3328"/>
                      </a:lnTo>
                      <a:lnTo>
                        <a:pt x="569" y="3330"/>
                      </a:lnTo>
                      <a:lnTo>
                        <a:pt x="569" y="3336"/>
                      </a:lnTo>
                      <a:lnTo>
                        <a:pt x="566" y="3341"/>
                      </a:lnTo>
                      <a:lnTo>
                        <a:pt x="563" y="3346"/>
                      </a:lnTo>
                      <a:lnTo>
                        <a:pt x="569" y="3354"/>
                      </a:lnTo>
                      <a:lnTo>
                        <a:pt x="566" y="3361"/>
                      </a:lnTo>
                      <a:lnTo>
                        <a:pt x="569" y="3366"/>
                      </a:lnTo>
                      <a:lnTo>
                        <a:pt x="566" y="3372"/>
                      </a:lnTo>
                      <a:lnTo>
                        <a:pt x="569" y="3380"/>
                      </a:lnTo>
                      <a:lnTo>
                        <a:pt x="569" y="3382"/>
                      </a:lnTo>
                      <a:lnTo>
                        <a:pt x="569" y="3388"/>
                      </a:lnTo>
                      <a:lnTo>
                        <a:pt x="558" y="3397"/>
                      </a:lnTo>
                      <a:lnTo>
                        <a:pt x="519" y="3374"/>
                      </a:lnTo>
                      <a:lnTo>
                        <a:pt x="461" y="3341"/>
                      </a:lnTo>
                      <a:lnTo>
                        <a:pt x="340" y="3269"/>
                      </a:lnTo>
                      <a:lnTo>
                        <a:pt x="336" y="3267"/>
                      </a:lnTo>
                      <a:lnTo>
                        <a:pt x="334" y="3267"/>
                      </a:lnTo>
                      <a:lnTo>
                        <a:pt x="326" y="3264"/>
                      </a:lnTo>
                      <a:lnTo>
                        <a:pt x="320" y="3264"/>
                      </a:lnTo>
                      <a:lnTo>
                        <a:pt x="310" y="3256"/>
                      </a:lnTo>
                      <a:lnTo>
                        <a:pt x="307" y="3259"/>
                      </a:lnTo>
                      <a:lnTo>
                        <a:pt x="301" y="3252"/>
                      </a:lnTo>
                      <a:lnTo>
                        <a:pt x="295" y="3250"/>
                      </a:lnTo>
                      <a:lnTo>
                        <a:pt x="287" y="3252"/>
                      </a:lnTo>
                      <a:lnTo>
                        <a:pt x="285" y="3252"/>
                      </a:lnTo>
                      <a:lnTo>
                        <a:pt x="282" y="3247"/>
                      </a:lnTo>
                      <a:lnTo>
                        <a:pt x="274" y="3247"/>
                      </a:lnTo>
                      <a:lnTo>
                        <a:pt x="271" y="3242"/>
                      </a:lnTo>
                      <a:lnTo>
                        <a:pt x="259" y="3242"/>
                      </a:lnTo>
                      <a:lnTo>
                        <a:pt x="257" y="3244"/>
                      </a:lnTo>
                      <a:lnTo>
                        <a:pt x="251" y="3242"/>
                      </a:lnTo>
                      <a:lnTo>
                        <a:pt x="241" y="3239"/>
                      </a:lnTo>
                      <a:lnTo>
                        <a:pt x="238" y="3236"/>
                      </a:lnTo>
                      <a:lnTo>
                        <a:pt x="232" y="3239"/>
                      </a:lnTo>
                      <a:lnTo>
                        <a:pt x="229" y="3236"/>
                      </a:lnTo>
                      <a:lnTo>
                        <a:pt x="226" y="3236"/>
                      </a:lnTo>
                      <a:lnTo>
                        <a:pt x="226" y="3239"/>
                      </a:lnTo>
                      <a:lnTo>
                        <a:pt x="221" y="3236"/>
                      </a:lnTo>
                      <a:lnTo>
                        <a:pt x="221" y="3234"/>
                      </a:lnTo>
                      <a:lnTo>
                        <a:pt x="218" y="3234"/>
                      </a:lnTo>
                      <a:lnTo>
                        <a:pt x="216" y="3228"/>
                      </a:lnTo>
                      <a:lnTo>
                        <a:pt x="216" y="3231"/>
                      </a:lnTo>
                      <a:lnTo>
                        <a:pt x="210" y="3228"/>
                      </a:lnTo>
                      <a:lnTo>
                        <a:pt x="210" y="3223"/>
                      </a:lnTo>
                      <a:lnTo>
                        <a:pt x="207" y="3223"/>
                      </a:lnTo>
                      <a:lnTo>
                        <a:pt x="207" y="3220"/>
                      </a:lnTo>
                      <a:lnTo>
                        <a:pt x="205" y="3223"/>
                      </a:lnTo>
                      <a:lnTo>
                        <a:pt x="205" y="3220"/>
                      </a:lnTo>
                      <a:lnTo>
                        <a:pt x="198" y="3220"/>
                      </a:lnTo>
                      <a:lnTo>
                        <a:pt x="198" y="3216"/>
                      </a:lnTo>
                      <a:lnTo>
                        <a:pt x="193" y="3216"/>
                      </a:lnTo>
                      <a:lnTo>
                        <a:pt x="196" y="3216"/>
                      </a:lnTo>
                      <a:lnTo>
                        <a:pt x="190" y="3214"/>
                      </a:lnTo>
                      <a:lnTo>
                        <a:pt x="190" y="3216"/>
                      </a:lnTo>
                      <a:lnTo>
                        <a:pt x="188" y="3214"/>
                      </a:lnTo>
                      <a:lnTo>
                        <a:pt x="185" y="3214"/>
                      </a:lnTo>
                      <a:lnTo>
                        <a:pt x="185" y="3211"/>
                      </a:lnTo>
                      <a:lnTo>
                        <a:pt x="182" y="3214"/>
                      </a:lnTo>
                      <a:lnTo>
                        <a:pt x="182" y="3208"/>
                      </a:lnTo>
                      <a:lnTo>
                        <a:pt x="180" y="3208"/>
                      </a:lnTo>
                      <a:lnTo>
                        <a:pt x="180" y="3206"/>
                      </a:lnTo>
                      <a:lnTo>
                        <a:pt x="177" y="3206"/>
                      </a:lnTo>
                      <a:lnTo>
                        <a:pt x="177" y="3200"/>
                      </a:lnTo>
                      <a:lnTo>
                        <a:pt x="174" y="3198"/>
                      </a:lnTo>
                      <a:lnTo>
                        <a:pt x="177" y="3192"/>
                      </a:lnTo>
                      <a:lnTo>
                        <a:pt x="180" y="3190"/>
                      </a:lnTo>
                      <a:lnTo>
                        <a:pt x="177" y="3184"/>
                      </a:lnTo>
                      <a:lnTo>
                        <a:pt x="182" y="3178"/>
                      </a:lnTo>
                      <a:lnTo>
                        <a:pt x="180" y="3175"/>
                      </a:lnTo>
                      <a:lnTo>
                        <a:pt x="182" y="3173"/>
                      </a:lnTo>
                      <a:lnTo>
                        <a:pt x="180" y="3173"/>
                      </a:lnTo>
                      <a:lnTo>
                        <a:pt x="185" y="3170"/>
                      </a:lnTo>
                      <a:lnTo>
                        <a:pt x="185" y="3162"/>
                      </a:lnTo>
                      <a:lnTo>
                        <a:pt x="180" y="3159"/>
                      </a:lnTo>
                      <a:lnTo>
                        <a:pt x="182" y="3157"/>
                      </a:lnTo>
                      <a:lnTo>
                        <a:pt x="182" y="3154"/>
                      </a:lnTo>
                      <a:lnTo>
                        <a:pt x="180" y="3147"/>
                      </a:lnTo>
                      <a:lnTo>
                        <a:pt x="182" y="3145"/>
                      </a:lnTo>
                      <a:lnTo>
                        <a:pt x="182" y="3147"/>
                      </a:lnTo>
                      <a:lnTo>
                        <a:pt x="182" y="3151"/>
                      </a:lnTo>
                      <a:lnTo>
                        <a:pt x="182" y="3147"/>
                      </a:lnTo>
                      <a:lnTo>
                        <a:pt x="185" y="3147"/>
                      </a:lnTo>
                      <a:lnTo>
                        <a:pt x="188" y="3151"/>
                      </a:lnTo>
                      <a:lnTo>
                        <a:pt x="188" y="3145"/>
                      </a:lnTo>
                      <a:lnTo>
                        <a:pt x="190" y="3147"/>
                      </a:lnTo>
                      <a:lnTo>
                        <a:pt x="193" y="3147"/>
                      </a:lnTo>
                      <a:lnTo>
                        <a:pt x="190" y="3145"/>
                      </a:lnTo>
                      <a:lnTo>
                        <a:pt x="193" y="3139"/>
                      </a:lnTo>
                      <a:lnTo>
                        <a:pt x="193" y="3137"/>
                      </a:lnTo>
                      <a:lnTo>
                        <a:pt x="196" y="3131"/>
                      </a:lnTo>
                      <a:lnTo>
                        <a:pt x="196" y="3129"/>
                      </a:lnTo>
                      <a:lnTo>
                        <a:pt x="198" y="3123"/>
                      </a:lnTo>
                      <a:lnTo>
                        <a:pt x="202" y="3126"/>
                      </a:lnTo>
                      <a:lnTo>
                        <a:pt x="205" y="3123"/>
                      </a:lnTo>
                      <a:lnTo>
                        <a:pt x="202" y="3112"/>
                      </a:lnTo>
                      <a:lnTo>
                        <a:pt x="205" y="3104"/>
                      </a:lnTo>
                      <a:lnTo>
                        <a:pt x="207" y="3104"/>
                      </a:lnTo>
                      <a:lnTo>
                        <a:pt x="207" y="3106"/>
                      </a:lnTo>
                      <a:lnTo>
                        <a:pt x="210" y="3106"/>
                      </a:lnTo>
                      <a:lnTo>
                        <a:pt x="218" y="3101"/>
                      </a:lnTo>
                      <a:lnTo>
                        <a:pt x="218" y="3098"/>
                      </a:lnTo>
                      <a:lnTo>
                        <a:pt x="224" y="3098"/>
                      </a:lnTo>
                      <a:lnTo>
                        <a:pt x="221" y="3095"/>
                      </a:lnTo>
                      <a:lnTo>
                        <a:pt x="218" y="3093"/>
                      </a:lnTo>
                      <a:lnTo>
                        <a:pt x="218" y="3095"/>
                      </a:lnTo>
                      <a:lnTo>
                        <a:pt x="216" y="3098"/>
                      </a:lnTo>
                      <a:lnTo>
                        <a:pt x="216" y="3093"/>
                      </a:lnTo>
                      <a:lnTo>
                        <a:pt x="210" y="3090"/>
                      </a:lnTo>
                      <a:lnTo>
                        <a:pt x="207" y="3085"/>
                      </a:lnTo>
                      <a:lnTo>
                        <a:pt x="213" y="3079"/>
                      </a:lnTo>
                      <a:lnTo>
                        <a:pt x="213" y="3065"/>
                      </a:lnTo>
                      <a:lnTo>
                        <a:pt x="216" y="3065"/>
                      </a:lnTo>
                      <a:lnTo>
                        <a:pt x="218" y="3062"/>
                      </a:lnTo>
                      <a:lnTo>
                        <a:pt x="218" y="3057"/>
                      </a:lnTo>
                      <a:lnTo>
                        <a:pt x="221" y="3054"/>
                      </a:lnTo>
                      <a:lnTo>
                        <a:pt x="226" y="3052"/>
                      </a:lnTo>
                      <a:lnTo>
                        <a:pt x="229" y="3049"/>
                      </a:lnTo>
                      <a:lnTo>
                        <a:pt x="229" y="3046"/>
                      </a:lnTo>
                      <a:lnTo>
                        <a:pt x="234" y="3046"/>
                      </a:lnTo>
                      <a:lnTo>
                        <a:pt x="234" y="3043"/>
                      </a:lnTo>
                      <a:lnTo>
                        <a:pt x="238" y="3043"/>
                      </a:lnTo>
                      <a:lnTo>
                        <a:pt x="238" y="3035"/>
                      </a:lnTo>
                      <a:lnTo>
                        <a:pt x="243" y="3027"/>
                      </a:lnTo>
                      <a:lnTo>
                        <a:pt x="232" y="3032"/>
                      </a:lnTo>
                      <a:lnTo>
                        <a:pt x="232" y="3037"/>
                      </a:lnTo>
                      <a:lnTo>
                        <a:pt x="229" y="3040"/>
                      </a:lnTo>
                      <a:lnTo>
                        <a:pt x="226" y="3040"/>
                      </a:lnTo>
                      <a:lnTo>
                        <a:pt x="224" y="3037"/>
                      </a:lnTo>
                      <a:lnTo>
                        <a:pt x="224" y="3035"/>
                      </a:lnTo>
                      <a:lnTo>
                        <a:pt x="221" y="3035"/>
                      </a:lnTo>
                      <a:lnTo>
                        <a:pt x="221" y="3037"/>
                      </a:lnTo>
                      <a:lnTo>
                        <a:pt x="226" y="3040"/>
                      </a:lnTo>
                      <a:lnTo>
                        <a:pt x="226" y="3043"/>
                      </a:lnTo>
                      <a:lnTo>
                        <a:pt x="221" y="3043"/>
                      </a:lnTo>
                      <a:lnTo>
                        <a:pt x="216" y="3046"/>
                      </a:lnTo>
                      <a:lnTo>
                        <a:pt x="213" y="3046"/>
                      </a:lnTo>
                      <a:lnTo>
                        <a:pt x="218" y="3049"/>
                      </a:lnTo>
                      <a:lnTo>
                        <a:pt x="210" y="3049"/>
                      </a:lnTo>
                      <a:lnTo>
                        <a:pt x="207" y="3054"/>
                      </a:lnTo>
                      <a:lnTo>
                        <a:pt x="198" y="3054"/>
                      </a:lnTo>
                      <a:lnTo>
                        <a:pt x="196" y="3062"/>
                      </a:lnTo>
                      <a:lnTo>
                        <a:pt x="193" y="3062"/>
                      </a:lnTo>
                      <a:lnTo>
                        <a:pt x="185" y="3062"/>
                      </a:lnTo>
                      <a:lnTo>
                        <a:pt x="185" y="3065"/>
                      </a:lnTo>
                      <a:lnTo>
                        <a:pt x="174" y="3070"/>
                      </a:lnTo>
                      <a:lnTo>
                        <a:pt x="172" y="3073"/>
                      </a:lnTo>
                      <a:lnTo>
                        <a:pt x="172" y="3076"/>
                      </a:lnTo>
                      <a:lnTo>
                        <a:pt x="174" y="3079"/>
                      </a:lnTo>
                      <a:lnTo>
                        <a:pt x="174" y="3082"/>
                      </a:lnTo>
                      <a:lnTo>
                        <a:pt x="169" y="3079"/>
                      </a:lnTo>
                      <a:lnTo>
                        <a:pt x="165" y="3079"/>
                      </a:lnTo>
                      <a:lnTo>
                        <a:pt x="169" y="3085"/>
                      </a:lnTo>
                      <a:lnTo>
                        <a:pt x="165" y="3087"/>
                      </a:lnTo>
                      <a:lnTo>
                        <a:pt x="160" y="3085"/>
                      </a:lnTo>
                      <a:lnTo>
                        <a:pt x="160" y="3087"/>
                      </a:lnTo>
                      <a:lnTo>
                        <a:pt x="160" y="3090"/>
                      </a:lnTo>
                      <a:lnTo>
                        <a:pt x="155" y="3090"/>
                      </a:lnTo>
                      <a:lnTo>
                        <a:pt x="152" y="3090"/>
                      </a:lnTo>
                      <a:lnTo>
                        <a:pt x="155" y="3093"/>
                      </a:lnTo>
                      <a:lnTo>
                        <a:pt x="152" y="3095"/>
                      </a:lnTo>
                      <a:lnTo>
                        <a:pt x="152" y="3101"/>
                      </a:lnTo>
                      <a:lnTo>
                        <a:pt x="152" y="3104"/>
                      </a:lnTo>
                      <a:lnTo>
                        <a:pt x="147" y="3104"/>
                      </a:lnTo>
                      <a:lnTo>
                        <a:pt x="144" y="3109"/>
                      </a:lnTo>
                      <a:lnTo>
                        <a:pt x="141" y="3115"/>
                      </a:lnTo>
                      <a:lnTo>
                        <a:pt x="144" y="3115"/>
                      </a:lnTo>
                      <a:lnTo>
                        <a:pt x="141" y="3118"/>
                      </a:lnTo>
                      <a:lnTo>
                        <a:pt x="136" y="3121"/>
                      </a:lnTo>
                      <a:lnTo>
                        <a:pt x="132" y="3123"/>
                      </a:lnTo>
                      <a:lnTo>
                        <a:pt x="136" y="3131"/>
                      </a:lnTo>
                      <a:lnTo>
                        <a:pt x="132" y="3134"/>
                      </a:lnTo>
                      <a:lnTo>
                        <a:pt x="127" y="3131"/>
                      </a:lnTo>
                      <a:lnTo>
                        <a:pt x="121" y="3137"/>
                      </a:lnTo>
                      <a:lnTo>
                        <a:pt x="124" y="3137"/>
                      </a:lnTo>
                      <a:lnTo>
                        <a:pt x="124" y="3134"/>
                      </a:lnTo>
                      <a:lnTo>
                        <a:pt x="127" y="3134"/>
                      </a:lnTo>
                      <a:lnTo>
                        <a:pt x="127" y="3137"/>
                      </a:lnTo>
                      <a:lnTo>
                        <a:pt x="124" y="3139"/>
                      </a:lnTo>
                      <a:lnTo>
                        <a:pt x="127" y="3142"/>
                      </a:lnTo>
                      <a:lnTo>
                        <a:pt x="124" y="3145"/>
                      </a:lnTo>
                      <a:lnTo>
                        <a:pt x="127" y="3151"/>
                      </a:lnTo>
                      <a:lnTo>
                        <a:pt x="124" y="3154"/>
                      </a:lnTo>
                      <a:lnTo>
                        <a:pt x="121" y="3154"/>
                      </a:lnTo>
                      <a:lnTo>
                        <a:pt x="113" y="3154"/>
                      </a:lnTo>
                      <a:lnTo>
                        <a:pt x="113" y="3157"/>
                      </a:lnTo>
                      <a:lnTo>
                        <a:pt x="108" y="3159"/>
                      </a:lnTo>
                      <a:lnTo>
                        <a:pt x="108" y="3162"/>
                      </a:lnTo>
                      <a:lnTo>
                        <a:pt x="111" y="3165"/>
                      </a:lnTo>
                      <a:lnTo>
                        <a:pt x="113" y="3167"/>
                      </a:lnTo>
                      <a:lnTo>
                        <a:pt x="111" y="3170"/>
                      </a:lnTo>
                      <a:lnTo>
                        <a:pt x="105" y="3173"/>
                      </a:lnTo>
                      <a:lnTo>
                        <a:pt x="105" y="3175"/>
                      </a:lnTo>
                      <a:lnTo>
                        <a:pt x="105" y="3178"/>
                      </a:lnTo>
                      <a:lnTo>
                        <a:pt x="111" y="3178"/>
                      </a:lnTo>
                      <a:lnTo>
                        <a:pt x="108" y="3181"/>
                      </a:lnTo>
                      <a:lnTo>
                        <a:pt x="108" y="3187"/>
                      </a:lnTo>
                      <a:lnTo>
                        <a:pt x="105" y="3187"/>
                      </a:lnTo>
                      <a:lnTo>
                        <a:pt x="103" y="3192"/>
                      </a:lnTo>
                      <a:lnTo>
                        <a:pt x="105" y="3203"/>
                      </a:lnTo>
                      <a:lnTo>
                        <a:pt x="103" y="3203"/>
                      </a:lnTo>
                      <a:lnTo>
                        <a:pt x="100" y="3206"/>
                      </a:lnTo>
                      <a:lnTo>
                        <a:pt x="103" y="3208"/>
                      </a:lnTo>
                      <a:lnTo>
                        <a:pt x="100" y="3214"/>
                      </a:lnTo>
                      <a:lnTo>
                        <a:pt x="94" y="3223"/>
                      </a:lnTo>
                      <a:lnTo>
                        <a:pt x="94" y="3216"/>
                      </a:lnTo>
                      <a:lnTo>
                        <a:pt x="91" y="3211"/>
                      </a:lnTo>
                      <a:lnTo>
                        <a:pt x="86" y="3214"/>
                      </a:lnTo>
                      <a:lnTo>
                        <a:pt x="72" y="3214"/>
                      </a:lnTo>
                      <a:lnTo>
                        <a:pt x="58" y="3208"/>
                      </a:lnTo>
                      <a:lnTo>
                        <a:pt x="58" y="3206"/>
                      </a:lnTo>
                      <a:lnTo>
                        <a:pt x="67" y="3200"/>
                      </a:lnTo>
                      <a:lnTo>
                        <a:pt x="67" y="3198"/>
                      </a:lnTo>
                      <a:lnTo>
                        <a:pt x="63" y="3198"/>
                      </a:lnTo>
                      <a:lnTo>
                        <a:pt x="55" y="3198"/>
                      </a:lnTo>
                      <a:lnTo>
                        <a:pt x="52" y="3206"/>
                      </a:lnTo>
                      <a:lnTo>
                        <a:pt x="50" y="3206"/>
                      </a:lnTo>
                      <a:lnTo>
                        <a:pt x="47" y="3203"/>
                      </a:lnTo>
                      <a:lnTo>
                        <a:pt x="47" y="3198"/>
                      </a:lnTo>
                      <a:lnTo>
                        <a:pt x="52" y="3187"/>
                      </a:lnTo>
                      <a:lnTo>
                        <a:pt x="44" y="3187"/>
                      </a:lnTo>
                      <a:lnTo>
                        <a:pt x="47" y="3181"/>
                      </a:lnTo>
                      <a:lnTo>
                        <a:pt x="47" y="3170"/>
                      </a:lnTo>
                      <a:lnTo>
                        <a:pt x="42" y="3165"/>
                      </a:lnTo>
                      <a:lnTo>
                        <a:pt x="44" y="3157"/>
                      </a:lnTo>
                      <a:lnTo>
                        <a:pt x="39" y="3157"/>
                      </a:lnTo>
                      <a:lnTo>
                        <a:pt x="36" y="3145"/>
                      </a:lnTo>
                      <a:lnTo>
                        <a:pt x="39" y="3139"/>
                      </a:lnTo>
                      <a:lnTo>
                        <a:pt x="39" y="3134"/>
                      </a:lnTo>
                      <a:lnTo>
                        <a:pt x="36" y="3131"/>
                      </a:lnTo>
                      <a:lnTo>
                        <a:pt x="17" y="3134"/>
                      </a:lnTo>
                      <a:lnTo>
                        <a:pt x="17" y="3123"/>
                      </a:lnTo>
                      <a:lnTo>
                        <a:pt x="14" y="3118"/>
                      </a:lnTo>
                      <a:lnTo>
                        <a:pt x="17" y="3112"/>
                      </a:lnTo>
                      <a:lnTo>
                        <a:pt x="19" y="3109"/>
                      </a:lnTo>
                      <a:lnTo>
                        <a:pt x="27" y="3112"/>
                      </a:lnTo>
                      <a:lnTo>
                        <a:pt x="31" y="3112"/>
                      </a:lnTo>
                      <a:lnTo>
                        <a:pt x="31" y="3106"/>
                      </a:lnTo>
                      <a:lnTo>
                        <a:pt x="22" y="3101"/>
                      </a:lnTo>
                      <a:lnTo>
                        <a:pt x="25" y="3093"/>
                      </a:lnTo>
                      <a:lnTo>
                        <a:pt x="31" y="3087"/>
                      </a:lnTo>
                      <a:lnTo>
                        <a:pt x="34" y="3073"/>
                      </a:lnTo>
                      <a:lnTo>
                        <a:pt x="39" y="3065"/>
                      </a:lnTo>
                      <a:lnTo>
                        <a:pt x="36" y="3054"/>
                      </a:lnTo>
                      <a:lnTo>
                        <a:pt x="42" y="3052"/>
                      </a:lnTo>
                      <a:lnTo>
                        <a:pt x="47" y="3054"/>
                      </a:lnTo>
                      <a:lnTo>
                        <a:pt x="47" y="3052"/>
                      </a:lnTo>
                      <a:lnTo>
                        <a:pt x="50" y="3040"/>
                      </a:lnTo>
                      <a:lnTo>
                        <a:pt x="44" y="3037"/>
                      </a:lnTo>
                      <a:lnTo>
                        <a:pt x="47" y="3024"/>
                      </a:lnTo>
                      <a:lnTo>
                        <a:pt x="44" y="3016"/>
                      </a:lnTo>
                      <a:lnTo>
                        <a:pt x="39" y="3007"/>
                      </a:lnTo>
                      <a:lnTo>
                        <a:pt x="42" y="2999"/>
                      </a:lnTo>
                      <a:lnTo>
                        <a:pt x="39" y="2996"/>
                      </a:lnTo>
                      <a:lnTo>
                        <a:pt x="39" y="2988"/>
                      </a:lnTo>
                      <a:lnTo>
                        <a:pt x="39" y="2985"/>
                      </a:lnTo>
                      <a:lnTo>
                        <a:pt x="44" y="2980"/>
                      </a:lnTo>
                      <a:lnTo>
                        <a:pt x="44" y="2975"/>
                      </a:lnTo>
                      <a:lnTo>
                        <a:pt x="39" y="2966"/>
                      </a:lnTo>
                      <a:lnTo>
                        <a:pt x="39" y="2955"/>
                      </a:lnTo>
                      <a:lnTo>
                        <a:pt x="36" y="2952"/>
                      </a:lnTo>
                      <a:lnTo>
                        <a:pt x="25" y="2955"/>
                      </a:lnTo>
                      <a:lnTo>
                        <a:pt x="22" y="2947"/>
                      </a:lnTo>
                      <a:lnTo>
                        <a:pt x="25" y="2941"/>
                      </a:lnTo>
                      <a:lnTo>
                        <a:pt x="25" y="2927"/>
                      </a:lnTo>
                      <a:lnTo>
                        <a:pt x="27" y="2922"/>
                      </a:lnTo>
                      <a:lnTo>
                        <a:pt x="27" y="2914"/>
                      </a:lnTo>
                      <a:lnTo>
                        <a:pt x="31" y="2897"/>
                      </a:lnTo>
                      <a:lnTo>
                        <a:pt x="31" y="2889"/>
                      </a:lnTo>
                      <a:lnTo>
                        <a:pt x="22" y="2880"/>
                      </a:lnTo>
                      <a:lnTo>
                        <a:pt x="22" y="2878"/>
                      </a:lnTo>
                      <a:lnTo>
                        <a:pt x="25" y="2870"/>
                      </a:lnTo>
                      <a:lnTo>
                        <a:pt x="25" y="2866"/>
                      </a:lnTo>
                      <a:lnTo>
                        <a:pt x="22" y="2863"/>
                      </a:lnTo>
                      <a:lnTo>
                        <a:pt x="25" y="2858"/>
                      </a:lnTo>
                      <a:lnTo>
                        <a:pt x="36" y="2847"/>
                      </a:lnTo>
                      <a:lnTo>
                        <a:pt x="36" y="2839"/>
                      </a:lnTo>
                      <a:lnTo>
                        <a:pt x="31" y="2830"/>
                      </a:lnTo>
                      <a:lnTo>
                        <a:pt x="34" y="2825"/>
                      </a:lnTo>
                      <a:lnTo>
                        <a:pt x="42" y="2822"/>
                      </a:lnTo>
                      <a:lnTo>
                        <a:pt x="42" y="2814"/>
                      </a:lnTo>
                      <a:lnTo>
                        <a:pt x="34" y="2806"/>
                      </a:lnTo>
                      <a:lnTo>
                        <a:pt x="25" y="2806"/>
                      </a:lnTo>
                      <a:lnTo>
                        <a:pt x="22" y="2803"/>
                      </a:lnTo>
                      <a:lnTo>
                        <a:pt x="22" y="2789"/>
                      </a:lnTo>
                      <a:lnTo>
                        <a:pt x="19" y="2784"/>
                      </a:lnTo>
                      <a:lnTo>
                        <a:pt x="17" y="2778"/>
                      </a:lnTo>
                      <a:lnTo>
                        <a:pt x="14" y="2765"/>
                      </a:lnTo>
                      <a:lnTo>
                        <a:pt x="11" y="2759"/>
                      </a:lnTo>
                      <a:lnTo>
                        <a:pt x="9" y="2753"/>
                      </a:lnTo>
                      <a:lnTo>
                        <a:pt x="9" y="2751"/>
                      </a:lnTo>
                      <a:lnTo>
                        <a:pt x="19" y="2740"/>
                      </a:lnTo>
                      <a:lnTo>
                        <a:pt x="22" y="2737"/>
                      </a:lnTo>
                      <a:lnTo>
                        <a:pt x="27" y="2734"/>
                      </a:lnTo>
                      <a:lnTo>
                        <a:pt x="31" y="2728"/>
                      </a:lnTo>
                      <a:lnTo>
                        <a:pt x="34" y="2725"/>
                      </a:lnTo>
                      <a:lnTo>
                        <a:pt x="34" y="2715"/>
                      </a:lnTo>
                      <a:lnTo>
                        <a:pt x="31" y="2707"/>
                      </a:lnTo>
                      <a:lnTo>
                        <a:pt x="34" y="2701"/>
                      </a:lnTo>
                      <a:lnTo>
                        <a:pt x="34" y="2699"/>
                      </a:lnTo>
                      <a:lnTo>
                        <a:pt x="34" y="2692"/>
                      </a:lnTo>
                      <a:lnTo>
                        <a:pt x="34" y="2690"/>
                      </a:lnTo>
                      <a:lnTo>
                        <a:pt x="31" y="2687"/>
                      </a:lnTo>
                      <a:lnTo>
                        <a:pt x="27" y="2687"/>
                      </a:lnTo>
                      <a:lnTo>
                        <a:pt x="22" y="2687"/>
                      </a:lnTo>
                      <a:lnTo>
                        <a:pt x="11" y="2684"/>
                      </a:lnTo>
                      <a:lnTo>
                        <a:pt x="9" y="2684"/>
                      </a:lnTo>
                      <a:lnTo>
                        <a:pt x="1" y="2668"/>
                      </a:lnTo>
                      <a:lnTo>
                        <a:pt x="3" y="2656"/>
                      </a:lnTo>
                      <a:lnTo>
                        <a:pt x="1" y="2651"/>
                      </a:lnTo>
                      <a:lnTo>
                        <a:pt x="1" y="2640"/>
                      </a:lnTo>
                      <a:lnTo>
                        <a:pt x="1" y="2635"/>
                      </a:lnTo>
                      <a:lnTo>
                        <a:pt x="1" y="2627"/>
                      </a:lnTo>
                      <a:lnTo>
                        <a:pt x="0" y="2627"/>
                      </a:lnTo>
                      <a:close/>
                    </a:path>
                  </a:pathLst>
                </a:custGeom>
                <a:grpFill/>
                <a:ln w="12700" cap="flat" cmpd="sng" algn="ctr">
                  <a:solidFill>
                    <a:schemeClr val="bg1">
                      <a:lumMod val="85000"/>
                    </a:schemeClr>
                  </a:solidFill>
                  <a:prstDash val="solid"/>
                  <a:round/>
                  <a:headEnd type="none" w="med" len="med"/>
                  <a:tailEnd type="none" w="med" len="med"/>
                </a:ln>
              </p:spPr>
            </p:sp>
            <p:sp>
              <p:nvSpPr>
                <p:cNvPr id="64" name="ee4p_BR_25"/>
                <p:cNvSpPr>
                  <a:spLocks/>
                </p:cNvSpPr>
                <p:nvPr>
                  <p:custDataLst>
                    <p:tags r:id="rId26"/>
                  </p:custDataLst>
                </p:nvPr>
              </p:nvSpPr>
              <p:spPr bwMode="auto">
                <a:xfrm>
                  <a:off x="5887111" y="4261298"/>
                  <a:ext cx="232299" cy="397780"/>
                </a:xfrm>
                <a:custGeom>
                  <a:avLst/>
                  <a:gdLst/>
                  <a:ahLst/>
                  <a:cxnLst>
                    <a:cxn ang="0">
                      <a:pos x="11" y="1176"/>
                    </a:cxn>
                    <a:cxn ang="0">
                      <a:pos x="11" y="1145"/>
                    </a:cxn>
                    <a:cxn ang="0">
                      <a:pos x="27" y="1090"/>
                    </a:cxn>
                    <a:cxn ang="0">
                      <a:pos x="16" y="1021"/>
                    </a:cxn>
                    <a:cxn ang="0">
                      <a:pos x="47" y="971"/>
                    </a:cxn>
                    <a:cxn ang="0">
                      <a:pos x="215" y="936"/>
                    </a:cxn>
                    <a:cxn ang="0">
                      <a:pos x="229" y="872"/>
                    </a:cxn>
                    <a:cxn ang="0">
                      <a:pos x="284" y="819"/>
                    </a:cxn>
                    <a:cxn ang="0">
                      <a:pos x="284" y="767"/>
                    </a:cxn>
                    <a:cxn ang="0">
                      <a:pos x="318" y="718"/>
                    </a:cxn>
                    <a:cxn ang="0">
                      <a:pos x="345" y="673"/>
                    </a:cxn>
                    <a:cxn ang="0">
                      <a:pos x="384" y="624"/>
                    </a:cxn>
                    <a:cxn ang="0">
                      <a:pos x="384" y="588"/>
                    </a:cxn>
                    <a:cxn ang="0">
                      <a:pos x="387" y="549"/>
                    </a:cxn>
                    <a:cxn ang="0">
                      <a:pos x="367" y="514"/>
                    </a:cxn>
                    <a:cxn ang="0">
                      <a:pos x="331" y="488"/>
                    </a:cxn>
                    <a:cxn ang="0">
                      <a:pos x="336" y="455"/>
                    </a:cxn>
                    <a:cxn ang="0">
                      <a:pos x="298" y="417"/>
                    </a:cxn>
                    <a:cxn ang="0">
                      <a:pos x="257" y="403"/>
                    </a:cxn>
                    <a:cxn ang="0">
                      <a:pos x="318" y="397"/>
                    </a:cxn>
                    <a:cxn ang="0">
                      <a:pos x="387" y="376"/>
                    </a:cxn>
                    <a:cxn ang="0">
                      <a:pos x="336" y="317"/>
                    </a:cxn>
                    <a:cxn ang="0">
                      <a:pos x="348" y="238"/>
                    </a:cxn>
                    <a:cxn ang="0">
                      <a:pos x="295" y="196"/>
                    </a:cxn>
                    <a:cxn ang="0">
                      <a:pos x="318" y="133"/>
                    </a:cxn>
                    <a:cxn ang="0">
                      <a:pos x="364" y="105"/>
                    </a:cxn>
                    <a:cxn ang="0">
                      <a:pos x="397" y="94"/>
                    </a:cxn>
                    <a:cxn ang="0">
                      <a:pos x="447" y="92"/>
                    </a:cxn>
                    <a:cxn ang="0">
                      <a:pos x="436" y="28"/>
                    </a:cxn>
                    <a:cxn ang="0">
                      <a:pos x="472" y="47"/>
                    </a:cxn>
                    <a:cxn ang="0">
                      <a:pos x="513" y="23"/>
                    </a:cxn>
                    <a:cxn ang="0">
                      <a:pos x="593" y="13"/>
                    </a:cxn>
                    <a:cxn ang="0">
                      <a:pos x="654" y="31"/>
                    </a:cxn>
                    <a:cxn ang="0">
                      <a:pos x="878" y="243"/>
                    </a:cxn>
                    <a:cxn ang="0">
                      <a:pos x="888" y="593"/>
                    </a:cxn>
                    <a:cxn ang="0">
                      <a:pos x="742" y="803"/>
                    </a:cxn>
                    <a:cxn ang="0">
                      <a:pos x="709" y="869"/>
                    </a:cxn>
                    <a:cxn ang="0">
                      <a:pos x="684" y="969"/>
                    </a:cxn>
                    <a:cxn ang="0">
                      <a:pos x="643" y="1010"/>
                    </a:cxn>
                    <a:cxn ang="0">
                      <a:pos x="654" y="1021"/>
                    </a:cxn>
                    <a:cxn ang="0">
                      <a:pos x="612" y="1101"/>
                    </a:cxn>
                    <a:cxn ang="0">
                      <a:pos x="574" y="1148"/>
                    </a:cxn>
                    <a:cxn ang="0">
                      <a:pos x="558" y="1164"/>
                    </a:cxn>
                    <a:cxn ang="0">
                      <a:pos x="543" y="1195"/>
                    </a:cxn>
                    <a:cxn ang="0">
                      <a:pos x="505" y="1230"/>
                    </a:cxn>
                    <a:cxn ang="0">
                      <a:pos x="486" y="1228"/>
                    </a:cxn>
                    <a:cxn ang="0">
                      <a:pos x="469" y="1236"/>
                    </a:cxn>
                    <a:cxn ang="0">
                      <a:pos x="433" y="1299"/>
                    </a:cxn>
                    <a:cxn ang="0">
                      <a:pos x="372" y="1429"/>
                    </a:cxn>
                    <a:cxn ang="0">
                      <a:pos x="339" y="1410"/>
                    </a:cxn>
                    <a:cxn ang="0">
                      <a:pos x="282" y="1404"/>
                    </a:cxn>
                    <a:cxn ang="0">
                      <a:pos x="262" y="1396"/>
                    </a:cxn>
                    <a:cxn ang="0">
                      <a:pos x="223" y="1393"/>
                    </a:cxn>
                    <a:cxn ang="0">
                      <a:pos x="179" y="1393"/>
                    </a:cxn>
                    <a:cxn ang="0">
                      <a:pos x="127" y="1380"/>
                    </a:cxn>
                    <a:cxn ang="0">
                      <a:pos x="80" y="1358"/>
                    </a:cxn>
                    <a:cxn ang="0">
                      <a:pos x="63" y="1333"/>
                    </a:cxn>
                    <a:cxn ang="0">
                      <a:pos x="63" y="1305"/>
                    </a:cxn>
                    <a:cxn ang="0">
                      <a:pos x="66" y="1250"/>
                    </a:cxn>
                    <a:cxn ang="0">
                      <a:pos x="32" y="1220"/>
                    </a:cxn>
                  </a:cxnLst>
                  <a:rect l="0" t="0" r="r" b="b"/>
                  <a:pathLst>
                    <a:path w="897" h="1429">
                      <a:moveTo>
                        <a:pt x="0" y="1206"/>
                      </a:moveTo>
                      <a:lnTo>
                        <a:pt x="0" y="1204"/>
                      </a:lnTo>
                      <a:lnTo>
                        <a:pt x="0" y="1200"/>
                      </a:lnTo>
                      <a:lnTo>
                        <a:pt x="0" y="1195"/>
                      </a:lnTo>
                      <a:lnTo>
                        <a:pt x="6" y="1195"/>
                      </a:lnTo>
                      <a:lnTo>
                        <a:pt x="6" y="1197"/>
                      </a:lnTo>
                      <a:lnTo>
                        <a:pt x="8" y="1197"/>
                      </a:lnTo>
                      <a:lnTo>
                        <a:pt x="6" y="1189"/>
                      </a:lnTo>
                      <a:lnTo>
                        <a:pt x="3" y="1187"/>
                      </a:lnTo>
                      <a:lnTo>
                        <a:pt x="6" y="1187"/>
                      </a:lnTo>
                      <a:lnTo>
                        <a:pt x="8" y="1184"/>
                      </a:lnTo>
                      <a:lnTo>
                        <a:pt x="6" y="1181"/>
                      </a:lnTo>
                      <a:lnTo>
                        <a:pt x="8" y="1178"/>
                      </a:lnTo>
                      <a:lnTo>
                        <a:pt x="11" y="1176"/>
                      </a:lnTo>
                      <a:lnTo>
                        <a:pt x="11" y="1173"/>
                      </a:lnTo>
                      <a:lnTo>
                        <a:pt x="14" y="1170"/>
                      </a:lnTo>
                      <a:lnTo>
                        <a:pt x="16" y="1164"/>
                      </a:lnTo>
                      <a:lnTo>
                        <a:pt x="22" y="1161"/>
                      </a:lnTo>
                      <a:lnTo>
                        <a:pt x="19" y="1159"/>
                      </a:lnTo>
                      <a:lnTo>
                        <a:pt x="22" y="1159"/>
                      </a:lnTo>
                      <a:lnTo>
                        <a:pt x="24" y="1156"/>
                      </a:lnTo>
                      <a:lnTo>
                        <a:pt x="27" y="1153"/>
                      </a:lnTo>
                      <a:lnTo>
                        <a:pt x="24" y="1151"/>
                      </a:lnTo>
                      <a:lnTo>
                        <a:pt x="24" y="1153"/>
                      </a:lnTo>
                      <a:lnTo>
                        <a:pt x="22" y="1151"/>
                      </a:lnTo>
                      <a:lnTo>
                        <a:pt x="24" y="1145"/>
                      </a:lnTo>
                      <a:lnTo>
                        <a:pt x="19" y="1145"/>
                      </a:lnTo>
                      <a:lnTo>
                        <a:pt x="11" y="1145"/>
                      </a:lnTo>
                      <a:lnTo>
                        <a:pt x="8" y="1143"/>
                      </a:lnTo>
                      <a:lnTo>
                        <a:pt x="8" y="1140"/>
                      </a:lnTo>
                      <a:lnTo>
                        <a:pt x="11" y="1137"/>
                      </a:lnTo>
                      <a:lnTo>
                        <a:pt x="14" y="1135"/>
                      </a:lnTo>
                      <a:lnTo>
                        <a:pt x="14" y="1128"/>
                      </a:lnTo>
                      <a:lnTo>
                        <a:pt x="19" y="1120"/>
                      </a:lnTo>
                      <a:lnTo>
                        <a:pt x="19" y="1117"/>
                      </a:lnTo>
                      <a:lnTo>
                        <a:pt x="22" y="1115"/>
                      </a:lnTo>
                      <a:lnTo>
                        <a:pt x="27" y="1115"/>
                      </a:lnTo>
                      <a:lnTo>
                        <a:pt x="27" y="1112"/>
                      </a:lnTo>
                      <a:lnTo>
                        <a:pt x="27" y="1109"/>
                      </a:lnTo>
                      <a:lnTo>
                        <a:pt x="24" y="1101"/>
                      </a:lnTo>
                      <a:lnTo>
                        <a:pt x="27" y="1098"/>
                      </a:lnTo>
                      <a:lnTo>
                        <a:pt x="27" y="1090"/>
                      </a:lnTo>
                      <a:lnTo>
                        <a:pt x="30" y="1084"/>
                      </a:lnTo>
                      <a:lnTo>
                        <a:pt x="30" y="1071"/>
                      </a:lnTo>
                      <a:lnTo>
                        <a:pt x="30" y="1066"/>
                      </a:lnTo>
                      <a:lnTo>
                        <a:pt x="30" y="1059"/>
                      </a:lnTo>
                      <a:lnTo>
                        <a:pt x="16" y="1056"/>
                      </a:lnTo>
                      <a:lnTo>
                        <a:pt x="11" y="1043"/>
                      </a:lnTo>
                      <a:lnTo>
                        <a:pt x="11" y="1040"/>
                      </a:lnTo>
                      <a:lnTo>
                        <a:pt x="6" y="1040"/>
                      </a:lnTo>
                      <a:lnTo>
                        <a:pt x="8" y="1032"/>
                      </a:lnTo>
                      <a:lnTo>
                        <a:pt x="8" y="1030"/>
                      </a:lnTo>
                      <a:lnTo>
                        <a:pt x="14" y="1026"/>
                      </a:lnTo>
                      <a:lnTo>
                        <a:pt x="11" y="1021"/>
                      </a:lnTo>
                      <a:lnTo>
                        <a:pt x="14" y="1021"/>
                      </a:lnTo>
                      <a:lnTo>
                        <a:pt x="16" y="1021"/>
                      </a:lnTo>
                      <a:lnTo>
                        <a:pt x="19" y="1018"/>
                      </a:lnTo>
                      <a:lnTo>
                        <a:pt x="22" y="1015"/>
                      </a:lnTo>
                      <a:lnTo>
                        <a:pt x="27" y="1013"/>
                      </a:lnTo>
                      <a:lnTo>
                        <a:pt x="30" y="1010"/>
                      </a:lnTo>
                      <a:lnTo>
                        <a:pt x="30" y="1007"/>
                      </a:lnTo>
                      <a:lnTo>
                        <a:pt x="39" y="1007"/>
                      </a:lnTo>
                      <a:lnTo>
                        <a:pt x="41" y="1005"/>
                      </a:lnTo>
                      <a:lnTo>
                        <a:pt x="39" y="1002"/>
                      </a:lnTo>
                      <a:lnTo>
                        <a:pt x="41" y="993"/>
                      </a:lnTo>
                      <a:lnTo>
                        <a:pt x="44" y="990"/>
                      </a:lnTo>
                      <a:lnTo>
                        <a:pt x="44" y="979"/>
                      </a:lnTo>
                      <a:lnTo>
                        <a:pt x="44" y="977"/>
                      </a:lnTo>
                      <a:lnTo>
                        <a:pt x="47" y="974"/>
                      </a:lnTo>
                      <a:lnTo>
                        <a:pt x="47" y="971"/>
                      </a:lnTo>
                      <a:lnTo>
                        <a:pt x="85" y="971"/>
                      </a:lnTo>
                      <a:lnTo>
                        <a:pt x="171" y="971"/>
                      </a:lnTo>
                      <a:lnTo>
                        <a:pt x="188" y="971"/>
                      </a:lnTo>
                      <a:lnTo>
                        <a:pt x="188" y="969"/>
                      </a:lnTo>
                      <a:lnTo>
                        <a:pt x="190" y="966"/>
                      </a:lnTo>
                      <a:lnTo>
                        <a:pt x="193" y="969"/>
                      </a:lnTo>
                      <a:lnTo>
                        <a:pt x="201" y="963"/>
                      </a:lnTo>
                      <a:lnTo>
                        <a:pt x="205" y="954"/>
                      </a:lnTo>
                      <a:lnTo>
                        <a:pt x="205" y="952"/>
                      </a:lnTo>
                      <a:lnTo>
                        <a:pt x="207" y="949"/>
                      </a:lnTo>
                      <a:lnTo>
                        <a:pt x="210" y="944"/>
                      </a:lnTo>
                      <a:lnTo>
                        <a:pt x="213" y="941"/>
                      </a:lnTo>
                      <a:lnTo>
                        <a:pt x="210" y="941"/>
                      </a:lnTo>
                      <a:lnTo>
                        <a:pt x="215" y="936"/>
                      </a:lnTo>
                      <a:lnTo>
                        <a:pt x="213" y="933"/>
                      </a:lnTo>
                      <a:lnTo>
                        <a:pt x="215" y="928"/>
                      </a:lnTo>
                      <a:lnTo>
                        <a:pt x="215" y="921"/>
                      </a:lnTo>
                      <a:lnTo>
                        <a:pt x="218" y="919"/>
                      </a:lnTo>
                      <a:lnTo>
                        <a:pt x="221" y="910"/>
                      </a:lnTo>
                      <a:lnTo>
                        <a:pt x="221" y="908"/>
                      </a:lnTo>
                      <a:lnTo>
                        <a:pt x="223" y="905"/>
                      </a:lnTo>
                      <a:lnTo>
                        <a:pt x="226" y="902"/>
                      </a:lnTo>
                      <a:lnTo>
                        <a:pt x="226" y="894"/>
                      </a:lnTo>
                      <a:lnTo>
                        <a:pt x="231" y="888"/>
                      </a:lnTo>
                      <a:lnTo>
                        <a:pt x="229" y="883"/>
                      </a:lnTo>
                      <a:lnTo>
                        <a:pt x="229" y="880"/>
                      </a:lnTo>
                      <a:lnTo>
                        <a:pt x="226" y="875"/>
                      </a:lnTo>
                      <a:lnTo>
                        <a:pt x="229" y="872"/>
                      </a:lnTo>
                      <a:lnTo>
                        <a:pt x="231" y="861"/>
                      </a:lnTo>
                      <a:lnTo>
                        <a:pt x="234" y="859"/>
                      </a:lnTo>
                      <a:lnTo>
                        <a:pt x="246" y="859"/>
                      </a:lnTo>
                      <a:lnTo>
                        <a:pt x="251" y="856"/>
                      </a:lnTo>
                      <a:lnTo>
                        <a:pt x="254" y="859"/>
                      </a:lnTo>
                      <a:lnTo>
                        <a:pt x="257" y="859"/>
                      </a:lnTo>
                      <a:lnTo>
                        <a:pt x="262" y="850"/>
                      </a:lnTo>
                      <a:lnTo>
                        <a:pt x="262" y="844"/>
                      </a:lnTo>
                      <a:lnTo>
                        <a:pt x="270" y="841"/>
                      </a:lnTo>
                      <a:lnTo>
                        <a:pt x="274" y="844"/>
                      </a:lnTo>
                      <a:lnTo>
                        <a:pt x="279" y="839"/>
                      </a:lnTo>
                      <a:lnTo>
                        <a:pt x="282" y="836"/>
                      </a:lnTo>
                      <a:lnTo>
                        <a:pt x="282" y="819"/>
                      </a:lnTo>
                      <a:lnTo>
                        <a:pt x="284" y="819"/>
                      </a:lnTo>
                      <a:lnTo>
                        <a:pt x="284" y="816"/>
                      </a:lnTo>
                      <a:lnTo>
                        <a:pt x="282" y="811"/>
                      </a:lnTo>
                      <a:lnTo>
                        <a:pt x="284" y="811"/>
                      </a:lnTo>
                      <a:lnTo>
                        <a:pt x="287" y="803"/>
                      </a:lnTo>
                      <a:lnTo>
                        <a:pt x="290" y="798"/>
                      </a:lnTo>
                      <a:lnTo>
                        <a:pt x="284" y="795"/>
                      </a:lnTo>
                      <a:lnTo>
                        <a:pt x="284" y="792"/>
                      </a:lnTo>
                      <a:lnTo>
                        <a:pt x="287" y="792"/>
                      </a:lnTo>
                      <a:lnTo>
                        <a:pt x="284" y="787"/>
                      </a:lnTo>
                      <a:lnTo>
                        <a:pt x="279" y="783"/>
                      </a:lnTo>
                      <a:lnTo>
                        <a:pt x="279" y="778"/>
                      </a:lnTo>
                      <a:lnTo>
                        <a:pt x="284" y="775"/>
                      </a:lnTo>
                      <a:lnTo>
                        <a:pt x="282" y="773"/>
                      </a:lnTo>
                      <a:lnTo>
                        <a:pt x="284" y="767"/>
                      </a:lnTo>
                      <a:lnTo>
                        <a:pt x="284" y="764"/>
                      </a:lnTo>
                      <a:lnTo>
                        <a:pt x="284" y="759"/>
                      </a:lnTo>
                      <a:lnTo>
                        <a:pt x="287" y="756"/>
                      </a:lnTo>
                      <a:lnTo>
                        <a:pt x="284" y="754"/>
                      </a:lnTo>
                      <a:lnTo>
                        <a:pt x="287" y="745"/>
                      </a:lnTo>
                      <a:lnTo>
                        <a:pt x="290" y="742"/>
                      </a:lnTo>
                      <a:lnTo>
                        <a:pt x="295" y="742"/>
                      </a:lnTo>
                      <a:lnTo>
                        <a:pt x="300" y="739"/>
                      </a:lnTo>
                      <a:lnTo>
                        <a:pt x="303" y="734"/>
                      </a:lnTo>
                      <a:lnTo>
                        <a:pt x="306" y="734"/>
                      </a:lnTo>
                      <a:lnTo>
                        <a:pt x="309" y="734"/>
                      </a:lnTo>
                      <a:lnTo>
                        <a:pt x="312" y="731"/>
                      </a:lnTo>
                      <a:lnTo>
                        <a:pt x="315" y="718"/>
                      </a:lnTo>
                      <a:lnTo>
                        <a:pt x="318" y="718"/>
                      </a:lnTo>
                      <a:lnTo>
                        <a:pt x="320" y="714"/>
                      </a:lnTo>
                      <a:lnTo>
                        <a:pt x="323" y="714"/>
                      </a:lnTo>
                      <a:lnTo>
                        <a:pt x="326" y="714"/>
                      </a:lnTo>
                      <a:lnTo>
                        <a:pt x="326" y="709"/>
                      </a:lnTo>
                      <a:lnTo>
                        <a:pt x="334" y="709"/>
                      </a:lnTo>
                      <a:lnTo>
                        <a:pt x="334" y="706"/>
                      </a:lnTo>
                      <a:lnTo>
                        <a:pt x="343" y="704"/>
                      </a:lnTo>
                      <a:lnTo>
                        <a:pt x="343" y="701"/>
                      </a:lnTo>
                      <a:lnTo>
                        <a:pt x="339" y="695"/>
                      </a:lnTo>
                      <a:lnTo>
                        <a:pt x="336" y="690"/>
                      </a:lnTo>
                      <a:lnTo>
                        <a:pt x="339" y="682"/>
                      </a:lnTo>
                      <a:lnTo>
                        <a:pt x="336" y="676"/>
                      </a:lnTo>
                      <a:lnTo>
                        <a:pt x="336" y="670"/>
                      </a:lnTo>
                      <a:lnTo>
                        <a:pt x="345" y="673"/>
                      </a:lnTo>
                      <a:lnTo>
                        <a:pt x="353" y="676"/>
                      </a:lnTo>
                      <a:lnTo>
                        <a:pt x="367" y="676"/>
                      </a:lnTo>
                      <a:lnTo>
                        <a:pt x="367" y="673"/>
                      </a:lnTo>
                      <a:lnTo>
                        <a:pt x="375" y="662"/>
                      </a:lnTo>
                      <a:lnTo>
                        <a:pt x="375" y="660"/>
                      </a:lnTo>
                      <a:lnTo>
                        <a:pt x="378" y="657"/>
                      </a:lnTo>
                      <a:lnTo>
                        <a:pt x="372" y="654"/>
                      </a:lnTo>
                      <a:lnTo>
                        <a:pt x="372" y="649"/>
                      </a:lnTo>
                      <a:lnTo>
                        <a:pt x="369" y="646"/>
                      </a:lnTo>
                      <a:lnTo>
                        <a:pt x="369" y="642"/>
                      </a:lnTo>
                      <a:lnTo>
                        <a:pt x="372" y="640"/>
                      </a:lnTo>
                      <a:lnTo>
                        <a:pt x="372" y="634"/>
                      </a:lnTo>
                      <a:lnTo>
                        <a:pt x="372" y="632"/>
                      </a:lnTo>
                      <a:lnTo>
                        <a:pt x="384" y="624"/>
                      </a:lnTo>
                      <a:lnTo>
                        <a:pt x="384" y="621"/>
                      </a:lnTo>
                      <a:lnTo>
                        <a:pt x="387" y="618"/>
                      </a:lnTo>
                      <a:lnTo>
                        <a:pt x="381" y="616"/>
                      </a:lnTo>
                      <a:lnTo>
                        <a:pt x="381" y="609"/>
                      </a:lnTo>
                      <a:lnTo>
                        <a:pt x="384" y="601"/>
                      </a:lnTo>
                      <a:lnTo>
                        <a:pt x="387" y="601"/>
                      </a:lnTo>
                      <a:lnTo>
                        <a:pt x="389" y="599"/>
                      </a:lnTo>
                      <a:lnTo>
                        <a:pt x="392" y="599"/>
                      </a:lnTo>
                      <a:lnTo>
                        <a:pt x="395" y="593"/>
                      </a:lnTo>
                      <a:lnTo>
                        <a:pt x="392" y="591"/>
                      </a:lnTo>
                      <a:lnTo>
                        <a:pt x="389" y="591"/>
                      </a:lnTo>
                      <a:lnTo>
                        <a:pt x="387" y="591"/>
                      </a:lnTo>
                      <a:lnTo>
                        <a:pt x="384" y="591"/>
                      </a:lnTo>
                      <a:lnTo>
                        <a:pt x="384" y="588"/>
                      </a:lnTo>
                      <a:lnTo>
                        <a:pt x="387" y="585"/>
                      </a:lnTo>
                      <a:lnTo>
                        <a:pt x="381" y="585"/>
                      </a:lnTo>
                      <a:lnTo>
                        <a:pt x="378" y="583"/>
                      </a:lnTo>
                      <a:lnTo>
                        <a:pt x="384" y="580"/>
                      </a:lnTo>
                      <a:lnTo>
                        <a:pt x="389" y="580"/>
                      </a:lnTo>
                      <a:lnTo>
                        <a:pt x="389" y="571"/>
                      </a:lnTo>
                      <a:lnTo>
                        <a:pt x="384" y="568"/>
                      </a:lnTo>
                      <a:lnTo>
                        <a:pt x="381" y="568"/>
                      </a:lnTo>
                      <a:lnTo>
                        <a:pt x="384" y="565"/>
                      </a:lnTo>
                      <a:lnTo>
                        <a:pt x="381" y="563"/>
                      </a:lnTo>
                      <a:lnTo>
                        <a:pt x="381" y="557"/>
                      </a:lnTo>
                      <a:lnTo>
                        <a:pt x="384" y="557"/>
                      </a:lnTo>
                      <a:lnTo>
                        <a:pt x="387" y="555"/>
                      </a:lnTo>
                      <a:lnTo>
                        <a:pt x="387" y="549"/>
                      </a:lnTo>
                      <a:lnTo>
                        <a:pt x="384" y="547"/>
                      </a:lnTo>
                      <a:lnTo>
                        <a:pt x="387" y="544"/>
                      </a:lnTo>
                      <a:lnTo>
                        <a:pt x="384" y="544"/>
                      </a:lnTo>
                      <a:lnTo>
                        <a:pt x="384" y="541"/>
                      </a:lnTo>
                      <a:lnTo>
                        <a:pt x="381" y="541"/>
                      </a:lnTo>
                      <a:lnTo>
                        <a:pt x="381" y="535"/>
                      </a:lnTo>
                      <a:lnTo>
                        <a:pt x="378" y="532"/>
                      </a:lnTo>
                      <a:lnTo>
                        <a:pt x="375" y="530"/>
                      </a:lnTo>
                      <a:lnTo>
                        <a:pt x="378" y="524"/>
                      </a:lnTo>
                      <a:lnTo>
                        <a:pt x="372" y="524"/>
                      </a:lnTo>
                      <a:lnTo>
                        <a:pt x="372" y="519"/>
                      </a:lnTo>
                      <a:lnTo>
                        <a:pt x="369" y="516"/>
                      </a:lnTo>
                      <a:lnTo>
                        <a:pt x="367" y="516"/>
                      </a:lnTo>
                      <a:lnTo>
                        <a:pt x="367" y="514"/>
                      </a:lnTo>
                      <a:lnTo>
                        <a:pt x="364" y="511"/>
                      </a:lnTo>
                      <a:lnTo>
                        <a:pt x="361" y="508"/>
                      </a:lnTo>
                      <a:lnTo>
                        <a:pt x="356" y="508"/>
                      </a:lnTo>
                      <a:lnTo>
                        <a:pt x="353" y="508"/>
                      </a:lnTo>
                      <a:lnTo>
                        <a:pt x="353" y="506"/>
                      </a:lnTo>
                      <a:lnTo>
                        <a:pt x="353" y="499"/>
                      </a:lnTo>
                      <a:lnTo>
                        <a:pt x="351" y="502"/>
                      </a:lnTo>
                      <a:lnTo>
                        <a:pt x="351" y="496"/>
                      </a:lnTo>
                      <a:lnTo>
                        <a:pt x="348" y="496"/>
                      </a:lnTo>
                      <a:lnTo>
                        <a:pt x="345" y="499"/>
                      </a:lnTo>
                      <a:lnTo>
                        <a:pt x="343" y="494"/>
                      </a:lnTo>
                      <a:lnTo>
                        <a:pt x="334" y="494"/>
                      </a:lnTo>
                      <a:lnTo>
                        <a:pt x="334" y="488"/>
                      </a:lnTo>
                      <a:lnTo>
                        <a:pt x="331" y="488"/>
                      </a:lnTo>
                      <a:lnTo>
                        <a:pt x="328" y="486"/>
                      </a:lnTo>
                      <a:lnTo>
                        <a:pt x="331" y="480"/>
                      </a:lnTo>
                      <a:lnTo>
                        <a:pt x="326" y="475"/>
                      </a:lnTo>
                      <a:lnTo>
                        <a:pt x="328" y="472"/>
                      </a:lnTo>
                      <a:lnTo>
                        <a:pt x="328" y="466"/>
                      </a:lnTo>
                      <a:lnTo>
                        <a:pt x="334" y="466"/>
                      </a:lnTo>
                      <a:lnTo>
                        <a:pt x="345" y="458"/>
                      </a:lnTo>
                      <a:lnTo>
                        <a:pt x="348" y="458"/>
                      </a:lnTo>
                      <a:lnTo>
                        <a:pt x="348" y="455"/>
                      </a:lnTo>
                      <a:lnTo>
                        <a:pt x="348" y="453"/>
                      </a:lnTo>
                      <a:lnTo>
                        <a:pt x="345" y="455"/>
                      </a:lnTo>
                      <a:lnTo>
                        <a:pt x="343" y="455"/>
                      </a:lnTo>
                      <a:lnTo>
                        <a:pt x="339" y="455"/>
                      </a:lnTo>
                      <a:lnTo>
                        <a:pt x="336" y="455"/>
                      </a:lnTo>
                      <a:lnTo>
                        <a:pt x="334" y="453"/>
                      </a:lnTo>
                      <a:lnTo>
                        <a:pt x="334" y="450"/>
                      </a:lnTo>
                      <a:lnTo>
                        <a:pt x="331" y="450"/>
                      </a:lnTo>
                      <a:lnTo>
                        <a:pt x="328" y="445"/>
                      </a:lnTo>
                      <a:lnTo>
                        <a:pt x="328" y="442"/>
                      </a:lnTo>
                      <a:lnTo>
                        <a:pt x="323" y="442"/>
                      </a:lnTo>
                      <a:lnTo>
                        <a:pt x="323" y="439"/>
                      </a:lnTo>
                      <a:lnTo>
                        <a:pt x="315" y="437"/>
                      </a:lnTo>
                      <a:lnTo>
                        <a:pt x="312" y="433"/>
                      </a:lnTo>
                      <a:lnTo>
                        <a:pt x="309" y="433"/>
                      </a:lnTo>
                      <a:lnTo>
                        <a:pt x="309" y="427"/>
                      </a:lnTo>
                      <a:lnTo>
                        <a:pt x="306" y="425"/>
                      </a:lnTo>
                      <a:lnTo>
                        <a:pt x="303" y="419"/>
                      </a:lnTo>
                      <a:lnTo>
                        <a:pt x="298" y="417"/>
                      </a:lnTo>
                      <a:lnTo>
                        <a:pt x="295" y="417"/>
                      </a:lnTo>
                      <a:lnTo>
                        <a:pt x="292" y="417"/>
                      </a:lnTo>
                      <a:lnTo>
                        <a:pt x="292" y="414"/>
                      </a:lnTo>
                      <a:lnTo>
                        <a:pt x="290" y="409"/>
                      </a:lnTo>
                      <a:lnTo>
                        <a:pt x="287" y="406"/>
                      </a:lnTo>
                      <a:lnTo>
                        <a:pt x="279" y="409"/>
                      </a:lnTo>
                      <a:lnTo>
                        <a:pt x="276" y="409"/>
                      </a:lnTo>
                      <a:lnTo>
                        <a:pt x="270" y="403"/>
                      </a:lnTo>
                      <a:lnTo>
                        <a:pt x="270" y="409"/>
                      </a:lnTo>
                      <a:lnTo>
                        <a:pt x="270" y="411"/>
                      </a:lnTo>
                      <a:lnTo>
                        <a:pt x="267" y="414"/>
                      </a:lnTo>
                      <a:lnTo>
                        <a:pt x="262" y="406"/>
                      </a:lnTo>
                      <a:lnTo>
                        <a:pt x="259" y="406"/>
                      </a:lnTo>
                      <a:lnTo>
                        <a:pt x="257" y="403"/>
                      </a:lnTo>
                      <a:lnTo>
                        <a:pt x="259" y="400"/>
                      </a:lnTo>
                      <a:lnTo>
                        <a:pt x="257" y="400"/>
                      </a:lnTo>
                      <a:lnTo>
                        <a:pt x="259" y="394"/>
                      </a:lnTo>
                      <a:lnTo>
                        <a:pt x="257" y="389"/>
                      </a:lnTo>
                      <a:lnTo>
                        <a:pt x="262" y="381"/>
                      </a:lnTo>
                      <a:lnTo>
                        <a:pt x="287" y="381"/>
                      </a:lnTo>
                      <a:lnTo>
                        <a:pt x="290" y="381"/>
                      </a:lnTo>
                      <a:lnTo>
                        <a:pt x="295" y="381"/>
                      </a:lnTo>
                      <a:lnTo>
                        <a:pt x="300" y="378"/>
                      </a:lnTo>
                      <a:lnTo>
                        <a:pt x="303" y="384"/>
                      </a:lnTo>
                      <a:lnTo>
                        <a:pt x="306" y="386"/>
                      </a:lnTo>
                      <a:lnTo>
                        <a:pt x="306" y="389"/>
                      </a:lnTo>
                      <a:lnTo>
                        <a:pt x="312" y="397"/>
                      </a:lnTo>
                      <a:lnTo>
                        <a:pt x="318" y="397"/>
                      </a:lnTo>
                      <a:lnTo>
                        <a:pt x="323" y="397"/>
                      </a:lnTo>
                      <a:lnTo>
                        <a:pt x="336" y="397"/>
                      </a:lnTo>
                      <a:lnTo>
                        <a:pt x="345" y="397"/>
                      </a:lnTo>
                      <a:lnTo>
                        <a:pt x="369" y="397"/>
                      </a:lnTo>
                      <a:lnTo>
                        <a:pt x="375" y="394"/>
                      </a:lnTo>
                      <a:lnTo>
                        <a:pt x="378" y="392"/>
                      </a:lnTo>
                      <a:lnTo>
                        <a:pt x="381" y="394"/>
                      </a:lnTo>
                      <a:lnTo>
                        <a:pt x="384" y="392"/>
                      </a:lnTo>
                      <a:lnTo>
                        <a:pt x="387" y="389"/>
                      </a:lnTo>
                      <a:lnTo>
                        <a:pt x="389" y="386"/>
                      </a:lnTo>
                      <a:lnTo>
                        <a:pt x="389" y="384"/>
                      </a:lnTo>
                      <a:lnTo>
                        <a:pt x="389" y="381"/>
                      </a:lnTo>
                      <a:lnTo>
                        <a:pt x="384" y="378"/>
                      </a:lnTo>
                      <a:lnTo>
                        <a:pt x="387" y="376"/>
                      </a:lnTo>
                      <a:lnTo>
                        <a:pt x="381" y="370"/>
                      </a:lnTo>
                      <a:lnTo>
                        <a:pt x="381" y="353"/>
                      </a:lnTo>
                      <a:lnTo>
                        <a:pt x="381" y="350"/>
                      </a:lnTo>
                      <a:lnTo>
                        <a:pt x="378" y="334"/>
                      </a:lnTo>
                      <a:lnTo>
                        <a:pt x="375" y="332"/>
                      </a:lnTo>
                      <a:lnTo>
                        <a:pt x="361" y="328"/>
                      </a:lnTo>
                      <a:lnTo>
                        <a:pt x="359" y="325"/>
                      </a:lnTo>
                      <a:lnTo>
                        <a:pt x="353" y="325"/>
                      </a:lnTo>
                      <a:lnTo>
                        <a:pt x="348" y="320"/>
                      </a:lnTo>
                      <a:lnTo>
                        <a:pt x="343" y="320"/>
                      </a:lnTo>
                      <a:lnTo>
                        <a:pt x="345" y="317"/>
                      </a:lnTo>
                      <a:lnTo>
                        <a:pt x="343" y="317"/>
                      </a:lnTo>
                      <a:lnTo>
                        <a:pt x="343" y="315"/>
                      </a:lnTo>
                      <a:lnTo>
                        <a:pt x="336" y="317"/>
                      </a:lnTo>
                      <a:lnTo>
                        <a:pt x="339" y="315"/>
                      </a:lnTo>
                      <a:lnTo>
                        <a:pt x="334" y="312"/>
                      </a:lnTo>
                      <a:lnTo>
                        <a:pt x="334" y="309"/>
                      </a:lnTo>
                      <a:lnTo>
                        <a:pt x="336" y="309"/>
                      </a:lnTo>
                      <a:lnTo>
                        <a:pt x="339" y="307"/>
                      </a:lnTo>
                      <a:lnTo>
                        <a:pt x="343" y="304"/>
                      </a:lnTo>
                      <a:lnTo>
                        <a:pt x="343" y="301"/>
                      </a:lnTo>
                      <a:lnTo>
                        <a:pt x="339" y="299"/>
                      </a:lnTo>
                      <a:lnTo>
                        <a:pt x="343" y="276"/>
                      </a:lnTo>
                      <a:lnTo>
                        <a:pt x="345" y="276"/>
                      </a:lnTo>
                      <a:lnTo>
                        <a:pt x="345" y="268"/>
                      </a:lnTo>
                      <a:lnTo>
                        <a:pt x="348" y="243"/>
                      </a:lnTo>
                      <a:lnTo>
                        <a:pt x="348" y="240"/>
                      </a:lnTo>
                      <a:lnTo>
                        <a:pt x="348" y="238"/>
                      </a:lnTo>
                      <a:lnTo>
                        <a:pt x="345" y="238"/>
                      </a:lnTo>
                      <a:lnTo>
                        <a:pt x="331" y="235"/>
                      </a:lnTo>
                      <a:lnTo>
                        <a:pt x="320" y="235"/>
                      </a:lnTo>
                      <a:lnTo>
                        <a:pt x="284" y="232"/>
                      </a:lnTo>
                      <a:lnTo>
                        <a:pt x="282" y="230"/>
                      </a:lnTo>
                      <a:lnTo>
                        <a:pt x="287" y="220"/>
                      </a:lnTo>
                      <a:lnTo>
                        <a:pt x="292" y="218"/>
                      </a:lnTo>
                      <a:lnTo>
                        <a:pt x="298" y="215"/>
                      </a:lnTo>
                      <a:lnTo>
                        <a:pt x="290" y="215"/>
                      </a:lnTo>
                      <a:lnTo>
                        <a:pt x="290" y="210"/>
                      </a:lnTo>
                      <a:lnTo>
                        <a:pt x="290" y="204"/>
                      </a:lnTo>
                      <a:lnTo>
                        <a:pt x="295" y="204"/>
                      </a:lnTo>
                      <a:lnTo>
                        <a:pt x="295" y="202"/>
                      </a:lnTo>
                      <a:lnTo>
                        <a:pt x="295" y="196"/>
                      </a:lnTo>
                      <a:lnTo>
                        <a:pt x="295" y="187"/>
                      </a:lnTo>
                      <a:lnTo>
                        <a:pt x="292" y="185"/>
                      </a:lnTo>
                      <a:lnTo>
                        <a:pt x="292" y="174"/>
                      </a:lnTo>
                      <a:lnTo>
                        <a:pt x="295" y="171"/>
                      </a:lnTo>
                      <a:lnTo>
                        <a:pt x="303" y="163"/>
                      </a:lnTo>
                      <a:lnTo>
                        <a:pt x="318" y="151"/>
                      </a:lnTo>
                      <a:lnTo>
                        <a:pt x="315" y="149"/>
                      </a:lnTo>
                      <a:lnTo>
                        <a:pt x="315" y="146"/>
                      </a:lnTo>
                      <a:lnTo>
                        <a:pt x="315" y="143"/>
                      </a:lnTo>
                      <a:lnTo>
                        <a:pt x="318" y="143"/>
                      </a:lnTo>
                      <a:lnTo>
                        <a:pt x="318" y="141"/>
                      </a:lnTo>
                      <a:lnTo>
                        <a:pt x="315" y="138"/>
                      </a:lnTo>
                      <a:lnTo>
                        <a:pt x="315" y="135"/>
                      </a:lnTo>
                      <a:lnTo>
                        <a:pt x="318" y="133"/>
                      </a:lnTo>
                      <a:lnTo>
                        <a:pt x="318" y="127"/>
                      </a:lnTo>
                      <a:lnTo>
                        <a:pt x="328" y="121"/>
                      </a:lnTo>
                      <a:lnTo>
                        <a:pt x="334" y="121"/>
                      </a:lnTo>
                      <a:lnTo>
                        <a:pt x="334" y="118"/>
                      </a:lnTo>
                      <a:lnTo>
                        <a:pt x="334" y="116"/>
                      </a:lnTo>
                      <a:lnTo>
                        <a:pt x="343" y="113"/>
                      </a:lnTo>
                      <a:lnTo>
                        <a:pt x="339" y="118"/>
                      </a:lnTo>
                      <a:lnTo>
                        <a:pt x="343" y="118"/>
                      </a:lnTo>
                      <a:lnTo>
                        <a:pt x="345" y="110"/>
                      </a:lnTo>
                      <a:lnTo>
                        <a:pt x="351" y="110"/>
                      </a:lnTo>
                      <a:lnTo>
                        <a:pt x="351" y="116"/>
                      </a:lnTo>
                      <a:lnTo>
                        <a:pt x="359" y="116"/>
                      </a:lnTo>
                      <a:lnTo>
                        <a:pt x="361" y="108"/>
                      </a:lnTo>
                      <a:lnTo>
                        <a:pt x="364" y="105"/>
                      </a:lnTo>
                      <a:lnTo>
                        <a:pt x="369" y="108"/>
                      </a:lnTo>
                      <a:lnTo>
                        <a:pt x="372" y="110"/>
                      </a:lnTo>
                      <a:lnTo>
                        <a:pt x="375" y="110"/>
                      </a:lnTo>
                      <a:lnTo>
                        <a:pt x="375" y="108"/>
                      </a:lnTo>
                      <a:lnTo>
                        <a:pt x="375" y="105"/>
                      </a:lnTo>
                      <a:lnTo>
                        <a:pt x="375" y="100"/>
                      </a:lnTo>
                      <a:lnTo>
                        <a:pt x="378" y="100"/>
                      </a:lnTo>
                      <a:lnTo>
                        <a:pt x="381" y="102"/>
                      </a:lnTo>
                      <a:lnTo>
                        <a:pt x="384" y="102"/>
                      </a:lnTo>
                      <a:lnTo>
                        <a:pt x="389" y="97"/>
                      </a:lnTo>
                      <a:lnTo>
                        <a:pt x="392" y="94"/>
                      </a:lnTo>
                      <a:lnTo>
                        <a:pt x="395" y="94"/>
                      </a:lnTo>
                      <a:lnTo>
                        <a:pt x="395" y="92"/>
                      </a:lnTo>
                      <a:lnTo>
                        <a:pt x="397" y="94"/>
                      </a:lnTo>
                      <a:lnTo>
                        <a:pt x="400" y="92"/>
                      </a:lnTo>
                      <a:lnTo>
                        <a:pt x="400" y="97"/>
                      </a:lnTo>
                      <a:lnTo>
                        <a:pt x="405" y="97"/>
                      </a:lnTo>
                      <a:lnTo>
                        <a:pt x="412" y="100"/>
                      </a:lnTo>
                      <a:lnTo>
                        <a:pt x="412" y="105"/>
                      </a:lnTo>
                      <a:lnTo>
                        <a:pt x="414" y="105"/>
                      </a:lnTo>
                      <a:lnTo>
                        <a:pt x="417" y="108"/>
                      </a:lnTo>
                      <a:lnTo>
                        <a:pt x="420" y="108"/>
                      </a:lnTo>
                      <a:lnTo>
                        <a:pt x="425" y="108"/>
                      </a:lnTo>
                      <a:lnTo>
                        <a:pt x="428" y="108"/>
                      </a:lnTo>
                      <a:lnTo>
                        <a:pt x="436" y="110"/>
                      </a:lnTo>
                      <a:lnTo>
                        <a:pt x="438" y="113"/>
                      </a:lnTo>
                      <a:lnTo>
                        <a:pt x="450" y="110"/>
                      </a:lnTo>
                      <a:lnTo>
                        <a:pt x="447" y="92"/>
                      </a:lnTo>
                      <a:lnTo>
                        <a:pt x="395" y="41"/>
                      </a:lnTo>
                      <a:lnTo>
                        <a:pt x="397" y="39"/>
                      </a:lnTo>
                      <a:lnTo>
                        <a:pt x="400" y="39"/>
                      </a:lnTo>
                      <a:lnTo>
                        <a:pt x="403" y="33"/>
                      </a:lnTo>
                      <a:lnTo>
                        <a:pt x="405" y="39"/>
                      </a:lnTo>
                      <a:lnTo>
                        <a:pt x="408" y="39"/>
                      </a:lnTo>
                      <a:lnTo>
                        <a:pt x="412" y="41"/>
                      </a:lnTo>
                      <a:lnTo>
                        <a:pt x="414" y="39"/>
                      </a:lnTo>
                      <a:lnTo>
                        <a:pt x="422" y="28"/>
                      </a:lnTo>
                      <a:lnTo>
                        <a:pt x="425" y="28"/>
                      </a:lnTo>
                      <a:lnTo>
                        <a:pt x="428" y="31"/>
                      </a:lnTo>
                      <a:lnTo>
                        <a:pt x="430" y="28"/>
                      </a:lnTo>
                      <a:lnTo>
                        <a:pt x="433" y="25"/>
                      </a:lnTo>
                      <a:lnTo>
                        <a:pt x="436" y="28"/>
                      </a:lnTo>
                      <a:lnTo>
                        <a:pt x="438" y="28"/>
                      </a:lnTo>
                      <a:lnTo>
                        <a:pt x="441" y="33"/>
                      </a:lnTo>
                      <a:lnTo>
                        <a:pt x="438" y="39"/>
                      </a:lnTo>
                      <a:lnTo>
                        <a:pt x="444" y="36"/>
                      </a:lnTo>
                      <a:lnTo>
                        <a:pt x="447" y="36"/>
                      </a:lnTo>
                      <a:lnTo>
                        <a:pt x="447" y="39"/>
                      </a:lnTo>
                      <a:lnTo>
                        <a:pt x="450" y="39"/>
                      </a:lnTo>
                      <a:lnTo>
                        <a:pt x="447" y="47"/>
                      </a:lnTo>
                      <a:lnTo>
                        <a:pt x="450" y="47"/>
                      </a:lnTo>
                      <a:lnTo>
                        <a:pt x="453" y="47"/>
                      </a:lnTo>
                      <a:lnTo>
                        <a:pt x="458" y="49"/>
                      </a:lnTo>
                      <a:lnTo>
                        <a:pt x="461" y="47"/>
                      </a:lnTo>
                      <a:lnTo>
                        <a:pt x="466" y="47"/>
                      </a:lnTo>
                      <a:lnTo>
                        <a:pt x="472" y="47"/>
                      </a:lnTo>
                      <a:lnTo>
                        <a:pt x="472" y="53"/>
                      </a:lnTo>
                      <a:lnTo>
                        <a:pt x="474" y="56"/>
                      </a:lnTo>
                      <a:lnTo>
                        <a:pt x="483" y="49"/>
                      </a:lnTo>
                      <a:lnTo>
                        <a:pt x="486" y="53"/>
                      </a:lnTo>
                      <a:lnTo>
                        <a:pt x="489" y="49"/>
                      </a:lnTo>
                      <a:lnTo>
                        <a:pt x="494" y="53"/>
                      </a:lnTo>
                      <a:lnTo>
                        <a:pt x="497" y="49"/>
                      </a:lnTo>
                      <a:lnTo>
                        <a:pt x="499" y="44"/>
                      </a:lnTo>
                      <a:lnTo>
                        <a:pt x="507" y="41"/>
                      </a:lnTo>
                      <a:lnTo>
                        <a:pt x="507" y="36"/>
                      </a:lnTo>
                      <a:lnTo>
                        <a:pt x="513" y="33"/>
                      </a:lnTo>
                      <a:lnTo>
                        <a:pt x="510" y="31"/>
                      </a:lnTo>
                      <a:lnTo>
                        <a:pt x="513" y="25"/>
                      </a:lnTo>
                      <a:lnTo>
                        <a:pt x="513" y="23"/>
                      </a:lnTo>
                      <a:lnTo>
                        <a:pt x="513" y="20"/>
                      </a:lnTo>
                      <a:lnTo>
                        <a:pt x="519" y="20"/>
                      </a:lnTo>
                      <a:lnTo>
                        <a:pt x="524" y="20"/>
                      </a:lnTo>
                      <a:lnTo>
                        <a:pt x="524" y="11"/>
                      </a:lnTo>
                      <a:lnTo>
                        <a:pt x="533" y="11"/>
                      </a:lnTo>
                      <a:lnTo>
                        <a:pt x="541" y="5"/>
                      </a:lnTo>
                      <a:lnTo>
                        <a:pt x="550" y="0"/>
                      </a:lnTo>
                      <a:lnTo>
                        <a:pt x="552" y="0"/>
                      </a:lnTo>
                      <a:lnTo>
                        <a:pt x="558" y="8"/>
                      </a:lnTo>
                      <a:lnTo>
                        <a:pt x="566" y="8"/>
                      </a:lnTo>
                      <a:lnTo>
                        <a:pt x="574" y="16"/>
                      </a:lnTo>
                      <a:lnTo>
                        <a:pt x="576" y="11"/>
                      </a:lnTo>
                      <a:lnTo>
                        <a:pt x="588" y="13"/>
                      </a:lnTo>
                      <a:lnTo>
                        <a:pt x="593" y="13"/>
                      </a:lnTo>
                      <a:lnTo>
                        <a:pt x="604" y="13"/>
                      </a:lnTo>
                      <a:lnTo>
                        <a:pt x="604" y="16"/>
                      </a:lnTo>
                      <a:lnTo>
                        <a:pt x="610" y="16"/>
                      </a:lnTo>
                      <a:lnTo>
                        <a:pt x="612" y="13"/>
                      </a:lnTo>
                      <a:lnTo>
                        <a:pt x="619" y="16"/>
                      </a:lnTo>
                      <a:lnTo>
                        <a:pt x="621" y="13"/>
                      </a:lnTo>
                      <a:lnTo>
                        <a:pt x="627" y="13"/>
                      </a:lnTo>
                      <a:lnTo>
                        <a:pt x="632" y="20"/>
                      </a:lnTo>
                      <a:lnTo>
                        <a:pt x="635" y="20"/>
                      </a:lnTo>
                      <a:lnTo>
                        <a:pt x="637" y="25"/>
                      </a:lnTo>
                      <a:lnTo>
                        <a:pt x="643" y="23"/>
                      </a:lnTo>
                      <a:lnTo>
                        <a:pt x="643" y="25"/>
                      </a:lnTo>
                      <a:lnTo>
                        <a:pt x="652" y="31"/>
                      </a:lnTo>
                      <a:lnTo>
                        <a:pt x="654" y="31"/>
                      </a:lnTo>
                      <a:lnTo>
                        <a:pt x="660" y="33"/>
                      </a:lnTo>
                      <a:lnTo>
                        <a:pt x="670" y="39"/>
                      </a:lnTo>
                      <a:lnTo>
                        <a:pt x="737" y="80"/>
                      </a:lnTo>
                      <a:lnTo>
                        <a:pt x="783" y="110"/>
                      </a:lnTo>
                      <a:lnTo>
                        <a:pt x="795" y="118"/>
                      </a:lnTo>
                      <a:lnTo>
                        <a:pt x="798" y="121"/>
                      </a:lnTo>
                      <a:lnTo>
                        <a:pt x="888" y="179"/>
                      </a:lnTo>
                      <a:lnTo>
                        <a:pt x="895" y="182"/>
                      </a:lnTo>
                      <a:lnTo>
                        <a:pt x="897" y="185"/>
                      </a:lnTo>
                      <a:lnTo>
                        <a:pt x="897" y="190"/>
                      </a:lnTo>
                      <a:lnTo>
                        <a:pt x="897" y="194"/>
                      </a:lnTo>
                      <a:lnTo>
                        <a:pt x="883" y="220"/>
                      </a:lnTo>
                      <a:lnTo>
                        <a:pt x="883" y="223"/>
                      </a:lnTo>
                      <a:lnTo>
                        <a:pt x="878" y="243"/>
                      </a:lnTo>
                      <a:lnTo>
                        <a:pt x="872" y="256"/>
                      </a:lnTo>
                      <a:lnTo>
                        <a:pt x="872" y="276"/>
                      </a:lnTo>
                      <a:lnTo>
                        <a:pt x="872" y="279"/>
                      </a:lnTo>
                      <a:lnTo>
                        <a:pt x="872" y="292"/>
                      </a:lnTo>
                      <a:lnTo>
                        <a:pt x="875" y="299"/>
                      </a:lnTo>
                      <a:lnTo>
                        <a:pt x="869" y="315"/>
                      </a:lnTo>
                      <a:lnTo>
                        <a:pt x="867" y="342"/>
                      </a:lnTo>
                      <a:lnTo>
                        <a:pt x="864" y="376"/>
                      </a:lnTo>
                      <a:lnTo>
                        <a:pt x="864" y="397"/>
                      </a:lnTo>
                      <a:lnTo>
                        <a:pt x="869" y="445"/>
                      </a:lnTo>
                      <a:lnTo>
                        <a:pt x="878" y="506"/>
                      </a:lnTo>
                      <a:lnTo>
                        <a:pt x="880" y="535"/>
                      </a:lnTo>
                      <a:lnTo>
                        <a:pt x="886" y="565"/>
                      </a:lnTo>
                      <a:lnTo>
                        <a:pt x="888" y="593"/>
                      </a:lnTo>
                      <a:lnTo>
                        <a:pt x="886" y="618"/>
                      </a:lnTo>
                      <a:lnTo>
                        <a:pt x="872" y="660"/>
                      </a:lnTo>
                      <a:lnTo>
                        <a:pt x="855" y="698"/>
                      </a:lnTo>
                      <a:lnTo>
                        <a:pt x="842" y="729"/>
                      </a:lnTo>
                      <a:lnTo>
                        <a:pt x="842" y="737"/>
                      </a:lnTo>
                      <a:lnTo>
                        <a:pt x="836" y="739"/>
                      </a:lnTo>
                      <a:lnTo>
                        <a:pt x="834" y="739"/>
                      </a:lnTo>
                      <a:lnTo>
                        <a:pt x="828" y="739"/>
                      </a:lnTo>
                      <a:lnTo>
                        <a:pt x="814" y="745"/>
                      </a:lnTo>
                      <a:lnTo>
                        <a:pt x="798" y="754"/>
                      </a:lnTo>
                      <a:lnTo>
                        <a:pt x="790" y="759"/>
                      </a:lnTo>
                      <a:lnTo>
                        <a:pt x="770" y="775"/>
                      </a:lnTo>
                      <a:lnTo>
                        <a:pt x="753" y="792"/>
                      </a:lnTo>
                      <a:lnTo>
                        <a:pt x="742" y="803"/>
                      </a:lnTo>
                      <a:lnTo>
                        <a:pt x="739" y="808"/>
                      </a:lnTo>
                      <a:lnTo>
                        <a:pt x="739" y="814"/>
                      </a:lnTo>
                      <a:lnTo>
                        <a:pt x="737" y="823"/>
                      </a:lnTo>
                      <a:lnTo>
                        <a:pt x="731" y="831"/>
                      </a:lnTo>
                      <a:lnTo>
                        <a:pt x="729" y="836"/>
                      </a:lnTo>
                      <a:lnTo>
                        <a:pt x="726" y="839"/>
                      </a:lnTo>
                      <a:lnTo>
                        <a:pt x="726" y="841"/>
                      </a:lnTo>
                      <a:lnTo>
                        <a:pt x="723" y="844"/>
                      </a:lnTo>
                      <a:lnTo>
                        <a:pt x="723" y="850"/>
                      </a:lnTo>
                      <a:lnTo>
                        <a:pt x="714" y="856"/>
                      </a:lnTo>
                      <a:lnTo>
                        <a:pt x="709" y="859"/>
                      </a:lnTo>
                      <a:lnTo>
                        <a:pt x="706" y="864"/>
                      </a:lnTo>
                      <a:lnTo>
                        <a:pt x="706" y="867"/>
                      </a:lnTo>
                      <a:lnTo>
                        <a:pt x="709" y="869"/>
                      </a:lnTo>
                      <a:lnTo>
                        <a:pt x="706" y="872"/>
                      </a:lnTo>
                      <a:lnTo>
                        <a:pt x="704" y="877"/>
                      </a:lnTo>
                      <a:lnTo>
                        <a:pt x="704" y="880"/>
                      </a:lnTo>
                      <a:lnTo>
                        <a:pt x="701" y="885"/>
                      </a:lnTo>
                      <a:lnTo>
                        <a:pt x="701" y="888"/>
                      </a:lnTo>
                      <a:lnTo>
                        <a:pt x="698" y="900"/>
                      </a:lnTo>
                      <a:lnTo>
                        <a:pt x="688" y="902"/>
                      </a:lnTo>
                      <a:lnTo>
                        <a:pt x="684" y="908"/>
                      </a:lnTo>
                      <a:lnTo>
                        <a:pt x="693" y="916"/>
                      </a:lnTo>
                      <a:lnTo>
                        <a:pt x="693" y="930"/>
                      </a:lnTo>
                      <a:lnTo>
                        <a:pt x="688" y="949"/>
                      </a:lnTo>
                      <a:lnTo>
                        <a:pt x="688" y="957"/>
                      </a:lnTo>
                      <a:lnTo>
                        <a:pt x="684" y="961"/>
                      </a:lnTo>
                      <a:lnTo>
                        <a:pt x="684" y="969"/>
                      </a:lnTo>
                      <a:lnTo>
                        <a:pt x="681" y="974"/>
                      </a:lnTo>
                      <a:lnTo>
                        <a:pt x="676" y="985"/>
                      </a:lnTo>
                      <a:lnTo>
                        <a:pt x="668" y="993"/>
                      </a:lnTo>
                      <a:lnTo>
                        <a:pt x="665" y="1002"/>
                      </a:lnTo>
                      <a:lnTo>
                        <a:pt x="665" y="1005"/>
                      </a:lnTo>
                      <a:lnTo>
                        <a:pt x="660" y="1007"/>
                      </a:lnTo>
                      <a:lnTo>
                        <a:pt x="660" y="1005"/>
                      </a:lnTo>
                      <a:lnTo>
                        <a:pt x="660" y="1002"/>
                      </a:lnTo>
                      <a:lnTo>
                        <a:pt x="657" y="997"/>
                      </a:lnTo>
                      <a:lnTo>
                        <a:pt x="652" y="997"/>
                      </a:lnTo>
                      <a:lnTo>
                        <a:pt x="645" y="999"/>
                      </a:lnTo>
                      <a:lnTo>
                        <a:pt x="643" y="1005"/>
                      </a:lnTo>
                      <a:lnTo>
                        <a:pt x="645" y="1007"/>
                      </a:lnTo>
                      <a:lnTo>
                        <a:pt x="643" y="1010"/>
                      </a:lnTo>
                      <a:lnTo>
                        <a:pt x="648" y="1010"/>
                      </a:lnTo>
                      <a:lnTo>
                        <a:pt x="648" y="1013"/>
                      </a:lnTo>
                      <a:lnTo>
                        <a:pt x="643" y="1013"/>
                      </a:lnTo>
                      <a:lnTo>
                        <a:pt x="645" y="1013"/>
                      </a:lnTo>
                      <a:lnTo>
                        <a:pt x="648" y="1013"/>
                      </a:lnTo>
                      <a:lnTo>
                        <a:pt x="648" y="1015"/>
                      </a:lnTo>
                      <a:lnTo>
                        <a:pt x="645" y="1015"/>
                      </a:lnTo>
                      <a:lnTo>
                        <a:pt x="645" y="1018"/>
                      </a:lnTo>
                      <a:lnTo>
                        <a:pt x="645" y="1021"/>
                      </a:lnTo>
                      <a:lnTo>
                        <a:pt x="652" y="1018"/>
                      </a:lnTo>
                      <a:lnTo>
                        <a:pt x="654" y="1018"/>
                      </a:lnTo>
                      <a:lnTo>
                        <a:pt x="652" y="1018"/>
                      </a:lnTo>
                      <a:lnTo>
                        <a:pt x="652" y="1021"/>
                      </a:lnTo>
                      <a:lnTo>
                        <a:pt x="654" y="1021"/>
                      </a:lnTo>
                      <a:lnTo>
                        <a:pt x="652" y="1021"/>
                      </a:lnTo>
                      <a:lnTo>
                        <a:pt x="652" y="1023"/>
                      </a:lnTo>
                      <a:lnTo>
                        <a:pt x="654" y="1023"/>
                      </a:lnTo>
                      <a:lnTo>
                        <a:pt x="652" y="1023"/>
                      </a:lnTo>
                      <a:lnTo>
                        <a:pt x="648" y="1023"/>
                      </a:lnTo>
                      <a:lnTo>
                        <a:pt x="645" y="1032"/>
                      </a:lnTo>
                      <a:lnTo>
                        <a:pt x="643" y="1035"/>
                      </a:lnTo>
                      <a:lnTo>
                        <a:pt x="635" y="1048"/>
                      </a:lnTo>
                      <a:lnTo>
                        <a:pt x="632" y="1059"/>
                      </a:lnTo>
                      <a:lnTo>
                        <a:pt x="632" y="1062"/>
                      </a:lnTo>
                      <a:lnTo>
                        <a:pt x="621" y="1084"/>
                      </a:lnTo>
                      <a:lnTo>
                        <a:pt x="615" y="1098"/>
                      </a:lnTo>
                      <a:lnTo>
                        <a:pt x="615" y="1101"/>
                      </a:lnTo>
                      <a:lnTo>
                        <a:pt x="612" y="1101"/>
                      </a:lnTo>
                      <a:lnTo>
                        <a:pt x="610" y="1109"/>
                      </a:lnTo>
                      <a:lnTo>
                        <a:pt x="599" y="1125"/>
                      </a:lnTo>
                      <a:lnTo>
                        <a:pt x="599" y="1135"/>
                      </a:lnTo>
                      <a:lnTo>
                        <a:pt x="591" y="1145"/>
                      </a:lnTo>
                      <a:lnTo>
                        <a:pt x="588" y="1151"/>
                      </a:lnTo>
                      <a:lnTo>
                        <a:pt x="591" y="1151"/>
                      </a:lnTo>
                      <a:lnTo>
                        <a:pt x="588" y="1151"/>
                      </a:lnTo>
                      <a:lnTo>
                        <a:pt x="585" y="1153"/>
                      </a:lnTo>
                      <a:lnTo>
                        <a:pt x="585" y="1151"/>
                      </a:lnTo>
                      <a:lnTo>
                        <a:pt x="579" y="1151"/>
                      </a:lnTo>
                      <a:lnTo>
                        <a:pt x="583" y="1148"/>
                      </a:lnTo>
                      <a:lnTo>
                        <a:pt x="579" y="1148"/>
                      </a:lnTo>
                      <a:lnTo>
                        <a:pt x="574" y="1145"/>
                      </a:lnTo>
                      <a:lnTo>
                        <a:pt x="574" y="1148"/>
                      </a:lnTo>
                      <a:lnTo>
                        <a:pt x="571" y="1151"/>
                      </a:lnTo>
                      <a:lnTo>
                        <a:pt x="574" y="1153"/>
                      </a:lnTo>
                      <a:lnTo>
                        <a:pt x="571" y="1153"/>
                      </a:lnTo>
                      <a:lnTo>
                        <a:pt x="571" y="1156"/>
                      </a:lnTo>
                      <a:lnTo>
                        <a:pt x="571" y="1159"/>
                      </a:lnTo>
                      <a:lnTo>
                        <a:pt x="574" y="1156"/>
                      </a:lnTo>
                      <a:lnTo>
                        <a:pt x="571" y="1161"/>
                      </a:lnTo>
                      <a:lnTo>
                        <a:pt x="568" y="1161"/>
                      </a:lnTo>
                      <a:lnTo>
                        <a:pt x="568" y="1159"/>
                      </a:lnTo>
                      <a:lnTo>
                        <a:pt x="566" y="1156"/>
                      </a:lnTo>
                      <a:lnTo>
                        <a:pt x="563" y="1159"/>
                      </a:lnTo>
                      <a:lnTo>
                        <a:pt x="560" y="1161"/>
                      </a:lnTo>
                      <a:lnTo>
                        <a:pt x="558" y="1161"/>
                      </a:lnTo>
                      <a:lnTo>
                        <a:pt x="558" y="1164"/>
                      </a:lnTo>
                      <a:lnTo>
                        <a:pt x="563" y="1161"/>
                      </a:lnTo>
                      <a:lnTo>
                        <a:pt x="560" y="1164"/>
                      </a:lnTo>
                      <a:lnTo>
                        <a:pt x="563" y="1164"/>
                      </a:lnTo>
                      <a:lnTo>
                        <a:pt x="560" y="1164"/>
                      </a:lnTo>
                      <a:lnTo>
                        <a:pt x="560" y="1167"/>
                      </a:lnTo>
                      <a:lnTo>
                        <a:pt x="558" y="1167"/>
                      </a:lnTo>
                      <a:lnTo>
                        <a:pt x="555" y="1176"/>
                      </a:lnTo>
                      <a:lnTo>
                        <a:pt x="550" y="1187"/>
                      </a:lnTo>
                      <a:lnTo>
                        <a:pt x="552" y="1189"/>
                      </a:lnTo>
                      <a:lnTo>
                        <a:pt x="550" y="1189"/>
                      </a:lnTo>
                      <a:lnTo>
                        <a:pt x="550" y="1192"/>
                      </a:lnTo>
                      <a:lnTo>
                        <a:pt x="546" y="1192"/>
                      </a:lnTo>
                      <a:lnTo>
                        <a:pt x="546" y="1195"/>
                      </a:lnTo>
                      <a:lnTo>
                        <a:pt x="543" y="1195"/>
                      </a:lnTo>
                      <a:lnTo>
                        <a:pt x="538" y="1195"/>
                      </a:lnTo>
                      <a:lnTo>
                        <a:pt x="530" y="1206"/>
                      </a:lnTo>
                      <a:lnTo>
                        <a:pt x="527" y="1212"/>
                      </a:lnTo>
                      <a:lnTo>
                        <a:pt x="527" y="1214"/>
                      </a:lnTo>
                      <a:lnTo>
                        <a:pt x="524" y="1220"/>
                      </a:lnTo>
                      <a:lnTo>
                        <a:pt x="527" y="1220"/>
                      </a:lnTo>
                      <a:lnTo>
                        <a:pt x="524" y="1222"/>
                      </a:lnTo>
                      <a:lnTo>
                        <a:pt x="522" y="1220"/>
                      </a:lnTo>
                      <a:lnTo>
                        <a:pt x="516" y="1222"/>
                      </a:lnTo>
                      <a:lnTo>
                        <a:pt x="510" y="1233"/>
                      </a:lnTo>
                      <a:lnTo>
                        <a:pt x="507" y="1233"/>
                      </a:lnTo>
                      <a:lnTo>
                        <a:pt x="507" y="1236"/>
                      </a:lnTo>
                      <a:lnTo>
                        <a:pt x="505" y="1236"/>
                      </a:lnTo>
                      <a:lnTo>
                        <a:pt x="505" y="1230"/>
                      </a:lnTo>
                      <a:lnTo>
                        <a:pt x="507" y="1228"/>
                      </a:lnTo>
                      <a:lnTo>
                        <a:pt x="505" y="1225"/>
                      </a:lnTo>
                      <a:lnTo>
                        <a:pt x="497" y="1220"/>
                      </a:lnTo>
                      <a:lnTo>
                        <a:pt x="499" y="1214"/>
                      </a:lnTo>
                      <a:lnTo>
                        <a:pt x="502" y="1212"/>
                      </a:lnTo>
                      <a:lnTo>
                        <a:pt x="499" y="1214"/>
                      </a:lnTo>
                      <a:lnTo>
                        <a:pt x="497" y="1214"/>
                      </a:lnTo>
                      <a:lnTo>
                        <a:pt x="497" y="1217"/>
                      </a:lnTo>
                      <a:lnTo>
                        <a:pt x="494" y="1220"/>
                      </a:lnTo>
                      <a:lnTo>
                        <a:pt x="497" y="1222"/>
                      </a:lnTo>
                      <a:lnTo>
                        <a:pt x="491" y="1225"/>
                      </a:lnTo>
                      <a:lnTo>
                        <a:pt x="489" y="1225"/>
                      </a:lnTo>
                      <a:lnTo>
                        <a:pt x="489" y="1228"/>
                      </a:lnTo>
                      <a:lnTo>
                        <a:pt x="486" y="1228"/>
                      </a:lnTo>
                      <a:lnTo>
                        <a:pt x="486" y="1230"/>
                      </a:lnTo>
                      <a:lnTo>
                        <a:pt x="483" y="1230"/>
                      </a:lnTo>
                      <a:lnTo>
                        <a:pt x="481" y="1233"/>
                      </a:lnTo>
                      <a:lnTo>
                        <a:pt x="477" y="1233"/>
                      </a:lnTo>
                      <a:lnTo>
                        <a:pt x="472" y="1236"/>
                      </a:lnTo>
                      <a:lnTo>
                        <a:pt x="469" y="1236"/>
                      </a:lnTo>
                      <a:lnTo>
                        <a:pt x="469" y="1233"/>
                      </a:lnTo>
                      <a:lnTo>
                        <a:pt x="466" y="1233"/>
                      </a:lnTo>
                      <a:lnTo>
                        <a:pt x="466" y="1236"/>
                      </a:lnTo>
                      <a:lnTo>
                        <a:pt x="466" y="1233"/>
                      </a:lnTo>
                      <a:lnTo>
                        <a:pt x="469" y="1236"/>
                      </a:lnTo>
                      <a:lnTo>
                        <a:pt x="469" y="1239"/>
                      </a:lnTo>
                      <a:lnTo>
                        <a:pt x="466" y="1239"/>
                      </a:lnTo>
                      <a:lnTo>
                        <a:pt x="469" y="1236"/>
                      </a:lnTo>
                      <a:lnTo>
                        <a:pt x="466" y="1236"/>
                      </a:lnTo>
                      <a:lnTo>
                        <a:pt x="461" y="1239"/>
                      </a:lnTo>
                      <a:lnTo>
                        <a:pt x="458" y="1242"/>
                      </a:lnTo>
                      <a:lnTo>
                        <a:pt x="453" y="1247"/>
                      </a:lnTo>
                      <a:lnTo>
                        <a:pt x="453" y="1250"/>
                      </a:lnTo>
                      <a:lnTo>
                        <a:pt x="453" y="1253"/>
                      </a:lnTo>
                      <a:lnTo>
                        <a:pt x="453" y="1255"/>
                      </a:lnTo>
                      <a:lnTo>
                        <a:pt x="447" y="1258"/>
                      </a:lnTo>
                      <a:lnTo>
                        <a:pt x="447" y="1264"/>
                      </a:lnTo>
                      <a:lnTo>
                        <a:pt x="438" y="1272"/>
                      </a:lnTo>
                      <a:lnTo>
                        <a:pt x="436" y="1278"/>
                      </a:lnTo>
                      <a:lnTo>
                        <a:pt x="436" y="1281"/>
                      </a:lnTo>
                      <a:lnTo>
                        <a:pt x="433" y="1289"/>
                      </a:lnTo>
                      <a:lnTo>
                        <a:pt x="433" y="1299"/>
                      </a:lnTo>
                      <a:lnTo>
                        <a:pt x="436" y="1305"/>
                      </a:lnTo>
                      <a:lnTo>
                        <a:pt x="433" y="1305"/>
                      </a:lnTo>
                      <a:lnTo>
                        <a:pt x="433" y="1307"/>
                      </a:lnTo>
                      <a:lnTo>
                        <a:pt x="430" y="1319"/>
                      </a:lnTo>
                      <a:lnTo>
                        <a:pt x="425" y="1322"/>
                      </a:lnTo>
                      <a:lnTo>
                        <a:pt x="414" y="1358"/>
                      </a:lnTo>
                      <a:lnTo>
                        <a:pt x="403" y="1363"/>
                      </a:lnTo>
                      <a:lnTo>
                        <a:pt x="400" y="1368"/>
                      </a:lnTo>
                      <a:lnTo>
                        <a:pt x="392" y="1374"/>
                      </a:lnTo>
                      <a:lnTo>
                        <a:pt x="387" y="1383"/>
                      </a:lnTo>
                      <a:lnTo>
                        <a:pt x="375" y="1401"/>
                      </a:lnTo>
                      <a:lnTo>
                        <a:pt x="372" y="1410"/>
                      </a:lnTo>
                      <a:lnTo>
                        <a:pt x="372" y="1421"/>
                      </a:lnTo>
                      <a:lnTo>
                        <a:pt x="372" y="1429"/>
                      </a:lnTo>
                      <a:lnTo>
                        <a:pt x="369" y="1429"/>
                      </a:lnTo>
                      <a:lnTo>
                        <a:pt x="369" y="1427"/>
                      </a:lnTo>
                      <a:lnTo>
                        <a:pt x="367" y="1427"/>
                      </a:lnTo>
                      <a:lnTo>
                        <a:pt x="367" y="1424"/>
                      </a:lnTo>
                      <a:lnTo>
                        <a:pt x="364" y="1424"/>
                      </a:lnTo>
                      <a:lnTo>
                        <a:pt x="364" y="1421"/>
                      </a:lnTo>
                      <a:lnTo>
                        <a:pt x="361" y="1424"/>
                      </a:lnTo>
                      <a:lnTo>
                        <a:pt x="359" y="1424"/>
                      </a:lnTo>
                      <a:lnTo>
                        <a:pt x="356" y="1421"/>
                      </a:lnTo>
                      <a:lnTo>
                        <a:pt x="356" y="1416"/>
                      </a:lnTo>
                      <a:lnTo>
                        <a:pt x="353" y="1407"/>
                      </a:lnTo>
                      <a:lnTo>
                        <a:pt x="351" y="1407"/>
                      </a:lnTo>
                      <a:lnTo>
                        <a:pt x="345" y="1407"/>
                      </a:lnTo>
                      <a:lnTo>
                        <a:pt x="339" y="1410"/>
                      </a:lnTo>
                      <a:lnTo>
                        <a:pt x="334" y="1401"/>
                      </a:lnTo>
                      <a:lnTo>
                        <a:pt x="328" y="1399"/>
                      </a:lnTo>
                      <a:lnTo>
                        <a:pt x="326" y="1399"/>
                      </a:lnTo>
                      <a:lnTo>
                        <a:pt x="323" y="1396"/>
                      </a:lnTo>
                      <a:lnTo>
                        <a:pt x="320" y="1396"/>
                      </a:lnTo>
                      <a:lnTo>
                        <a:pt x="318" y="1393"/>
                      </a:lnTo>
                      <a:lnTo>
                        <a:pt x="315" y="1396"/>
                      </a:lnTo>
                      <a:lnTo>
                        <a:pt x="306" y="1399"/>
                      </a:lnTo>
                      <a:lnTo>
                        <a:pt x="300" y="1399"/>
                      </a:lnTo>
                      <a:lnTo>
                        <a:pt x="298" y="1401"/>
                      </a:lnTo>
                      <a:lnTo>
                        <a:pt x="292" y="1404"/>
                      </a:lnTo>
                      <a:lnTo>
                        <a:pt x="290" y="1404"/>
                      </a:lnTo>
                      <a:lnTo>
                        <a:pt x="284" y="1404"/>
                      </a:lnTo>
                      <a:lnTo>
                        <a:pt x="282" y="1404"/>
                      </a:lnTo>
                      <a:lnTo>
                        <a:pt x="284" y="1401"/>
                      </a:lnTo>
                      <a:lnTo>
                        <a:pt x="282" y="1404"/>
                      </a:lnTo>
                      <a:lnTo>
                        <a:pt x="282" y="1401"/>
                      </a:lnTo>
                      <a:lnTo>
                        <a:pt x="282" y="1404"/>
                      </a:lnTo>
                      <a:lnTo>
                        <a:pt x="279" y="1404"/>
                      </a:lnTo>
                      <a:lnTo>
                        <a:pt x="279" y="1407"/>
                      </a:lnTo>
                      <a:lnTo>
                        <a:pt x="279" y="1404"/>
                      </a:lnTo>
                      <a:lnTo>
                        <a:pt x="276" y="1404"/>
                      </a:lnTo>
                      <a:lnTo>
                        <a:pt x="274" y="1404"/>
                      </a:lnTo>
                      <a:lnTo>
                        <a:pt x="270" y="1401"/>
                      </a:lnTo>
                      <a:lnTo>
                        <a:pt x="265" y="1401"/>
                      </a:lnTo>
                      <a:lnTo>
                        <a:pt x="265" y="1399"/>
                      </a:lnTo>
                      <a:lnTo>
                        <a:pt x="262" y="1399"/>
                      </a:lnTo>
                      <a:lnTo>
                        <a:pt x="262" y="1396"/>
                      </a:lnTo>
                      <a:lnTo>
                        <a:pt x="259" y="1396"/>
                      </a:lnTo>
                      <a:lnTo>
                        <a:pt x="256" y="1396"/>
                      </a:lnTo>
                      <a:lnTo>
                        <a:pt x="251" y="1396"/>
                      </a:lnTo>
                      <a:lnTo>
                        <a:pt x="248" y="1401"/>
                      </a:lnTo>
                      <a:lnTo>
                        <a:pt x="246" y="1401"/>
                      </a:lnTo>
                      <a:lnTo>
                        <a:pt x="243" y="1401"/>
                      </a:lnTo>
                      <a:lnTo>
                        <a:pt x="243" y="1404"/>
                      </a:lnTo>
                      <a:lnTo>
                        <a:pt x="240" y="1401"/>
                      </a:lnTo>
                      <a:lnTo>
                        <a:pt x="237" y="1401"/>
                      </a:lnTo>
                      <a:lnTo>
                        <a:pt x="234" y="1401"/>
                      </a:lnTo>
                      <a:lnTo>
                        <a:pt x="229" y="1393"/>
                      </a:lnTo>
                      <a:lnTo>
                        <a:pt x="226" y="1396"/>
                      </a:lnTo>
                      <a:lnTo>
                        <a:pt x="226" y="1393"/>
                      </a:lnTo>
                      <a:lnTo>
                        <a:pt x="223" y="1393"/>
                      </a:lnTo>
                      <a:lnTo>
                        <a:pt x="221" y="1391"/>
                      </a:lnTo>
                      <a:lnTo>
                        <a:pt x="218" y="1391"/>
                      </a:lnTo>
                      <a:lnTo>
                        <a:pt x="207" y="1388"/>
                      </a:lnTo>
                      <a:lnTo>
                        <a:pt x="205" y="1388"/>
                      </a:lnTo>
                      <a:lnTo>
                        <a:pt x="201" y="1385"/>
                      </a:lnTo>
                      <a:lnTo>
                        <a:pt x="201" y="1388"/>
                      </a:lnTo>
                      <a:lnTo>
                        <a:pt x="198" y="1388"/>
                      </a:lnTo>
                      <a:lnTo>
                        <a:pt x="196" y="1388"/>
                      </a:lnTo>
                      <a:lnTo>
                        <a:pt x="193" y="1385"/>
                      </a:lnTo>
                      <a:lnTo>
                        <a:pt x="190" y="1388"/>
                      </a:lnTo>
                      <a:lnTo>
                        <a:pt x="188" y="1385"/>
                      </a:lnTo>
                      <a:lnTo>
                        <a:pt x="188" y="1388"/>
                      </a:lnTo>
                      <a:lnTo>
                        <a:pt x="185" y="1388"/>
                      </a:lnTo>
                      <a:lnTo>
                        <a:pt x="179" y="1393"/>
                      </a:lnTo>
                      <a:lnTo>
                        <a:pt x="174" y="1393"/>
                      </a:lnTo>
                      <a:lnTo>
                        <a:pt x="171" y="1391"/>
                      </a:lnTo>
                      <a:lnTo>
                        <a:pt x="165" y="1388"/>
                      </a:lnTo>
                      <a:lnTo>
                        <a:pt x="160" y="1385"/>
                      </a:lnTo>
                      <a:lnTo>
                        <a:pt x="160" y="1380"/>
                      </a:lnTo>
                      <a:lnTo>
                        <a:pt x="157" y="1380"/>
                      </a:lnTo>
                      <a:lnTo>
                        <a:pt x="152" y="1380"/>
                      </a:lnTo>
                      <a:lnTo>
                        <a:pt x="149" y="1376"/>
                      </a:lnTo>
                      <a:lnTo>
                        <a:pt x="146" y="1376"/>
                      </a:lnTo>
                      <a:lnTo>
                        <a:pt x="146" y="1383"/>
                      </a:lnTo>
                      <a:lnTo>
                        <a:pt x="141" y="1376"/>
                      </a:lnTo>
                      <a:lnTo>
                        <a:pt x="132" y="1380"/>
                      </a:lnTo>
                      <a:lnTo>
                        <a:pt x="129" y="1374"/>
                      </a:lnTo>
                      <a:lnTo>
                        <a:pt x="127" y="1380"/>
                      </a:lnTo>
                      <a:lnTo>
                        <a:pt x="124" y="1376"/>
                      </a:lnTo>
                      <a:lnTo>
                        <a:pt x="124" y="1374"/>
                      </a:lnTo>
                      <a:lnTo>
                        <a:pt x="119" y="1371"/>
                      </a:lnTo>
                      <a:lnTo>
                        <a:pt x="116" y="1366"/>
                      </a:lnTo>
                      <a:lnTo>
                        <a:pt x="108" y="1368"/>
                      </a:lnTo>
                      <a:lnTo>
                        <a:pt x="99" y="1363"/>
                      </a:lnTo>
                      <a:lnTo>
                        <a:pt x="96" y="1363"/>
                      </a:lnTo>
                      <a:lnTo>
                        <a:pt x="93" y="1363"/>
                      </a:lnTo>
                      <a:lnTo>
                        <a:pt x="91" y="1363"/>
                      </a:lnTo>
                      <a:lnTo>
                        <a:pt x="91" y="1360"/>
                      </a:lnTo>
                      <a:lnTo>
                        <a:pt x="85" y="1358"/>
                      </a:lnTo>
                      <a:lnTo>
                        <a:pt x="85" y="1355"/>
                      </a:lnTo>
                      <a:lnTo>
                        <a:pt x="83" y="1355"/>
                      </a:lnTo>
                      <a:lnTo>
                        <a:pt x="80" y="1358"/>
                      </a:lnTo>
                      <a:lnTo>
                        <a:pt x="80" y="1355"/>
                      </a:lnTo>
                      <a:lnTo>
                        <a:pt x="77" y="1355"/>
                      </a:lnTo>
                      <a:lnTo>
                        <a:pt x="75" y="1352"/>
                      </a:lnTo>
                      <a:lnTo>
                        <a:pt x="69" y="1352"/>
                      </a:lnTo>
                      <a:lnTo>
                        <a:pt x="69" y="1355"/>
                      </a:lnTo>
                      <a:lnTo>
                        <a:pt x="63" y="1355"/>
                      </a:lnTo>
                      <a:lnTo>
                        <a:pt x="63" y="1352"/>
                      </a:lnTo>
                      <a:lnTo>
                        <a:pt x="69" y="1350"/>
                      </a:lnTo>
                      <a:lnTo>
                        <a:pt x="69" y="1347"/>
                      </a:lnTo>
                      <a:lnTo>
                        <a:pt x="63" y="1347"/>
                      </a:lnTo>
                      <a:lnTo>
                        <a:pt x="60" y="1347"/>
                      </a:lnTo>
                      <a:lnTo>
                        <a:pt x="58" y="1347"/>
                      </a:lnTo>
                      <a:lnTo>
                        <a:pt x="58" y="1344"/>
                      </a:lnTo>
                      <a:lnTo>
                        <a:pt x="63" y="1333"/>
                      </a:lnTo>
                      <a:lnTo>
                        <a:pt x="60" y="1333"/>
                      </a:lnTo>
                      <a:lnTo>
                        <a:pt x="60" y="1330"/>
                      </a:lnTo>
                      <a:lnTo>
                        <a:pt x="58" y="1330"/>
                      </a:lnTo>
                      <a:lnTo>
                        <a:pt x="58" y="1324"/>
                      </a:lnTo>
                      <a:lnTo>
                        <a:pt x="60" y="1324"/>
                      </a:lnTo>
                      <a:lnTo>
                        <a:pt x="60" y="1327"/>
                      </a:lnTo>
                      <a:lnTo>
                        <a:pt x="63" y="1327"/>
                      </a:lnTo>
                      <a:lnTo>
                        <a:pt x="63" y="1322"/>
                      </a:lnTo>
                      <a:lnTo>
                        <a:pt x="60" y="1316"/>
                      </a:lnTo>
                      <a:lnTo>
                        <a:pt x="60" y="1314"/>
                      </a:lnTo>
                      <a:lnTo>
                        <a:pt x="63" y="1314"/>
                      </a:lnTo>
                      <a:lnTo>
                        <a:pt x="66" y="1311"/>
                      </a:lnTo>
                      <a:lnTo>
                        <a:pt x="60" y="1307"/>
                      </a:lnTo>
                      <a:lnTo>
                        <a:pt x="63" y="1305"/>
                      </a:lnTo>
                      <a:lnTo>
                        <a:pt x="63" y="1299"/>
                      </a:lnTo>
                      <a:lnTo>
                        <a:pt x="66" y="1299"/>
                      </a:lnTo>
                      <a:lnTo>
                        <a:pt x="66" y="1294"/>
                      </a:lnTo>
                      <a:lnTo>
                        <a:pt x="63" y="1294"/>
                      </a:lnTo>
                      <a:lnTo>
                        <a:pt x="63" y="1283"/>
                      </a:lnTo>
                      <a:lnTo>
                        <a:pt x="58" y="1281"/>
                      </a:lnTo>
                      <a:lnTo>
                        <a:pt x="55" y="1272"/>
                      </a:lnTo>
                      <a:lnTo>
                        <a:pt x="58" y="1272"/>
                      </a:lnTo>
                      <a:lnTo>
                        <a:pt x="60" y="1269"/>
                      </a:lnTo>
                      <a:lnTo>
                        <a:pt x="63" y="1261"/>
                      </a:lnTo>
                      <a:lnTo>
                        <a:pt x="60" y="1261"/>
                      </a:lnTo>
                      <a:lnTo>
                        <a:pt x="60" y="1258"/>
                      </a:lnTo>
                      <a:lnTo>
                        <a:pt x="63" y="1250"/>
                      </a:lnTo>
                      <a:lnTo>
                        <a:pt x="66" y="1250"/>
                      </a:lnTo>
                      <a:lnTo>
                        <a:pt x="60" y="1247"/>
                      </a:lnTo>
                      <a:lnTo>
                        <a:pt x="55" y="1250"/>
                      </a:lnTo>
                      <a:lnTo>
                        <a:pt x="55" y="1247"/>
                      </a:lnTo>
                      <a:lnTo>
                        <a:pt x="52" y="1242"/>
                      </a:lnTo>
                      <a:lnTo>
                        <a:pt x="55" y="1233"/>
                      </a:lnTo>
                      <a:lnTo>
                        <a:pt x="55" y="1230"/>
                      </a:lnTo>
                      <a:lnTo>
                        <a:pt x="55" y="1228"/>
                      </a:lnTo>
                      <a:lnTo>
                        <a:pt x="52" y="1225"/>
                      </a:lnTo>
                      <a:lnTo>
                        <a:pt x="50" y="1228"/>
                      </a:lnTo>
                      <a:lnTo>
                        <a:pt x="50" y="1222"/>
                      </a:lnTo>
                      <a:lnTo>
                        <a:pt x="44" y="1222"/>
                      </a:lnTo>
                      <a:lnTo>
                        <a:pt x="44" y="1220"/>
                      </a:lnTo>
                      <a:lnTo>
                        <a:pt x="41" y="1220"/>
                      </a:lnTo>
                      <a:lnTo>
                        <a:pt x="32" y="1220"/>
                      </a:lnTo>
                      <a:lnTo>
                        <a:pt x="30" y="1222"/>
                      </a:lnTo>
                      <a:lnTo>
                        <a:pt x="24" y="1222"/>
                      </a:lnTo>
                      <a:lnTo>
                        <a:pt x="27" y="1217"/>
                      </a:lnTo>
                      <a:lnTo>
                        <a:pt x="24" y="1220"/>
                      </a:lnTo>
                      <a:lnTo>
                        <a:pt x="19" y="1217"/>
                      </a:lnTo>
                      <a:lnTo>
                        <a:pt x="19" y="1214"/>
                      </a:lnTo>
                      <a:lnTo>
                        <a:pt x="16" y="1212"/>
                      </a:lnTo>
                      <a:lnTo>
                        <a:pt x="11" y="1209"/>
                      </a:lnTo>
                      <a:lnTo>
                        <a:pt x="8" y="1204"/>
                      </a:lnTo>
                      <a:lnTo>
                        <a:pt x="3" y="1206"/>
                      </a:lnTo>
                      <a:lnTo>
                        <a:pt x="0" y="1206"/>
                      </a:lnTo>
                      <a:lnTo>
                        <a:pt x="0" y="1206"/>
                      </a:lnTo>
                      <a:close/>
                    </a:path>
                  </a:pathLst>
                </a:custGeom>
                <a:grpFill/>
                <a:ln w="12700" cap="flat" cmpd="sng" algn="ctr">
                  <a:solidFill>
                    <a:schemeClr val="bg1">
                      <a:lumMod val="85000"/>
                    </a:schemeClr>
                  </a:solidFill>
                  <a:prstDash val="solid"/>
                  <a:round/>
                  <a:headEnd type="none" w="med" len="med"/>
                  <a:tailEnd type="none" w="med" len="med"/>
                </a:ln>
              </p:spPr>
            </p:sp>
            <p:sp>
              <p:nvSpPr>
                <p:cNvPr id="65" name="ee4p_BR_26"/>
                <p:cNvSpPr>
                  <a:spLocks/>
                </p:cNvSpPr>
                <p:nvPr>
                  <p:custDataLst>
                    <p:tags r:id="rId27"/>
                  </p:custDataLst>
                </p:nvPr>
              </p:nvSpPr>
              <p:spPr bwMode="auto">
                <a:xfrm>
                  <a:off x="5572383" y="4602252"/>
                  <a:ext cx="412143" cy="300364"/>
                </a:xfrm>
                <a:custGeom>
                  <a:avLst/>
                  <a:gdLst/>
                  <a:ahLst/>
                  <a:cxnLst>
                    <a:cxn ang="0">
                      <a:pos x="34" y="964"/>
                    </a:cxn>
                    <a:cxn ang="0">
                      <a:pos x="88" y="903"/>
                    </a:cxn>
                    <a:cxn ang="0">
                      <a:pos x="199" y="876"/>
                    </a:cxn>
                    <a:cxn ang="0">
                      <a:pos x="282" y="823"/>
                    </a:cxn>
                    <a:cxn ang="0">
                      <a:pos x="243" y="771"/>
                    </a:cxn>
                    <a:cxn ang="0">
                      <a:pos x="197" y="774"/>
                    </a:cxn>
                    <a:cxn ang="0">
                      <a:pos x="119" y="777"/>
                    </a:cxn>
                    <a:cxn ang="0">
                      <a:pos x="69" y="716"/>
                    </a:cxn>
                    <a:cxn ang="0">
                      <a:pos x="119" y="655"/>
                    </a:cxn>
                    <a:cxn ang="0">
                      <a:pos x="216" y="624"/>
                    </a:cxn>
                    <a:cxn ang="0">
                      <a:pos x="295" y="616"/>
                    </a:cxn>
                    <a:cxn ang="0">
                      <a:pos x="371" y="583"/>
                    </a:cxn>
                    <a:cxn ang="0">
                      <a:pos x="470" y="562"/>
                    </a:cxn>
                    <a:cxn ang="0">
                      <a:pos x="542" y="552"/>
                    </a:cxn>
                    <a:cxn ang="0">
                      <a:pos x="671" y="526"/>
                    </a:cxn>
                    <a:cxn ang="0">
                      <a:pos x="749" y="555"/>
                    </a:cxn>
                    <a:cxn ang="0">
                      <a:pos x="939" y="450"/>
                    </a:cxn>
                    <a:cxn ang="0">
                      <a:pos x="1035" y="376"/>
                    </a:cxn>
                    <a:cxn ang="0">
                      <a:pos x="1061" y="283"/>
                    </a:cxn>
                    <a:cxn ang="0">
                      <a:pos x="1096" y="202"/>
                    </a:cxn>
                    <a:cxn ang="0">
                      <a:pos x="1135" y="114"/>
                    </a:cxn>
                    <a:cxn ang="0">
                      <a:pos x="1176" y="69"/>
                    </a:cxn>
                    <a:cxn ang="0">
                      <a:pos x="1234" y="0"/>
                    </a:cxn>
                    <a:cxn ang="0">
                      <a:pos x="1289" y="59"/>
                    </a:cxn>
                    <a:cxn ang="0">
                      <a:pos x="1286" y="145"/>
                    </a:cxn>
                    <a:cxn ang="0">
                      <a:pos x="1358" y="178"/>
                    </a:cxn>
                    <a:cxn ang="0">
                      <a:pos x="1452" y="191"/>
                    </a:cxn>
                    <a:cxn ang="0">
                      <a:pos x="1508" y="202"/>
                    </a:cxn>
                    <a:cxn ang="0">
                      <a:pos x="1596" y="227"/>
                    </a:cxn>
                    <a:cxn ang="0">
                      <a:pos x="1593" y="498"/>
                    </a:cxn>
                    <a:cxn ang="0">
                      <a:pos x="1262" y="688"/>
                    </a:cxn>
                    <a:cxn ang="0">
                      <a:pos x="1193" y="828"/>
                    </a:cxn>
                    <a:cxn ang="0">
                      <a:pos x="1204" y="854"/>
                    </a:cxn>
                    <a:cxn ang="0">
                      <a:pos x="1173" y="917"/>
                    </a:cxn>
                    <a:cxn ang="0">
                      <a:pos x="900" y="915"/>
                    </a:cxn>
                    <a:cxn ang="0">
                      <a:pos x="718" y="906"/>
                    </a:cxn>
                    <a:cxn ang="0">
                      <a:pos x="734" y="851"/>
                    </a:cxn>
                    <a:cxn ang="0">
                      <a:pos x="716" y="820"/>
                    </a:cxn>
                    <a:cxn ang="0">
                      <a:pos x="665" y="870"/>
                    </a:cxn>
                    <a:cxn ang="0">
                      <a:pos x="701" y="851"/>
                    </a:cxn>
                    <a:cxn ang="0">
                      <a:pos x="680" y="887"/>
                    </a:cxn>
                    <a:cxn ang="0">
                      <a:pos x="701" y="915"/>
                    </a:cxn>
                    <a:cxn ang="0">
                      <a:pos x="613" y="928"/>
                    </a:cxn>
                    <a:cxn ang="0">
                      <a:pos x="644" y="945"/>
                    </a:cxn>
                    <a:cxn ang="0">
                      <a:pos x="362" y="981"/>
                    </a:cxn>
                    <a:cxn ang="0">
                      <a:pos x="481" y="961"/>
                    </a:cxn>
                    <a:cxn ang="0">
                      <a:pos x="478" y="925"/>
                    </a:cxn>
                    <a:cxn ang="0">
                      <a:pos x="412" y="915"/>
                    </a:cxn>
                    <a:cxn ang="0">
                      <a:pos x="368" y="912"/>
                    </a:cxn>
                    <a:cxn ang="0">
                      <a:pos x="299" y="956"/>
                    </a:cxn>
                    <a:cxn ang="0">
                      <a:pos x="257" y="941"/>
                    </a:cxn>
                    <a:cxn ang="0">
                      <a:pos x="230" y="936"/>
                    </a:cxn>
                    <a:cxn ang="0">
                      <a:pos x="213" y="906"/>
                    </a:cxn>
                    <a:cxn ang="0">
                      <a:pos x="185" y="931"/>
                    </a:cxn>
                    <a:cxn ang="0">
                      <a:pos x="128" y="961"/>
                    </a:cxn>
                    <a:cxn ang="0">
                      <a:pos x="83" y="992"/>
                    </a:cxn>
                    <a:cxn ang="0">
                      <a:pos x="80" y="1035"/>
                    </a:cxn>
                    <a:cxn ang="0">
                      <a:pos x="103" y="1033"/>
                    </a:cxn>
                    <a:cxn ang="0">
                      <a:pos x="113" y="1035"/>
                    </a:cxn>
                    <a:cxn ang="0">
                      <a:pos x="149" y="1058"/>
                    </a:cxn>
                    <a:cxn ang="0">
                      <a:pos x="100" y="1079"/>
                    </a:cxn>
                    <a:cxn ang="0">
                      <a:pos x="34" y="1061"/>
                    </a:cxn>
                  </a:cxnLst>
                  <a:rect l="0" t="0" r="r" b="b"/>
                  <a:pathLst>
                    <a:path w="1598" h="1094">
                      <a:moveTo>
                        <a:pt x="3" y="1025"/>
                      </a:moveTo>
                      <a:lnTo>
                        <a:pt x="6" y="1022"/>
                      </a:lnTo>
                      <a:lnTo>
                        <a:pt x="6" y="1019"/>
                      </a:lnTo>
                      <a:lnTo>
                        <a:pt x="6" y="1017"/>
                      </a:lnTo>
                      <a:lnTo>
                        <a:pt x="11" y="1014"/>
                      </a:lnTo>
                      <a:lnTo>
                        <a:pt x="14" y="1014"/>
                      </a:lnTo>
                      <a:lnTo>
                        <a:pt x="14" y="1010"/>
                      </a:lnTo>
                      <a:lnTo>
                        <a:pt x="17" y="1010"/>
                      </a:lnTo>
                      <a:lnTo>
                        <a:pt x="19" y="1008"/>
                      </a:lnTo>
                      <a:lnTo>
                        <a:pt x="26" y="1008"/>
                      </a:lnTo>
                      <a:lnTo>
                        <a:pt x="28" y="1005"/>
                      </a:lnTo>
                      <a:lnTo>
                        <a:pt x="26" y="1000"/>
                      </a:lnTo>
                      <a:lnTo>
                        <a:pt x="31" y="997"/>
                      </a:lnTo>
                      <a:lnTo>
                        <a:pt x="28" y="994"/>
                      </a:lnTo>
                      <a:lnTo>
                        <a:pt x="34" y="992"/>
                      </a:lnTo>
                      <a:lnTo>
                        <a:pt x="31" y="989"/>
                      </a:lnTo>
                      <a:lnTo>
                        <a:pt x="34" y="986"/>
                      </a:lnTo>
                      <a:lnTo>
                        <a:pt x="31" y="986"/>
                      </a:lnTo>
                      <a:lnTo>
                        <a:pt x="34" y="981"/>
                      </a:lnTo>
                      <a:lnTo>
                        <a:pt x="31" y="981"/>
                      </a:lnTo>
                      <a:lnTo>
                        <a:pt x="31" y="977"/>
                      </a:lnTo>
                      <a:lnTo>
                        <a:pt x="28" y="977"/>
                      </a:lnTo>
                      <a:lnTo>
                        <a:pt x="31" y="975"/>
                      </a:lnTo>
                      <a:lnTo>
                        <a:pt x="31" y="972"/>
                      </a:lnTo>
                      <a:lnTo>
                        <a:pt x="31" y="969"/>
                      </a:lnTo>
                      <a:lnTo>
                        <a:pt x="31" y="966"/>
                      </a:lnTo>
                      <a:lnTo>
                        <a:pt x="34" y="964"/>
                      </a:lnTo>
                      <a:lnTo>
                        <a:pt x="34" y="961"/>
                      </a:lnTo>
                      <a:lnTo>
                        <a:pt x="36" y="958"/>
                      </a:lnTo>
                      <a:lnTo>
                        <a:pt x="36" y="953"/>
                      </a:lnTo>
                      <a:lnTo>
                        <a:pt x="39" y="950"/>
                      </a:lnTo>
                      <a:lnTo>
                        <a:pt x="39" y="948"/>
                      </a:lnTo>
                      <a:lnTo>
                        <a:pt x="36" y="948"/>
                      </a:lnTo>
                      <a:lnTo>
                        <a:pt x="39" y="941"/>
                      </a:lnTo>
                      <a:lnTo>
                        <a:pt x="36" y="939"/>
                      </a:lnTo>
                      <a:lnTo>
                        <a:pt x="39" y="936"/>
                      </a:lnTo>
                      <a:lnTo>
                        <a:pt x="39" y="933"/>
                      </a:lnTo>
                      <a:lnTo>
                        <a:pt x="39" y="931"/>
                      </a:lnTo>
                      <a:lnTo>
                        <a:pt x="42" y="931"/>
                      </a:lnTo>
                      <a:lnTo>
                        <a:pt x="44" y="931"/>
                      </a:lnTo>
                      <a:lnTo>
                        <a:pt x="50" y="931"/>
                      </a:lnTo>
                      <a:lnTo>
                        <a:pt x="52" y="931"/>
                      </a:lnTo>
                      <a:lnTo>
                        <a:pt x="55" y="931"/>
                      </a:lnTo>
                      <a:lnTo>
                        <a:pt x="55" y="928"/>
                      </a:lnTo>
                      <a:lnTo>
                        <a:pt x="59" y="925"/>
                      </a:lnTo>
                      <a:lnTo>
                        <a:pt x="55" y="923"/>
                      </a:lnTo>
                      <a:lnTo>
                        <a:pt x="61" y="917"/>
                      </a:lnTo>
                      <a:lnTo>
                        <a:pt x="69" y="912"/>
                      </a:lnTo>
                      <a:lnTo>
                        <a:pt x="72" y="908"/>
                      </a:lnTo>
                      <a:lnTo>
                        <a:pt x="75" y="912"/>
                      </a:lnTo>
                      <a:lnTo>
                        <a:pt x="77" y="912"/>
                      </a:lnTo>
                      <a:lnTo>
                        <a:pt x="80" y="912"/>
                      </a:lnTo>
                      <a:lnTo>
                        <a:pt x="83" y="912"/>
                      </a:lnTo>
                      <a:lnTo>
                        <a:pt x="88" y="903"/>
                      </a:lnTo>
                      <a:lnTo>
                        <a:pt x="95" y="908"/>
                      </a:lnTo>
                      <a:lnTo>
                        <a:pt x="103" y="903"/>
                      </a:lnTo>
                      <a:lnTo>
                        <a:pt x="103" y="900"/>
                      </a:lnTo>
                      <a:lnTo>
                        <a:pt x="105" y="897"/>
                      </a:lnTo>
                      <a:lnTo>
                        <a:pt x="116" y="892"/>
                      </a:lnTo>
                      <a:lnTo>
                        <a:pt x="119" y="892"/>
                      </a:lnTo>
                      <a:lnTo>
                        <a:pt x="128" y="887"/>
                      </a:lnTo>
                      <a:lnTo>
                        <a:pt x="136" y="892"/>
                      </a:lnTo>
                      <a:lnTo>
                        <a:pt x="141" y="889"/>
                      </a:lnTo>
                      <a:lnTo>
                        <a:pt x="147" y="884"/>
                      </a:lnTo>
                      <a:lnTo>
                        <a:pt x="152" y="881"/>
                      </a:lnTo>
                      <a:lnTo>
                        <a:pt x="157" y="876"/>
                      </a:lnTo>
                      <a:lnTo>
                        <a:pt x="161" y="876"/>
                      </a:lnTo>
                      <a:lnTo>
                        <a:pt x="166" y="876"/>
                      </a:lnTo>
                      <a:lnTo>
                        <a:pt x="169" y="879"/>
                      </a:lnTo>
                      <a:lnTo>
                        <a:pt x="166" y="884"/>
                      </a:lnTo>
                      <a:lnTo>
                        <a:pt x="169" y="884"/>
                      </a:lnTo>
                      <a:lnTo>
                        <a:pt x="169" y="887"/>
                      </a:lnTo>
                      <a:lnTo>
                        <a:pt x="172" y="887"/>
                      </a:lnTo>
                      <a:lnTo>
                        <a:pt x="172" y="889"/>
                      </a:lnTo>
                      <a:lnTo>
                        <a:pt x="180" y="887"/>
                      </a:lnTo>
                      <a:lnTo>
                        <a:pt x="182" y="887"/>
                      </a:lnTo>
                      <a:lnTo>
                        <a:pt x="185" y="884"/>
                      </a:lnTo>
                      <a:lnTo>
                        <a:pt x="188" y="879"/>
                      </a:lnTo>
                      <a:lnTo>
                        <a:pt x="190" y="876"/>
                      </a:lnTo>
                      <a:lnTo>
                        <a:pt x="194" y="876"/>
                      </a:lnTo>
                      <a:lnTo>
                        <a:pt x="199" y="876"/>
                      </a:lnTo>
                      <a:lnTo>
                        <a:pt x="199" y="879"/>
                      </a:lnTo>
                      <a:lnTo>
                        <a:pt x="202" y="879"/>
                      </a:lnTo>
                      <a:lnTo>
                        <a:pt x="205" y="879"/>
                      </a:lnTo>
                      <a:lnTo>
                        <a:pt x="210" y="879"/>
                      </a:lnTo>
                      <a:lnTo>
                        <a:pt x="230" y="870"/>
                      </a:lnTo>
                      <a:lnTo>
                        <a:pt x="233" y="872"/>
                      </a:lnTo>
                      <a:lnTo>
                        <a:pt x="230" y="876"/>
                      </a:lnTo>
                      <a:lnTo>
                        <a:pt x="233" y="876"/>
                      </a:lnTo>
                      <a:lnTo>
                        <a:pt x="233" y="872"/>
                      </a:lnTo>
                      <a:lnTo>
                        <a:pt x="241" y="867"/>
                      </a:lnTo>
                      <a:lnTo>
                        <a:pt x="246" y="867"/>
                      </a:lnTo>
                      <a:lnTo>
                        <a:pt x="246" y="870"/>
                      </a:lnTo>
                      <a:lnTo>
                        <a:pt x="251" y="867"/>
                      </a:lnTo>
                      <a:lnTo>
                        <a:pt x="257" y="856"/>
                      </a:lnTo>
                      <a:lnTo>
                        <a:pt x="263" y="856"/>
                      </a:lnTo>
                      <a:lnTo>
                        <a:pt x="263" y="854"/>
                      </a:lnTo>
                      <a:lnTo>
                        <a:pt x="263" y="851"/>
                      </a:lnTo>
                      <a:lnTo>
                        <a:pt x="257" y="851"/>
                      </a:lnTo>
                      <a:lnTo>
                        <a:pt x="259" y="848"/>
                      </a:lnTo>
                      <a:lnTo>
                        <a:pt x="257" y="846"/>
                      </a:lnTo>
                      <a:lnTo>
                        <a:pt x="257" y="843"/>
                      </a:lnTo>
                      <a:lnTo>
                        <a:pt x="259" y="837"/>
                      </a:lnTo>
                      <a:lnTo>
                        <a:pt x="266" y="837"/>
                      </a:lnTo>
                      <a:lnTo>
                        <a:pt x="263" y="834"/>
                      </a:lnTo>
                      <a:lnTo>
                        <a:pt x="271" y="826"/>
                      </a:lnTo>
                      <a:lnTo>
                        <a:pt x="279" y="826"/>
                      </a:lnTo>
                      <a:lnTo>
                        <a:pt x="282" y="823"/>
                      </a:lnTo>
                      <a:lnTo>
                        <a:pt x="279" y="823"/>
                      </a:lnTo>
                      <a:lnTo>
                        <a:pt x="279" y="820"/>
                      </a:lnTo>
                      <a:lnTo>
                        <a:pt x="282" y="820"/>
                      </a:lnTo>
                      <a:lnTo>
                        <a:pt x="287" y="818"/>
                      </a:lnTo>
                      <a:lnTo>
                        <a:pt x="290" y="815"/>
                      </a:lnTo>
                      <a:lnTo>
                        <a:pt x="290" y="810"/>
                      </a:lnTo>
                      <a:lnTo>
                        <a:pt x="293" y="810"/>
                      </a:lnTo>
                      <a:lnTo>
                        <a:pt x="295" y="807"/>
                      </a:lnTo>
                      <a:lnTo>
                        <a:pt x="295" y="803"/>
                      </a:lnTo>
                      <a:lnTo>
                        <a:pt x="295" y="801"/>
                      </a:lnTo>
                      <a:lnTo>
                        <a:pt x="290" y="795"/>
                      </a:lnTo>
                      <a:lnTo>
                        <a:pt x="285" y="790"/>
                      </a:lnTo>
                      <a:lnTo>
                        <a:pt x="287" y="787"/>
                      </a:lnTo>
                      <a:lnTo>
                        <a:pt x="285" y="785"/>
                      </a:lnTo>
                      <a:lnTo>
                        <a:pt x="282" y="785"/>
                      </a:lnTo>
                      <a:lnTo>
                        <a:pt x="279" y="782"/>
                      </a:lnTo>
                      <a:lnTo>
                        <a:pt x="279" y="777"/>
                      </a:lnTo>
                      <a:lnTo>
                        <a:pt x="276" y="777"/>
                      </a:lnTo>
                      <a:lnTo>
                        <a:pt x="274" y="779"/>
                      </a:lnTo>
                      <a:lnTo>
                        <a:pt x="271" y="774"/>
                      </a:lnTo>
                      <a:lnTo>
                        <a:pt x="268" y="774"/>
                      </a:lnTo>
                      <a:lnTo>
                        <a:pt x="263" y="774"/>
                      </a:lnTo>
                      <a:lnTo>
                        <a:pt x="259" y="777"/>
                      </a:lnTo>
                      <a:lnTo>
                        <a:pt x="251" y="771"/>
                      </a:lnTo>
                      <a:lnTo>
                        <a:pt x="246" y="774"/>
                      </a:lnTo>
                      <a:lnTo>
                        <a:pt x="246" y="777"/>
                      </a:lnTo>
                      <a:lnTo>
                        <a:pt x="243" y="771"/>
                      </a:lnTo>
                      <a:lnTo>
                        <a:pt x="241" y="771"/>
                      </a:lnTo>
                      <a:lnTo>
                        <a:pt x="238" y="771"/>
                      </a:lnTo>
                      <a:lnTo>
                        <a:pt x="235" y="768"/>
                      </a:lnTo>
                      <a:lnTo>
                        <a:pt x="233" y="771"/>
                      </a:lnTo>
                      <a:lnTo>
                        <a:pt x="230" y="765"/>
                      </a:lnTo>
                      <a:lnTo>
                        <a:pt x="224" y="768"/>
                      </a:lnTo>
                      <a:lnTo>
                        <a:pt x="221" y="765"/>
                      </a:lnTo>
                      <a:lnTo>
                        <a:pt x="221" y="768"/>
                      </a:lnTo>
                      <a:lnTo>
                        <a:pt x="221" y="771"/>
                      </a:lnTo>
                      <a:lnTo>
                        <a:pt x="218" y="768"/>
                      </a:lnTo>
                      <a:lnTo>
                        <a:pt x="218" y="771"/>
                      </a:lnTo>
                      <a:lnTo>
                        <a:pt x="221" y="777"/>
                      </a:lnTo>
                      <a:lnTo>
                        <a:pt x="218" y="777"/>
                      </a:lnTo>
                      <a:lnTo>
                        <a:pt x="216" y="777"/>
                      </a:lnTo>
                      <a:lnTo>
                        <a:pt x="216" y="768"/>
                      </a:lnTo>
                      <a:lnTo>
                        <a:pt x="213" y="768"/>
                      </a:lnTo>
                      <a:lnTo>
                        <a:pt x="216" y="762"/>
                      </a:lnTo>
                      <a:lnTo>
                        <a:pt x="213" y="762"/>
                      </a:lnTo>
                      <a:lnTo>
                        <a:pt x="210" y="762"/>
                      </a:lnTo>
                      <a:lnTo>
                        <a:pt x="205" y="759"/>
                      </a:lnTo>
                      <a:lnTo>
                        <a:pt x="202" y="759"/>
                      </a:lnTo>
                      <a:lnTo>
                        <a:pt x="202" y="762"/>
                      </a:lnTo>
                      <a:lnTo>
                        <a:pt x="197" y="765"/>
                      </a:lnTo>
                      <a:lnTo>
                        <a:pt x="197" y="768"/>
                      </a:lnTo>
                      <a:lnTo>
                        <a:pt x="199" y="771"/>
                      </a:lnTo>
                      <a:lnTo>
                        <a:pt x="199" y="774"/>
                      </a:lnTo>
                      <a:lnTo>
                        <a:pt x="197" y="774"/>
                      </a:lnTo>
                      <a:lnTo>
                        <a:pt x="194" y="771"/>
                      </a:lnTo>
                      <a:lnTo>
                        <a:pt x="188" y="771"/>
                      </a:lnTo>
                      <a:lnTo>
                        <a:pt x="182" y="774"/>
                      </a:lnTo>
                      <a:lnTo>
                        <a:pt x="180" y="777"/>
                      </a:lnTo>
                      <a:lnTo>
                        <a:pt x="177" y="777"/>
                      </a:lnTo>
                      <a:lnTo>
                        <a:pt x="174" y="779"/>
                      </a:lnTo>
                      <a:lnTo>
                        <a:pt x="169" y="777"/>
                      </a:lnTo>
                      <a:lnTo>
                        <a:pt x="166" y="774"/>
                      </a:lnTo>
                      <a:lnTo>
                        <a:pt x="164" y="774"/>
                      </a:lnTo>
                      <a:lnTo>
                        <a:pt x="166" y="777"/>
                      </a:lnTo>
                      <a:lnTo>
                        <a:pt x="157" y="787"/>
                      </a:lnTo>
                      <a:lnTo>
                        <a:pt x="155" y="787"/>
                      </a:lnTo>
                      <a:lnTo>
                        <a:pt x="152" y="785"/>
                      </a:lnTo>
                      <a:lnTo>
                        <a:pt x="147" y="785"/>
                      </a:lnTo>
                      <a:lnTo>
                        <a:pt x="144" y="785"/>
                      </a:lnTo>
                      <a:lnTo>
                        <a:pt x="147" y="787"/>
                      </a:lnTo>
                      <a:lnTo>
                        <a:pt x="144" y="787"/>
                      </a:lnTo>
                      <a:lnTo>
                        <a:pt x="144" y="785"/>
                      </a:lnTo>
                      <a:lnTo>
                        <a:pt x="149" y="779"/>
                      </a:lnTo>
                      <a:lnTo>
                        <a:pt x="147" y="779"/>
                      </a:lnTo>
                      <a:lnTo>
                        <a:pt x="144" y="779"/>
                      </a:lnTo>
                      <a:lnTo>
                        <a:pt x="139" y="774"/>
                      </a:lnTo>
                      <a:lnTo>
                        <a:pt x="133" y="777"/>
                      </a:lnTo>
                      <a:lnTo>
                        <a:pt x="130" y="771"/>
                      </a:lnTo>
                      <a:lnTo>
                        <a:pt x="124" y="782"/>
                      </a:lnTo>
                      <a:lnTo>
                        <a:pt x="121" y="782"/>
                      </a:lnTo>
                      <a:lnTo>
                        <a:pt x="119" y="777"/>
                      </a:lnTo>
                      <a:lnTo>
                        <a:pt x="116" y="774"/>
                      </a:lnTo>
                      <a:lnTo>
                        <a:pt x="116" y="777"/>
                      </a:lnTo>
                      <a:lnTo>
                        <a:pt x="113" y="779"/>
                      </a:lnTo>
                      <a:lnTo>
                        <a:pt x="108" y="774"/>
                      </a:lnTo>
                      <a:lnTo>
                        <a:pt x="105" y="777"/>
                      </a:lnTo>
                      <a:lnTo>
                        <a:pt x="103" y="774"/>
                      </a:lnTo>
                      <a:lnTo>
                        <a:pt x="100" y="774"/>
                      </a:lnTo>
                      <a:lnTo>
                        <a:pt x="100" y="765"/>
                      </a:lnTo>
                      <a:lnTo>
                        <a:pt x="100" y="762"/>
                      </a:lnTo>
                      <a:lnTo>
                        <a:pt x="103" y="754"/>
                      </a:lnTo>
                      <a:lnTo>
                        <a:pt x="100" y="751"/>
                      </a:lnTo>
                      <a:lnTo>
                        <a:pt x="97" y="754"/>
                      </a:lnTo>
                      <a:lnTo>
                        <a:pt x="95" y="751"/>
                      </a:lnTo>
                      <a:lnTo>
                        <a:pt x="86" y="754"/>
                      </a:lnTo>
                      <a:lnTo>
                        <a:pt x="86" y="749"/>
                      </a:lnTo>
                      <a:lnTo>
                        <a:pt x="88" y="746"/>
                      </a:lnTo>
                      <a:lnTo>
                        <a:pt x="86" y="741"/>
                      </a:lnTo>
                      <a:lnTo>
                        <a:pt x="83" y="738"/>
                      </a:lnTo>
                      <a:lnTo>
                        <a:pt x="80" y="738"/>
                      </a:lnTo>
                      <a:lnTo>
                        <a:pt x="77" y="735"/>
                      </a:lnTo>
                      <a:lnTo>
                        <a:pt x="72" y="735"/>
                      </a:lnTo>
                      <a:lnTo>
                        <a:pt x="72" y="729"/>
                      </a:lnTo>
                      <a:lnTo>
                        <a:pt x="72" y="726"/>
                      </a:lnTo>
                      <a:lnTo>
                        <a:pt x="69" y="726"/>
                      </a:lnTo>
                      <a:lnTo>
                        <a:pt x="67" y="724"/>
                      </a:lnTo>
                      <a:lnTo>
                        <a:pt x="69" y="718"/>
                      </a:lnTo>
                      <a:lnTo>
                        <a:pt x="69" y="716"/>
                      </a:lnTo>
                      <a:lnTo>
                        <a:pt x="67" y="705"/>
                      </a:lnTo>
                      <a:lnTo>
                        <a:pt x="61" y="698"/>
                      </a:lnTo>
                      <a:lnTo>
                        <a:pt x="55" y="693"/>
                      </a:lnTo>
                      <a:lnTo>
                        <a:pt x="50" y="693"/>
                      </a:lnTo>
                      <a:lnTo>
                        <a:pt x="44" y="690"/>
                      </a:lnTo>
                      <a:lnTo>
                        <a:pt x="34" y="690"/>
                      </a:lnTo>
                      <a:lnTo>
                        <a:pt x="36" y="685"/>
                      </a:lnTo>
                      <a:lnTo>
                        <a:pt x="39" y="682"/>
                      </a:lnTo>
                      <a:lnTo>
                        <a:pt x="42" y="682"/>
                      </a:lnTo>
                      <a:lnTo>
                        <a:pt x="44" y="680"/>
                      </a:lnTo>
                      <a:lnTo>
                        <a:pt x="47" y="680"/>
                      </a:lnTo>
                      <a:lnTo>
                        <a:pt x="52" y="677"/>
                      </a:lnTo>
                      <a:lnTo>
                        <a:pt x="59" y="677"/>
                      </a:lnTo>
                      <a:lnTo>
                        <a:pt x="64" y="672"/>
                      </a:lnTo>
                      <a:lnTo>
                        <a:pt x="67" y="672"/>
                      </a:lnTo>
                      <a:lnTo>
                        <a:pt x="75" y="677"/>
                      </a:lnTo>
                      <a:lnTo>
                        <a:pt x="80" y="674"/>
                      </a:lnTo>
                      <a:lnTo>
                        <a:pt x="86" y="677"/>
                      </a:lnTo>
                      <a:lnTo>
                        <a:pt x="92" y="677"/>
                      </a:lnTo>
                      <a:lnTo>
                        <a:pt x="95" y="680"/>
                      </a:lnTo>
                      <a:lnTo>
                        <a:pt x="95" y="677"/>
                      </a:lnTo>
                      <a:lnTo>
                        <a:pt x="100" y="672"/>
                      </a:lnTo>
                      <a:lnTo>
                        <a:pt x="100" y="669"/>
                      </a:lnTo>
                      <a:lnTo>
                        <a:pt x="108" y="666"/>
                      </a:lnTo>
                      <a:lnTo>
                        <a:pt x="108" y="660"/>
                      </a:lnTo>
                      <a:lnTo>
                        <a:pt x="111" y="657"/>
                      </a:lnTo>
                      <a:lnTo>
                        <a:pt x="119" y="655"/>
                      </a:lnTo>
                      <a:lnTo>
                        <a:pt x="121" y="655"/>
                      </a:lnTo>
                      <a:lnTo>
                        <a:pt x="124" y="657"/>
                      </a:lnTo>
                      <a:lnTo>
                        <a:pt x="130" y="655"/>
                      </a:lnTo>
                      <a:lnTo>
                        <a:pt x="133" y="657"/>
                      </a:lnTo>
                      <a:lnTo>
                        <a:pt x="141" y="655"/>
                      </a:lnTo>
                      <a:lnTo>
                        <a:pt x="141" y="657"/>
                      </a:lnTo>
                      <a:lnTo>
                        <a:pt x="147" y="657"/>
                      </a:lnTo>
                      <a:lnTo>
                        <a:pt x="147" y="655"/>
                      </a:lnTo>
                      <a:lnTo>
                        <a:pt x="152" y="652"/>
                      </a:lnTo>
                      <a:lnTo>
                        <a:pt x="152" y="649"/>
                      </a:lnTo>
                      <a:lnTo>
                        <a:pt x="161" y="647"/>
                      </a:lnTo>
                      <a:lnTo>
                        <a:pt x="172" y="636"/>
                      </a:lnTo>
                      <a:lnTo>
                        <a:pt x="174" y="639"/>
                      </a:lnTo>
                      <a:lnTo>
                        <a:pt x="174" y="636"/>
                      </a:lnTo>
                      <a:lnTo>
                        <a:pt x="174" y="633"/>
                      </a:lnTo>
                      <a:lnTo>
                        <a:pt x="177" y="627"/>
                      </a:lnTo>
                      <a:lnTo>
                        <a:pt x="180" y="627"/>
                      </a:lnTo>
                      <a:lnTo>
                        <a:pt x="182" y="627"/>
                      </a:lnTo>
                      <a:lnTo>
                        <a:pt x="185" y="624"/>
                      </a:lnTo>
                      <a:lnTo>
                        <a:pt x="190" y="627"/>
                      </a:lnTo>
                      <a:lnTo>
                        <a:pt x="194" y="627"/>
                      </a:lnTo>
                      <a:lnTo>
                        <a:pt x="202" y="627"/>
                      </a:lnTo>
                      <a:lnTo>
                        <a:pt x="202" y="633"/>
                      </a:lnTo>
                      <a:lnTo>
                        <a:pt x="205" y="633"/>
                      </a:lnTo>
                      <a:lnTo>
                        <a:pt x="208" y="633"/>
                      </a:lnTo>
                      <a:lnTo>
                        <a:pt x="210" y="629"/>
                      </a:lnTo>
                      <a:lnTo>
                        <a:pt x="216" y="624"/>
                      </a:lnTo>
                      <a:lnTo>
                        <a:pt x="218" y="627"/>
                      </a:lnTo>
                      <a:lnTo>
                        <a:pt x="224" y="627"/>
                      </a:lnTo>
                      <a:lnTo>
                        <a:pt x="230" y="627"/>
                      </a:lnTo>
                      <a:lnTo>
                        <a:pt x="233" y="629"/>
                      </a:lnTo>
                      <a:lnTo>
                        <a:pt x="235" y="627"/>
                      </a:lnTo>
                      <a:lnTo>
                        <a:pt x="241" y="627"/>
                      </a:lnTo>
                      <a:lnTo>
                        <a:pt x="243" y="621"/>
                      </a:lnTo>
                      <a:lnTo>
                        <a:pt x="243" y="624"/>
                      </a:lnTo>
                      <a:lnTo>
                        <a:pt x="246" y="621"/>
                      </a:lnTo>
                      <a:lnTo>
                        <a:pt x="249" y="621"/>
                      </a:lnTo>
                      <a:lnTo>
                        <a:pt x="251" y="621"/>
                      </a:lnTo>
                      <a:lnTo>
                        <a:pt x="254" y="624"/>
                      </a:lnTo>
                      <a:lnTo>
                        <a:pt x="254" y="621"/>
                      </a:lnTo>
                      <a:lnTo>
                        <a:pt x="257" y="633"/>
                      </a:lnTo>
                      <a:lnTo>
                        <a:pt x="259" y="629"/>
                      </a:lnTo>
                      <a:lnTo>
                        <a:pt x="263" y="633"/>
                      </a:lnTo>
                      <a:lnTo>
                        <a:pt x="266" y="629"/>
                      </a:lnTo>
                      <a:lnTo>
                        <a:pt x="271" y="627"/>
                      </a:lnTo>
                      <a:lnTo>
                        <a:pt x="271" y="624"/>
                      </a:lnTo>
                      <a:lnTo>
                        <a:pt x="276" y="621"/>
                      </a:lnTo>
                      <a:lnTo>
                        <a:pt x="276" y="624"/>
                      </a:lnTo>
                      <a:lnTo>
                        <a:pt x="279" y="624"/>
                      </a:lnTo>
                      <a:lnTo>
                        <a:pt x="285" y="621"/>
                      </a:lnTo>
                      <a:lnTo>
                        <a:pt x="287" y="616"/>
                      </a:lnTo>
                      <a:lnTo>
                        <a:pt x="290" y="616"/>
                      </a:lnTo>
                      <a:lnTo>
                        <a:pt x="293" y="616"/>
                      </a:lnTo>
                      <a:lnTo>
                        <a:pt x="295" y="616"/>
                      </a:lnTo>
                      <a:lnTo>
                        <a:pt x="299" y="613"/>
                      </a:lnTo>
                      <a:lnTo>
                        <a:pt x="302" y="608"/>
                      </a:lnTo>
                      <a:lnTo>
                        <a:pt x="304" y="611"/>
                      </a:lnTo>
                      <a:lnTo>
                        <a:pt x="307" y="608"/>
                      </a:lnTo>
                      <a:lnTo>
                        <a:pt x="310" y="608"/>
                      </a:lnTo>
                      <a:lnTo>
                        <a:pt x="312" y="608"/>
                      </a:lnTo>
                      <a:lnTo>
                        <a:pt x="312" y="603"/>
                      </a:lnTo>
                      <a:lnTo>
                        <a:pt x="312" y="600"/>
                      </a:lnTo>
                      <a:lnTo>
                        <a:pt x="312" y="597"/>
                      </a:lnTo>
                      <a:lnTo>
                        <a:pt x="315" y="600"/>
                      </a:lnTo>
                      <a:lnTo>
                        <a:pt x="320" y="597"/>
                      </a:lnTo>
                      <a:lnTo>
                        <a:pt x="320" y="594"/>
                      </a:lnTo>
                      <a:lnTo>
                        <a:pt x="320" y="591"/>
                      </a:lnTo>
                      <a:lnTo>
                        <a:pt x="326" y="594"/>
                      </a:lnTo>
                      <a:lnTo>
                        <a:pt x="326" y="597"/>
                      </a:lnTo>
                      <a:lnTo>
                        <a:pt x="328" y="594"/>
                      </a:lnTo>
                      <a:lnTo>
                        <a:pt x="332" y="594"/>
                      </a:lnTo>
                      <a:lnTo>
                        <a:pt x="332" y="588"/>
                      </a:lnTo>
                      <a:lnTo>
                        <a:pt x="335" y="588"/>
                      </a:lnTo>
                      <a:lnTo>
                        <a:pt x="345" y="586"/>
                      </a:lnTo>
                      <a:lnTo>
                        <a:pt x="345" y="583"/>
                      </a:lnTo>
                      <a:lnTo>
                        <a:pt x="354" y="583"/>
                      </a:lnTo>
                      <a:lnTo>
                        <a:pt x="359" y="588"/>
                      </a:lnTo>
                      <a:lnTo>
                        <a:pt x="362" y="586"/>
                      </a:lnTo>
                      <a:lnTo>
                        <a:pt x="364" y="586"/>
                      </a:lnTo>
                      <a:lnTo>
                        <a:pt x="368" y="583"/>
                      </a:lnTo>
                      <a:lnTo>
                        <a:pt x="371" y="583"/>
                      </a:lnTo>
                      <a:lnTo>
                        <a:pt x="371" y="580"/>
                      </a:lnTo>
                      <a:lnTo>
                        <a:pt x="379" y="578"/>
                      </a:lnTo>
                      <a:lnTo>
                        <a:pt x="381" y="578"/>
                      </a:lnTo>
                      <a:lnTo>
                        <a:pt x="387" y="575"/>
                      </a:lnTo>
                      <a:lnTo>
                        <a:pt x="404" y="570"/>
                      </a:lnTo>
                      <a:lnTo>
                        <a:pt x="406" y="567"/>
                      </a:lnTo>
                      <a:lnTo>
                        <a:pt x="412" y="567"/>
                      </a:lnTo>
                      <a:lnTo>
                        <a:pt x="412" y="562"/>
                      </a:lnTo>
                      <a:lnTo>
                        <a:pt x="414" y="564"/>
                      </a:lnTo>
                      <a:lnTo>
                        <a:pt x="414" y="562"/>
                      </a:lnTo>
                      <a:lnTo>
                        <a:pt x="417" y="562"/>
                      </a:lnTo>
                      <a:lnTo>
                        <a:pt x="420" y="558"/>
                      </a:lnTo>
                      <a:lnTo>
                        <a:pt x="425" y="562"/>
                      </a:lnTo>
                      <a:lnTo>
                        <a:pt x="431" y="558"/>
                      </a:lnTo>
                      <a:lnTo>
                        <a:pt x="437" y="555"/>
                      </a:lnTo>
                      <a:lnTo>
                        <a:pt x="440" y="555"/>
                      </a:lnTo>
                      <a:lnTo>
                        <a:pt x="442" y="555"/>
                      </a:lnTo>
                      <a:lnTo>
                        <a:pt x="453" y="547"/>
                      </a:lnTo>
                      <a:lnTo>
                        <a:pt x="456" y="547"/>
                      </a:lnTo>
                      <a:lnTo>
                        <a:pt x="458" y="547"/>
                      </a:lnTo>
                      <a:lnTo>
                        <a:pt x="458" y="550"/>
                      </a:lnTo>
                      <a:lnTo>
                        <a:pt x="461" y="552"/>
                      </a:lnTo>
                      <a:lnTo>
                        <a:pt x="458" y="552"/>
                      </a:lnTo>
                      <a:lnTo>
                        <a:pt x="464" y="555"/>
                      </a:lnTo>
                      <a:lnTo>
                        <a:pt x="464" y="558"/>
                      </a:lnTo>
                      <a:lnTo>
                        <a:pt x="466" y="558"/>
                      </a:lnTo>
                      <a:lnTo>
                        <a:pt x="470" y="562"/>
                      </a:lnTo>
                      <a:lnTo>
                        <a:pt x="475" y="552"/>
                      </a:lnTo>
                      <a:lnTo>
                        <a:pt x="481" y="552"/>
                      </a:lnTo>
                      <a:lnTo>
                        <a:pt x="483" y="552"/>
                      </a:lnTo>
                      <a:lnTo>
                        <a:pt x="486" y="550"/>
                      </a:lnTo>
                      <a:lnTo>
                        <a:pt x="491" y="550"/>
                      </a:lnTo>
                      <a:lnTo>
                        <a:pt x="494" y="555"/>
                      </a:lnTo>
                      <a:lnTo>
                        <a:pt x="494" y="558"/>
                      </a:lnTo>
                      <a:lnTo>
                        <a:pt x="497" y="555"/>
                      </a:lnTo>
                      <a:lnTo>
                        <a:pt x="497" y="550"/>
                      </a:lnTo>
                      <a:lnTo>
                        <a:pt x="502" y="550"/>
                      </a:lnTo>
                      <a:lnTo>
                        <a:pt x="502" y="547"/>
                      </a:lnTo>
                      <a:lnTo>
                        <a:pt x="506" y="547"/>
                      </a:lnTo>
                      <a:lnTo>
                        <a:pt x="509" y="547"/>
                      </a:lnTo>
                      <a:lnTo>
                        <a:pt x="514" y="552"/>
                      </a:lnTo>
                      <a:lnTo>
                        <a:pt x="517" y="550"/>
                      </a:lnTo>
                      <a:lnTo>
                        <a:pt x="517" y="555"/>
                      </a:lnTo>
                      <a:lnTo>
                        <a:pt x="519" y="555"/>
                      </a:lnTo>
                      <a:lnTo>
                        <a:pt x="519" y="552"/>
                      </a:lnTo>
                      <a:lnTo>
                        <a:pt x="519" y="550"/>
                      </a:lnTo>
                      <a:lnTo>
                        <a:pt x="522" y="550"/>
                      </a:lnTo>
                      <a:lnTo>
                        <a:pt x="525" y="544"/>
                      </a:lnTo>
                      <a:lnTo>
                        <a:pt x="527" y="544"/>
                      </a:lnTo>
                      <a:lnTo>
                        <a:pt x="530" y="542"/>
                      </a:lnTo>
                      <a:lnTo>
                        <a:pt x="530" y="550"/>
                      </a:lnTo>
                      <a:lnTo>
                        <a:pt x="535" y="552"/>
                      </a:lnTo>
                      <a:lnTo>
                        <a:pt x="539" y="555"/>
                      </a:lnTo>
                      <a:lnTo>
                        <a:pt x="542" y="552"/>
                      </a:lnTo>
                      <a:lnTo>
                        <a:pt x="555" y="550"/>
                      </a:lnTo>
                      <a:lnTo>
                        <a:pt x="558" y="544"/>
                      </a:lnTo>
                      <a:lnTo>
                        <a:pt x="560" y="544"/>
                      </a:lnTo>
                      <a:lnTo>
                        <a:pt x="563" y="547"/>
                      </a:lnTo>
                      <a:lnTo>
                        <a:pt x="563" y="550"/>
                      </a:lnTo>
                      <a:lnTo>
                        <a:pt x="569" y="550"/>
                      </a:lnTo>
                      <a:lnTo>
                        <a:pt x="575" y="550"/>
                      </a:lnTo>
                      <a:lnTo>
                        <a:pt x="580" y="550"/>
                      </a:lnTo>
                      <a:lnTo>
                        <a:pt x="591" y="544"/>
                      </a:lnTo>
                      <a:lnTo>
                        <a:pt x="594" y="542"/>
                      </a:lnTo>
                      <a:lnTo>
                        <a:pt x="599" y="542"/>
                      </a:lnTo>
                      <a:lnTo>
                        <a:pt x="611" y="534"/>
                      </a:lnTo>
                      <a:lnTo>
                        <a:pt x="619" y="528"/>
                      </a:lnTo>
                      <a:lnTo>
                        <a:pt x="619" y="526"/>
                      </a:lnTo>
                      <a:lnTo>
                        <a:pt x="624" y="522"/>
                      </a:lnTo>
                      <a:lnTo>
                        <a:pt x="627" y="522"/>
                      </a:lnTo>
                      <a:lnTo>
                        <a:pt x="630" y="526"/>
                      </a:lnTo>
                      <a:lnTo>
                        <a:pt x="635" y="526"/>
                      </a:lnTo>
                      <a:lnTo>
                        <a:pt x="638" y="522"/>
                      </a:lnTo>
                      <a:lnTo>
                        <a:pt x="641" y="526"/>
                      </a:lnTo>
                      <a:lnTo>
                        <a:pt x="647" y="528"/>
                      </a:lnTo>
                      <a:lnTo>
                        <a:pt x="655" y="526"/>
                      </a:lnTo>
                      <a:lnTo>
                        <a:pt x="660" y="526"/>
                      </a:lnTo>
                      <a:lnTo>
                        <a:pt x="663" y="522"/>
                      </a:lnTo>
                      <a:lnTo>
                        <a:pt x="665" y="526"/>
                      </a:lnTo>
                      <a:lnTo>
                        <a:pt x="668" y="522"/>
                      </a:lnTo>
                      <a:lnTo>
                        <a:pt x="671" y="526"/>
                      </a:lnTo>
                      <a:lnTo>
                        <a:pt x="671" y="528"/>
                      </a:lnTo>
                      <a:lnTo>
                        <a:pt x="673" y="531"/>
                      </a:lnTo>
                      <a:lnTo>
                        <a:pt x="677" y="531"/>
                      </a:lnTo>
                      <a:lnTo>
                        <a:pt x="680" y="534"/>
                      </a:lnTo>
                      <a:lnTo>
                        <a:pt x="682" y="534"/>
                      </a:lnTo>
                      <a:lnTo>
                        <a:pt x="685" y="531"/>
                      </a:lnTo>
                      <a:lnTo>
                        <a:pt x="685" y="534"/>
                      </a:lnTo>
                      <a:lnTo>
                        <a:pt x="688" y="536"/>
                      </a:lnTo>
                      <a:lnTo>
                        <a:pt x="699" y="528"/>
                      </a:lnTo>
                      <a:lnTo>
                        <a:pt x="701" y="528"/>
                      </a:lnTo>
                      <a:lnTo>
                        <a:pt x="701" y="531"/>
                      </a:lnTo>
                      <a:lnTo>
                        <a:pt x="707" y="534"/>
                      </a:lnTo>
                      <a:lnTo>
                        <a:pt x="710" y="534"/>
                      </a:lnTo>
                      <a:lnTo>
                        <a:pt x="716" y="534"/>
                      </a:lnTo>
                      <a:lnTo>
                        <a:pt x="716" y="539"/>
                      </a:lnTo>
                      <a:lnTo>
                        <a:pt x="716" y="544"/>
                      </a:lnTo>
                      <a:lnTo>
                        <a:pt x="707" y="550"/>
                      </a:lnTo>
                      <a:lnTo>
                        <a:pt x="707" y="552"/>
                      </a:lnTo>
                      <a:lnTo>
                        <a:pt x="710" y="562"/>
                      </a:lnTo>
                      <a:lnTo>
                        <a:pt x="713" y="567"/>
                      </a:lnTo>
                      <a:lnTo>
                        <a:pt x="718" y="564"/>
                      </a:lnTo>
                      <a:lnTo>
                        <a:pt x="718" y="558"/>
                      </a:lnTo>
                      <a:lnTo>
                        <a:pt x="726" y="555"/>
                      </a:lnTo>
                      <a:lnTo>
                        <a:pt x="732" y="555"/>
                      </a:lnTo>
                      <a:lnTo>
                        <a:pt x="737" y="555"/>
                      </a:lnTo>
                      <a:lnTo>
                        <a:pt x="737" y="558"/>
                      </a:lnTo>
                      <a:lnTo>
                        <a:pt x="749" y="555"/>
                      </a:lnTo>
                      <a:lnTo>
                        <a:pt x="754" y="547"/>
                      </a:lnTo>
                      <a:lnTo>
                        <a:pt x="757" y="544"/>
                      </a:lnTo>
                      <a:lnTo>
                        <a:pt x="754" y="542"/>
                      </a:lnTo>
                      <a:lnTo>
                        <a:pt x="754" y="539"/>
                      </a:lnTo>
                      <a:lnTo>
                        <a:pt x="759" y="536"/>
                      </a:lnTo>
                      <a:lnTo>
                        <a:pt x="768" y="534"/>
                      </a:lnTo>
                      <a:lnTo>
                        <a:pt x="770" y="534"/>
                      </a:lnTo>
                      <a:lnTo>
                        <a:pt x="782" y="526"/>
                      </a:lnTo>
                      <a:lnTo>
                        <a:pt x="785" y="526"/>
                      </a:lnTo>
                      <a:lnTo>
                        <a:pt x="790" y="522"/>
                      </a:lnTo>
                      <a:lnTo>
                        <a:pt x="806" y="517"/>
                      </a:lnTo>
                      <a:lnTo>
                        <a:pt x="818" y="506"/>
                      </a:lnTo>
                      <a:lnTo>
                        <a:pt x="818" y="503"/>
                      </a:lnTo>
                      <a:lnTo>
                        <a:pt x="831" y="498"/>
                      </a:lnTo>
                      <a:lnTo>
                        <a:pt x="854" y="493"/>
                      </a:lnTo>
                      <a:lnTo>
                        <a:pt x="864" y="486"/>
                      </a:lnTo>
                      <a:lnTo>
                        <a:pt x="867" y="483"/>
                      </a:lnTo>
                      <a:lnTo>
                        <a:pt x="884" y="475"/>
                      </a:lnTo>
                      <a:lnTo>
                        <a:pt x="900" y="470"/>
                      </a:lnTo>
                      <a:lnTo>
                        <a:pt x="903" y="467"/>
                      </a:lnTo>
                      <a:lnTo>
                        <a:pt x="911" y="465"/>
                      </a:lnTo>
                      <a:lnTo>
                        <a:pt x="923" y="462"/>
                      </a:lnTo>
                      <a:lnTo>
                        <a:pt x="928" y="459"/>
                      </a:lnTo>
                      <a:lnTo>
                        <a:pt x="931" y="459"/>
                      </a:lnTo>
                      <a:lnTo>
                        <a:pt x="933" y="459"/>
                      </a:lnTo>
                      <a:lnTo>
                        <a:pt x="939" y="457"/>
                      </a:lnTo>
                      <a:lnTo>
                        <a:pt x="939" y="450"/>
                      </a:lnTo>
                      <a:lnTo>
                        <a:pt x="958" y="442"/>
                      </a:lnTo>
                      <a:lnTo>
                        <a:pt x="986" y="432"/>
                      </a:lnTo>
                      <a:lnTo>
                        <a:pt x="989" y="429"/>
                      </a:lnTo>
                      <a:lnTo>
                        <a:pt x="1016" y="421"/>
                      </a:lnTo>
                      <a:lnTo>
                        <a:pt x="1019" y="414"/>
                      </a:lnTo>
                      <a:lnTo>
                        <a:pt x="1022" y="414"/>
                      </a:lnTo>
                      <a:lnTo>
                        <a:pt x="1030" y="412"/>
                      </a:lnTo>
                      <a:lnTo>
                        <a:pt x="1038" y="412"/>
                      </a:lnTo>
                      <a:lnTo>
                        <a:pt x="1049" y="409"/>
                      </a:lnTo>
                      <a:lnTo>
                        <a:pt x="1049" y="406"/>
                      </a:lnTo>
                      <a:lnTo>
                        <a:pt x="1066" y="401"/>
                      </a:lnTo>
                      <a:lnTo>
                        <a:pt x="1066" y="398"/>
                      </a:lnTo>
                      <a:lnTo>
                        <a:pt x="1066" y="396"/>
                      </a:lnTo>
                      <a:lnTo>
                        <a:pt x="1066" y="393"/>
                      </a:lnTo>
                      <a:lnTo>
                        <a:pt x="1066" y="388"/>
                      </a:lnTo>
                      <a:lnTo>
                        <a:pt x="1063" y="384"/>
                      </a:lnTo>
                      <a:lnTo>
                        <a:pt x="1061" y="388"/>
                      </a:lnTo>
                      <a:lnTo>
                        <a:pt x="1058" y="381"/>
                      </a:lnTo>
                      <a:lnTo>
                        <a:pt x="1061" y="381"/>
                      </a:lnTo>
                      <a:lnTo>
                        <a:pt x="1058" y="379"/>
                      </a:lnTo>
                      <a:lnTo>
                        <a:pt x="1051" y="376"/>
                      </a:lnTo>
                      <a:lnTo>
                        <a:pt x="1049" y="376"/>
                      </a:lnTo>
                      <a:lnTo>
                        <a:pt x="1046" y="376"/>
                      </a:lnTo>
                      <a:lnTo>
                        <a:pt x="1043" y="376"/>
                      </a:lnTo>
                      <a:lnTo>
                        <a:pt x="1041" y="379"/>
                      </a:lnTo>
                      <a:lnTo>
                        <a:pt x="1038" y="379"/>
                      </a:lnTo>
                      <a:lnTo>
                        <a:pt x="1035" y="376"/>
                      </a:lnTo>
                      <a:lnTo>
                        <a:pt x="1035" y="371"/>
                      </a:lnTo>
                      <a:lnTo>
                        <a:pt x="1030" y="371"/>
                      </a:lnTo>
                      <a:lnTo>
                        <a:pt x="1027" y="371"/>
                      </a:lnTo>
                      <a:lnTo>
                        <a:pt x="1025" y="368"/>
                      </a:lnTo>
                      <a:lnTo>
                        <a:pt x="1030" y="363"/>
                      </a:lnTo>
                      <a:lnTo>
                        <a:pt x="1027" y="363"/>
                      </a:lnTo>
                      <a:lnTo>
                        <a:pt x="1025" y="360"/>
                      </a:lnTo>
                      <a:lnTo>
                        <a:pt x="1033" y="348"/>
                      </a:lnTo>
                      <a:lnTo>
                        <a:pt x="1035" y="346"/>
                      </a:lnTo>
                      <a:lnTo>
                        <a:pt x="1043" y="340"/>
                      </a:lnTo>
                      <a:lnTo>
                        <a:pt x="1041" y="337"/>
                      </a:lnTo>
                      <a:lnTo>
                        <a:pt x="1041" y="335"/>
                      </a:lnTo>
                      <a:lnTo>
                        <a:pt x="1049" y="332"/>
                      </a:lnTo>
                      <a:lnTo>
                        <a:pt x="1049" y="329"/>
                      </a:lnTo>
                      <a:lnTo>
                        <a:pt x="1051" y="327"/>
                      </a:lnTo>
                      <a:lnTo>
                        <a:pt x="1051" y="324"/>
                      </a:lnTo>
                      <a:lnTo>
                        <a:pt x="1055" y="321"/>
                      </a:lnTo>
                      <a:lnTo>
                        <a:pt x="1061" y="321"/>
                      </a:lnTo>
                      <a:lnTo>
                        <a:pt x="1063" y="312"/>
                      </a:lnTo>
                      <a:lnTo>
                        <a:pt x="1069" y="310"/>
                      </a:lnTo>
                      <a:lnTo>
                        <a:pt x="1071" y="307"/>
                      </a:lnTo>
                      <a:lnTo>
                        <a:pt x="1066" y="299"/>
                      </a:lnTo>
                      <a:lnTo>
                        <a:pt x="1066" y="296"/>
                      </a:lnTo>
                      <a:lnTo>
                        <a:pt x="1058" y="294"/>
                      </a:lnTo>
                      <a:lnTo>
                        <a:pt x="1061" y="288"/>
                      </a:lnTo>
                      <a:lnTo>
                        <a:pt x="1061" y="285"/>
                      </a:lnTo>
                      <a:lnTo>
                        <a:pt x="1061" y="283"/>
                      </a:lnTo>
                      <a:lnTo>
                        <a:pt x="1063" y="279"/>
                      </a:lnTo>
                      <a:lnTo>
                        <a:pt x="1063" y="271"/>
                      </a:lnTo>
                      <a:lnTo>
                        <a:pt x="1066" y="268"/>
                      </a:lnTo>
                      <a:lnTo>
                        <a:pt x="1069" y="271"/>
                      </a:lnTo>
                      <a:lnTo>
                        <a:pt x="1074" y="271"/>
                      </a:lnTo>
                      <a:lnTo>
                        <a:pt x="1077" y="268"/>
                      </a:lnTo>
                      <a:lnTo>
                        <a:pt x="1079" y="266"/>
                      </a:lnTo>
                      <a:lnTo>
                        <a:pt x="1074" y="263"/>
                      </a:lnTo>
                      <a:lnTo>
                        <a:pt x="1071" y="263"/>
                      </a:lnTo>
                      <a:lnTo>
                        <a:pt x="1077" y="260"/>
                      </a:lnTo>
                      <a:lnTo>
                        <a:pt x="1077" y="258"/>
                      </a:lnTo>
                      <a:lnTo>
                        <a:pt x="1082" y="255"/>
                      </a:lnTo>
                      <a:lnTo>
                        <a:pt x="1079" y="250"/>
                      </a:lnTo>
                      <a:lnTo>
                        <a:pt x="1082" y="247"/>
                      </a:lnTo>
                      <a:lnTo>
                        <a:pt x="1079" y="243"/>
                      </a:lnTo>
                      <a:lnTo>
                        <a:pt x="1085" y="241"/>
                      </a:lnTo>
                      <a:lnTo>
                        <a:pt x="1082" y="238"/>
                      </a:lnTo>
                      <a:lnTo>
                        <a:pt x="1079" y="238"/>
                      </a:lnTo>
                      <a:lnTo>
                        <a:pt x="1079" y="235"/>
                      </a:lnTo>
                      <a:lnTo>
                        <a:pt x="1082" y="230"/>
                      </a:lnTo>
                      <a:lnTo>
                        <a:pt x="1082" y="219"/>
                      </a:lnTo>
                      <a:lnTo>
                        <a:pt x="1085" y="216"/>
                      </a:lnTo>
                      <a:lnTo>
                        <a:pt x="1088" y="214"/>
                      </a:lnTo>
                      <a:lnTo>
                        <a:pt x="1094" y="210"/>
                      </a:lnTo>
                      <a:lnTo>
                        <a:pt x="1096" y="207"/>
                      </a:lnTo>
                      <a:lnTo>
                        <a:pt x="1099" y="205"/>
                      </a:lnTo>
                      <a:lnTo>
                        <a:pt x="1096" y="202"/>
                      </a:lnTo>
                      <a:lnTo>
                        <a:pt x="1099" y="197"/>
                      </a:lnTo>
                      <a:lnTo>
                        <a:pt x="1096" y="194"/>
                      </a:lnTo>
                      <a:lnTo>
                        <a:pt x="1096" y="197"/>
                      </a:lnTo>
                      <a:lnTo>
                        <a:pt x="1094" y="194"/>
                      </a:lnTo>
                      <a:lnTo>
                        <a:pt x="1094" y="189"/>
                      </a:lnTo>
                      <a:lnTo>
                        <a:pt x="1096" y="186"/>
                      </a:lnTo>
                      <a:lnTo>
                        <a:pt x="1091" y="174"/>
                      </a:lnTo>
                      <a:lnTo>
                        <a:pt x="1094" y="174"/>
                      </a:lnTo>
                      <a:lnTo>
                        <a:pt x="1094" y="172"/>
                      </a:lnTo>
                      <a:lnTo>
                        <a:pt x="1096" y="169"/>
                      </a:lnTo>
                      <a:lnTo>
                        <a:pt x="1096" y="166"/>
                      </a:lnTo>
                      <a:lnTo>
                        <a:pt x="1099" y="164"/>
                      </a:lnTo>
                      <a:lnTo>
                        <a:pt x="1102" y="161"/>
                      </a:lnTo>
                      <a:lnTo>
                        <a:pt x="1104" y="156"/>
                      </a:lnTo>
                      <a:lnTo>
                        <a:pt x="1107" y="156"/>
                      </a:lnTo>
                      <a:lnTo>
                        <a:pt x="1107" y="150"/>
                      </a:lnTo>
                      <a:lnTo>
                        <a:pt x="1107" y="145"/>
                      </a:lnTo>
                      <a:lnTo>
                        <a:pt x="1118" y="145"/>
                      </a:lnTo>
                      <a:lnTo>
                        <a:pt x="1118" y="142"/>
                      </a:lnTo>
                      <a:lnTo>
                        <a:pt x="1122" y="138"/>
                      </a:lnTo>
                      <a:lnTo>
                        <a:pt x="1122" y="133"/>
                      </a:lnTo>
                      <a:lnTo>
                        <a:pt x="1127" y="133"/>
                      </a:lnTo>
                      <a:lnTo>
                        <a:pt x="1127" y="130"/>
                      </a:lnTo>
                      <a:lnTo>
                        <a:pt x="1135" y="122"/>
                      </a:lnTo>
                      <a:lnTo>
                        <a:pt x="1135" y="120"/>
                      </a:lnTo>
                      <a:lnTo>
                        <a:pt x="1135" y="117"/>
                      </a:lnTo>
                      <a:lnTo>
                        <a:pt x="1135" y="114"/>
                      </a:lnTo>
                      <a:lnTo>
                        <a:pt x="1138" y="117"/>
                      </a:lnTo>
                      <a:lnTo>
                        <a:pt x="1143" y="117"/>
                      </a:lnTo>
                      <a:lnTo>
                        <a:pt x="1143" y="114"/>
                      </a:lnTo>
                      <a:lnTo>
                        <a:pt x="1140" y="112"/>
                      </a:lnTo>
                      <a:lnTo>
                        <a:pt x="1135" y="105"/>
                      </a:lnTo>
                      <a:lnTo>
                        <a:pt x="1132" y="105"/>
                      </a:lnTo>
                      <a:lnTo>
                        <a:pt x="1130" y="105"/>
                      </a:lnTo>
                      <a:lnTo>
                        <a:pt x="1127" y="103"/>
                      </a:lnTo>
                      <a:lnTo>
                        <a:pt x="1124" y="103"/>
                      </a:lnTo>
                      <a:lnTo>
                        <a:pt x="1118" y="97"/>
                      </a:lnTo>
                      <a:lnTo>
                        <a:pt x="1118" y="95"/>
                      </a:lnTo>
                      <a:lnTo>
                        <a:pt x="1113" y="92"/>
                      </a:lnTo>
                      <a:lnTo>
                        <a:pt x="1113" y="89"/>
                      </a:lnTo>
                      <a:lnTo>
                        <a:pt x="1118" y="84"/>
                      </a:lnTo>
                      <a:lnTo>
                        <a:pt x="1124" y="81"/>
                      </a:lnTo>
                      <a:lnTo>
                        <a:pt x="1127" y="84"/>
                      </a:lnTo>
                      <a:lnTo>
                        <a:pt x="1130" y="84"/>
                      </a:lnTo>
                      <a:lnTo>
                        <a:pt x="1130" y="81"/>
                      </a:lnTo>
                      <a:lnTo>
                        <a:pt x="1132" y="79"/>
                      </a:lnTo>
                      <a:lnTo>
                        <a:pt x="1138" y="73"/>
                      </a:lnTo>
                      <a:lnTo>
                        <a:pt x="1140" y="76"/>
                      </a:lnTo>
                      <a:lnTo>
                        <a:pt x="1148" y="76"/>
                      </a:lnTo>
                      <a:lnTo>
                        <a:pt x="1157" y="73"/>
                      </a:lnTo>
                      <a:lnTo>
                        <a:pt x="1160" y="69"/>
                      </a:lnTo>
                      <a:lnTo>
                        <a:pt x="1165" y="69"/>
                      </a:lnTo>
                      <a:lnTo>
                        <a:pt x="1173" y="73"/>
                      </a:lnTo>
                      <a:lnTo>
                        <a:pt x="1176" y="69"/>
                      </a:lnTo>
                      <a:lnTo>
                        <a:pt x="1184" y="73"/>
                      </a:lnTo>
                      <a:lnTo>
                        <a:pt x="1184" y="67"/>
                      </a:lnTo>
                      <a:lnTo>
                        <a:pt x="1187" y="64"/>
                      </a:lnTo>
                      <a:lnTo>
                        <a:pt x="1187" y="67"/>
                      </a:lnTo>
                      <a:lnTo>
                        <a:pt x="1191" y="61"/>
                      </a:lnTo>
                      <a:lnTo>
                        <a:pt x="1187" y="59"/>
                      </a:lnTo>
                      <a:lnTo>
                        <a:pt x="1191" y="56"/>
                      </a:lnTo>
                      <a:lnTo>
                        <a:pt x="1191" y="51"/>
                      </a:lnTo>
                      <a:lnTo>
                        <a:pt x="1196" y="48"/>
                      </a:lnTo>
                      <a:lnTo>
                        <a:pt x="1193" y="45"/>
                      </a:lnTo>
                      <a:lnTo>
                        <a:pt x="1196" y="43"/>
                      </a:lnTo>
                      <a:lnTo>
                        <a:pt x="1201" y="40"/>
                      </a:lnTo>
                      <a:lnTo>
                        <a:pt x="1204" y="37"/>
                      </a:lnTo>
                      <a:lnTo>
                        <a:pt x="1207" y="34"/>
                      </a:lnTo>
                      <a:lnTo>
                        <a:pt x="1201" y="28"/>
                      </a:lnTo>
                      <a:lnTo>
                        <a:pt x="1207" y="18"/>
                      </a:lnTo>
                      <a:lnTo>
                        <a:pt x="1204" y="15"/>
                      </a:lnTo>
                      <a:lnTo>
                        <a:pt x="1209" y="15"/>
                      </a:lnTo>
                      <a:lnTo>
                        <a:pt x="1212" y="15"/>
                      </a:lnTo>
                      <a:lnTo>
                        <a:pt x="1215" y="15"/>
                      </a:lnTo>
                      <a:lnTo>
                        <a:pt x="1217" y="12"/>
                      </a:lnTo>
                      <a:lnTo>
                        <a:pt x="1223" y="12"/>
                      </a:lnTo>
                      <a:lnTo>
                        <a:pt x="1226" y="10"/>
                      </a:lnTo>
                      <a:lnTo>
                        <a:pt x="1223" y="7"/>
                      </a:lnTo>
                      <a:lnTo>
                        <a:pt x="1226" y="4"/>
                      </a:lnTo>
                      <a:lnTo>
                        <a:pt x="1229" y="4"/>
                      </a:lnTo>
                      <a:lnTo>
                        <a:pt x="1234" y="0"/>
                      </a:lnTo>
                      <a:lnTo>
                        <a:pt x="1237" y="7"/>
                      </a:lnTo>
                      <a:lnTo>
                        <a:pt x="1242" y="10"/>
                      </a:lnTo>
                      <a:lnTo>
                        <a:pt x="1245" y="12"/>
                      </a:lnTo>
                      <a:lnTo>
                        <a:pt x="1245" y="15"/>
                      </a:lnTo>
                      <a:lnTo>
                        <a:pt x="1251" y="18"/>
                      </a:lnTo>
                      <a:lnTo>
                        <a:pt x="1253" y="15"/>
                      </a:lnTo>
                      <a:lnTo>
                        <a:pt x="1251" y="20"/>
                      </a:lnTo>
                      <a:lnTo>
                        <a:pt x="1256" y="20"/>
                      </a:lnTo>
                      <a:lnTo>
                        <a:pt x="1260" y="18"/>
                      </a:lnTo>
                      <a:lnTo>
                        <a:pt x="1268" y="18"/>
                      </a:lnTo>
                      <a:lnTo>
                        <a:pt x="1270" y="18"/>
                      </a:lnTo>
                      <a:lnTo>
                        <a:pt x="1270" y="20"/>
                      </a:lnTo>
                      <a:lnTo>
                        <a:pt x="1276" y="20"/>
                      </a:lnTo>
                      <a:lnTo>
                        <a:pt x="1276" y="26"/>
                      </a:lnTo>
                      <a:lnTo>
                        <a:pt x="1278" y="23"/>
                      </a:lnTo>
                      <a:lnTo>
                        <a:pt x="1281" y="26"/>
                      </a:lnTo>
                      <a:lnTo>
                        <a:pt x="1281" y="28"/>
                      </a:lnTo>
                      <a:lnTo>
                        <a:pt x="1281" y="31"/>
                      </a:lnTo>
                      <a:lnTo>
                        <a:pt x="1278" y="40"/>
                      </a:lnTo>
                      <a:lnTo>
                        <a:pt x="1281" y="45"/>
                      </a:lnTo>
                      <a:lnTo>
                        <a:pt x="1281" y="48"/>
                      </a:lnTo>
                      <a:lnTo>
                        <a:pt x="1286" y="45"/>
                      </a:lnTo>
                      <a:lnTo>
                        <a:pt x="1292" y="48"/>
                      </a:lnTo>
                      <a:lnTo>
                        <a:pt x="1289" y="48"/>
                      </a:lnTo>
                      <a:lnTo>
                        <a:pt x="1286" y="56"/>
                      </a:lnTo>
                      <a:lnTo>
                        <a:pt x="1286" y="59"/>
                      </a:lnTo>
                      <a:lnTo>
                        <a:pt x="1289" y="59"/>
                      </a:lnTo>
                      <a:lnTo>
                        <a:pt x="1286" y="67"/>
                      </a:lnTo>
                      <a:lnTo>
                        <a:pt x="1284" y="69"/>
                      </a:lnTo>
                      <a:lnTo>
                        <a:pt x="1281" y="69"/>
                      </a:lnTo>
                      <a:lnTo>
                        <a:pt x="1284" y="79"/>
                      </a:lnTo>
                      <a:lnTo>
                        <a:pt x="1289" y="81"/>
                      </a:lnTo>
                      <a:lnTo>
                        <a:pt x="1289" y="92"/>
                      </a:lnTo>
                      <a:lnTo>
                        <a:pt x="1292" y="92"/>
                      </a:lnTo>
                      <a:lnTo>
                        <a:pt x="1292" y="97"/>
                      </a:lnTo>
                      <a:lnTo>
                        <a:pt x="1289" y="97"/>
                      </a:lnTo>
                      <a:lnTo>
                        <a:pt x="1289" y="103"/>
                      </a:lnTo>
                      <a:lnTo>
                        <a:pt x="1286" y="105"/>
                      </a:lnTo>
                      <a:lnTo>
                        <a:pt x="1292" y="109"/>
                      </a:lnTo>
                      <a:lnTo>
                        <a:pt x="1289" y="112"/>
                      </a:lnTo>
                      <a:lnTo>
                        <a:pt x="1286" y="112"/>
                      </a:lnTo>
                      <a:lnTo>
                        <a:pt x="1286" y="114"/>
                      </a:lnTo>
                      <a:lnTo>
                        <a:pt x="1289" y="120"/>
                      </a:lnTo>
                      <a:lnTo>
                        <a:pt x="1289" y="125"/>
                      </a:lnTo>
                      <a:lnTo>
                        <a:pt x="1286" y="125"/>
                      </a:lnTo>
                      <a:lnTo>
                        <a:pt x="1286" y="122"/>
                      </a:lnTo>
                      <a:lnTo>
                        <a:pt x="1284" y="122"/>
                      </a:lnTo>
                      <a:lnTo>
                        <a:pt x="1284" y="128"/>
                      </a:lnTo>
                      <a:lnTo>
                        <a:pt x="1286" y="128"/>
                      </a:lnTo>
                      <a:lnTo>
                        <a:pt x="1286" y="130"/>
                      </a:lnTo>
                      <a:lnTo>
                        <a:pt x="1289" y="130"/>
                      </a:lnTo>
                      <a:lnTo>
                        <a:pt x="1284" y="142"/>
                      </a:lnTo>
                      <a:lnTo>
                        <a:pt x="1284" y="145"/>
                      </a:lnTo>
                      <a:lnTo>
                        <a:pt x="1286" y="145"/>
                      </a:lnTo>
                      <a:lnTo>
                        <a:pt x="1289" y="145"/>
                      </a:lnTo>
                      <a:lnTo>
                        <a:pt x="1295" y="145"/>
                      </a:lnTo>
                      <a:lnTo>
                        <a:pt x="1295" y="148"/>
                      </a:lnTo>
                      <a:lnTo>
                        <a:pt x="1289" y="150"/>
                      </a:lnTo>
                      <a:lnTo>
                        <a:pt x="1289" y="153"/>
                      </a:lnTo>
                      <a:lnTo>
                        <a:pt x="1295" y="153"/>
                      </a:lnTo>
                      <a:lnTo>
                        <a:pt x="1295" y="150"/>
                      </a:lnTo>
                      <a:lnTo>
                        <a:pt x="1301" y="150"/>
                      </a:lnTo>
                      <a:lnTo>
                        <a:pt x="1303" y="153"/>
                      </a:lnTo>
                      <a:lnTo>
                        <a:pt x="1306" y="153"/>
                      </a:lnTo>
                      <a:lnTo>
                        <a:pt x="1306" y="156"/>
                      </a:lnTo>
                      <a:lnTo>
                        <a:pt x="1309" y="153"/>
                      </a:lnTo>
                      <a:lnTo>
                        <a:pt x="1311" y="153"/>
                      </a:lnTo>
                      <a:lnTo>
                        <a:pt x="1311" y="156"/>
                      </a:lnTo>
                      <a:lnTo>
                        <a:pt x="1317" y="158"/>
                      </a:lnTo>
                      <a:lnTo>
                        <a:pt x="1317" y="161"/>
                      </a:lnTo>
                      <a:lnTo>
                        <a:pt x="1319" y="161"/>
                      </a:lnTo>
                      <a:lnTo>
                        <a:pt x="1322" y="161"/>
                      </a:lnTo>
                      <a:lnTo>
                        <a:pt x="1325" y="161"/>
                      </a:lnTo>
                      <a:lnTo>
                        <a:pt x="1334" y="166"/>
                      </a:lnTo>
                      <a:lnTo>
                        <a:pt x="1342" y="164"/>
                      </a:lnTo>
                      <a:lnTo>
                        <a:pt x="1345" y="169"/>
                      </a:lnTo>
                      <a:lnTo>
                        <a:pt x="1350" y="172"/>
                      </a:lnTo>
                      <a:lnTo>
                        <a:pt x="1350" y="174"/>
                      </a:lnTo>
                      <a:lnTo>
                        <a:pt x="1353" y="178"/>
                      </a:lnTo>
                      <a:lnTo>
                        <a:pt x="1355" y="172"/>
                      </a:lnTo>
                      <a:lnTo>
                        <a:pt x="1358" y="178"/>
                      </a:lnTo>
                      <a:lnTo>
                        <a:pt x="1367" y="174"/>
                      </a:lnTo>
                      <a:lnTo>
                        <a:pt x="1372" y="181"/>
                      </a:lnTo>
                      <a:lnTo>
                        <a:pt x="1372" y="174"/>
                      </a:lnTo>
                      <a:lnTo>
                        <a:pt x="1375" y="174"/>
                      </a:lnTo>
                      <a:lnTo>
                        <a:pt x="1378" y="178"/>
                      </a:lnTo>
                      <a:lnTo>
                        <a:pt x="1383" y="178"/>
                      </a:lnTo>
                      <a:lnTo>
                        <a:pt x="1386" y="178"/>
                      </a:lnTo>
                      <a:lnTo>
                        <a:pt x="1386" y="183"/>
                      </a:lnTo>
                      <a:lnTo>
                        <a:pt x="1391" y="186"/>
                      </a:lnTo>
                      <a:lnTo>
                        <a:pt x="1398" y="189"/>
                      </a:lnTo>
                      <a:lnTo>
                        <a:pt x="1400" y="191"/>
                      </a:lnTo>
                      <a:lnTo>
                        <a:pt x="1406" y="191"/>
                      </a:lnTo>
                      <a:lnTo>
                        <a:pt x="1411" y="186"/>
                      </a:lnTo>
                      <a:lnTo>
                        <a:pt x="1414" y="186"/>
                      </a:lnTo>
                      <a:lnTo>
                        <a:pt x="1414" y="183"/>
                      </a:lnTo>
                      <a:lnTo>
                        <a:pt x="1416" y="186"/>
                      </a:lnTo>
                      <a:lnTo>
                        <a:pt x="1419" y="183"/>
                      </a:lnTo>
                      <a:lnTo>
                        <a:pt x="1422" y="186"/>
                      </a:lnTo>
                      <a:lnTo>
                        <a:pt x="1424" y="186"/>
                      </a:lnTo>
                      <a:lnTo>
                        <a:pt x="1427" y="186"/>
                      </a:lnTo>
                      <a:lnTo>
                        <a:pt x="1427" y="183"/>
                      </a:lnTo>
                      <a:lnTo>
                        <a:pt x="1431" y="186"/>
                      </a:lnTo>
                      <a:lnTo>
                        <a:pt x="1433" y="186"/>
                      </a:lnTo>
                      <a:lnTo>
                        <a:pt x="1444" y="189"/>
                      </a:lnTo>
                      <a:lnTo>
                        <a:pt x="1447" y="189"/>
                      </a:lnTo>
                      <a:lnTo>
                        <a:pt x="1449" y="191"/>
                      </a:lnTo>
                      <a:lnTo>
                        <a:pt x="1452" y="191"/>
                      </a:lnTo>
                      <a:lnTo>
                        <a:pt x="1452" y="194"/>
                      </a:lnTo>
                      <a:lnTo>
                        <a:pt x="1455" y="191"/>
                      </a:lnTo>
                      <a:lnTo>
                        <a:pt x="1460" y="199"/>
                      </a:lnTo>
                      <a:lnTo>
                        <a:pt x="1463" y="199"/>
                      </a:lnTo>
                      <a:lnTo>
                        <a:pt x="1466" y="199"/>
                      </a:lnTo>
                      <a:lnTo>
                        <a:pt x="1469" y="202"/>
                      </a:lnTo>
                      <a:lnTo>
                        <a:pt x="1469" y="199"/>
                      </a:lnTo>
                      <a:lnTo>
                        <a:pt x="1472" y="199"/>
                      </a:lnTo>
                      <a:lnTo>
                        <a:pt x="1475" y="199"/>
                      </a:lnTo>
                      <a:lnTo>
                        <a:pt x="1477" y="194"/>
                      </a:lnTo>
                      <a:lnTo>
                        <a:pt x="1483" y="194"/>
                      </a:lnTo>
                      <a:lnTo>
                        <a:pt x="1485" y="194"/>
                      </a:lnTo>
                      <a:lnTo>
                        <a:pt x="1488" y="194"/>
                      </a:lnTo>
                      <a:lnTo>
                        <a:pt x="1488" y="197"/>
                      </a:lnTo>
                      <a:lnTo>
                        <a:pt x="1491" y="197"/>
                      </a:lnTo>
                      <a:lnTo>
                        <a:pt x="1491" y="199"/>
                      </a:lnTo>
                      <a:lnTo>
                        <a:pt x="1496" y="199"/>
                      </a:lnTo>
                      <a:lnTo>
                        <a:pt x="1500" y="202"/>
                      </a:lnTo>
                      <a:lnTo>
                        <a:pt x="1502" y="202"/>
                      </a:lnTo>
                      <a:lnTo>
                        <a:pt x="1505" y="202"/>
                      </a:lnTo>
                      <a:lnTo>
                        <a:pt x="1505" y="205"/>
                      </a:lnTo>
                      <a:lnTo>
                        <a:pt x="1505" y="202"/>
                      </a:lnTo>
                      <a:lnTo>
                        <a:pt x="1508" y="202"/>
                      </a:lnTo>
                      <a:lnTo>
                        <a:pt x="1508" y="199"/>
                      </a:lnTo>
                      <a:lnTo>
                        <a:pt x="1508" y="202"/>
                      </a:lnTo>
                      <a:lnTo>
                        <a:pt x="1510" y="199"/>
                      </a:lnTo>
                      <a:lnTo>
                        <a:pt x="1508" y="202"/>
                      </a:lnTo>
                      <a:lnTo>
                        <a:pt x="1510" y="202"/>
                      </a:lnTo>
                      <a:lnTo>
                        <a:pt x="1516" y="202"/>
                      </a:lnTo>
                      <a:lnTo>
                        <a:pt x="1518" y="202"/>
                      </a:lnTo>
                      <a:lnTo>
                        <a:pt x="1524" y="199"/>
                      </a:lnTo>
                      <a:lnTo>
                        <a:pt x="1526" y="197"/>
                      </a:lnTo>
                      <a:lnTo>
                        <a:pt x="1532" y="197"/>
                      </a:lnTo>
                      <a:lnTo>
                        <a:pt x="1541" y="194"/>
                      </a:lnTo>
                      <a:lnTo>
                        <a:pt x="1544" y="191"/>
                      </a:lnTo>
                      <a:lnTo>
                        <a:pt x="1546" y="194"/>
                      </a:lnTo>
                      <a:lnTo>
                        <a:pt x="1549" y="194"/>
                      </a:lnTo>
                      <a:lnTo>
                        <a:pt x="1552" y="197"/>
                      </a:lnTo>
                      <a:lnTo>
                        <a:pt x="1554" y="197"/>
                      </a:lnTo>
                      <a:lnTo>
                        <a:pt x="1560" y="199"/>
                      </a:lnTo>
                      <a:lnTo>
                        <a:pt x="1565" y="207"/>
                      </a:lnTo>
                      <a:lnTo>
                        <a:pt x="1571" y="205"/>
                      </a:lnTo>
                      <a:lnTo>
                        <a:pt x="1577" y="205"/>
                      </a:lnTo>
                      <a:lnTo>
                        <a:pt x="1579" y="205"/>
                      </a:lnTo>
                      <a:lnTo>
                        <a:pt x="1582" y="214"/>
                      </a:lnTo>
                      <a:lnTo>
                        <a:pt x="1582" y="219"/>
                      </a:lnTo>
                      <a:lnTo>
                        <a:pt x="1585" y="222"/>
                      </a:lnTo>
                      <a:lnTo>
                        <a:pt x="1587" y="222"/>
                      </a:lnTo>
                      <a:lnTo>
                        <a:pt x="1590" y="219"/>
                      </a:lnTo>
                      <a:lnTo>
                        <a:pt x="1590" y="222"/>
                      </a:lnTo>
                      <a:lnTo>
                        <a:pt x="1593" y="222"/>
                      </a:lnTo>
                      <a:lnTo>
                        <a:pt x="1593" y="225"/>
                      </a:lnTo>
                      <a:lnTo>
                        <a:pt x="1596" y="225"/>
                      </a:lnTo>
                      <a:lnTo>
                        <a:pt x="1596" y="227"/>
                      </a:lnTo>
                      <a:lnTo>
                        <a:pt x="1598" y="227"/>
                      </a:lnTo>
                      <a:lnTo>
                        <a:pt x="1598" y="233"/>
                      </a:lnTo>
                      <a:lnTo>
                        <a:pt x="1596" y="243"/>
                      </a:lnTo>
                      <a:lnTo>
                        <a:pt x="1598" y="252"/>
                      </a:lnTo>
                      <a:lnTo>
                        <a:pt x="1596" y="252"/>
                      </a:lnTo>
                      <a:lnTo>
                        <a:pt x="1590" y="266"/>
                      </a:lnTo>
                      <a:lnTo>
                        <a:pt x="1587" y="266"/>
                      </a:lnTo>
                      <a:lnTo>
                        <a:pt x="1582" y="268"/>
                      </a:lnTo>
                      <a:lnTo>
                        <a:pt x="1579" y="276"/>
                      </a:lnTo>
                      <a:lnTo>
                        <a:pt x="1571" y="288"/>
                      </a:lnTo>
                      <a:lnTo>
                        <a:pt x="1565" y="294"/>
                      </a:lnTo>
                      <a:lnTo>
                        <a:pt x="1562" y="296"/>
                      </a:lnTo>
                      <a:lnTo>
                        <a:pt x="1554" y="304"/>
                      </a:lnTo>
                      <a:lnTo>
                        <a:pt x="1552" y="316"/>
                      </a:lnTo>
                      <a:lnTo>
                        <a:pt x="1552" y="329"/>
                      </a:lnTo>
                      <a:lnTo>
                        <a:pt x="1560" y="346"/>
                      </a:lnTo>
                      <a:lnTo>
                        <a:pt x="1562" y="352"/>
                      </a:lnTo>
                      <a:lnTo>
                        <a:pt x="1569" y="355"/>
                      </a:lnTo>
                      <a:lnTo>
                        <a:pt x="1574" y="355"/>
                      </a:lnTo>
                      <a:lnTo>
                        <a:pt x="1577" y="357"/>
                      </a:lnTo>
                      <a:lnTo>
                        <a:pt x="1577" y="355"/>
                      </a:lnTo>
                      <a:lnTo>
                        <a:pt x="1577" y="357"/>
                      </a:lnTo>
                      <a:lnTo>
                        <a:pt x="1571" y="388"/>
                      </a:lnTo>
                      <a:lnTo>
                        <a:pt x="1571" y="404"/>
                      </a:lnTo>
                      <a:lnTo>
                        <a:pt x="1579" y="434"/>
                      </a:lnTo>
                      <a:lnTo>
                        <a:pt x="1590" y="483"/>
                      </a:lnTo>
                      <a:lnTo>
                        <a:pt x="1593" y="498"/>
                      </a:lnTo>
                      <a:lnTo>
                        <a:pt x="1593" y="509"/>
                      </a:lnTo>
                      <a:lnTo>
                        <a:pt x="1587" y="519"/>
                      </a:lnTo>
                      <a:lnTo>
                        <a:pt x="1585" y="526"/>
                      </a:lnTo>
                      <a:lnTo>
                        <a:pt x="1579" y="528"/>
                      </a:lnTo>
                      <a:lnTo>
                        <a:pt x="1562" y="536"/>
                      </a:lnTo>
                      <a:lnTo>
                        <a:pt x="1549" y="544"/>
                      </a:lnTo>
                      <a:lnTo>
                        <a:pt x="1529" y="558"/>
                      </a:lnTo>
                      <a:lnTo>
                        <a:pt x="1518" y="567"/>
                      </a:lnTo>
                      <a:lnTo>
                        <a:pt x="1500" y="575"/>
                      </a:lnTo>
                      <a:lnTo>
                        <a:pt x="1483" y="580"/>
                      </a:lnTo>
                      <a:lnTo>
                        <a:pt x="1463" y="588"/>
                      </a:lnTo>
                      <a:lnTo>
                        <a:pt x="1408" y="603"/>
                      </a:lnTo>
                      <a:lnTo>
                        <a:pt x="1386" y="608"/>
                      </a:lnTo>
                      <a:lnTo>
                        <a:pt x="1364" y="616"/>
                      </a:lnTo>
                      <a:lnTo>
                        <a:pt x="1347" y="624"/>
                      </a:lnTo>
                      <a:lnTo>
                        <a:pt x="1337" y="627"/>
                      </a:lnTo>
                      <a:lnTo>
                        <a:pt x="1329" y="633"/>
                      </a:lnTo>
                      <a:lnTo>
                        <a:pt x="1301" y="647"/>
                      </a:lnTo>
                      <a:lnTo>
                        <a:pt x="1281" y="663"/>
                      </a:lnTo>
                      <a:lnTo>
                        <a:pt x="1276" y="663"/>
                      </a:lnTo>
                      <a:lnTo>
                        <a:pt x="1270" y="669"/>
                      </a:lnTo>
                      <a:lnTo>
                        <a:pt x="1268" y="672"/>
                      </a:lnTo>
                      <a:lnTo>
                        <a:pt x="1268" y="677"/>
                      </a:lnTo>
                      <a:lnTo>
                        <a:pt x="1270" y="677"/>
                      </a:lnTo>
                      <a:lnTo>
                        <a:pt x="1268" y="680"/>
                      </a:lnTo>
                      <a:lnTo>
                        <a:pt x="1270" y="682"/>
                      </a:lnTo>
                      <a:lnTo>
                        <a:pt x="1262" y="688"/>
                      </a:lnTo>
                      <a:lnTo>
                        <a:pt x="1260" y="688"/>
                      </a:lnTo>
                      <a:lnTo>
                        <a:pt x="1248" y="693"/>
                      </a:lnTo>
                      <a:lnTo>
                        <a:pt x="1240" y="702"/>
                      </a:lnTo>
                      <a:lnTo>
                        <a:pt x="1234" y="708"/>
                      </a:lnTo>
                      <a:lnTo>
                        <a:pt x="1234" y="713"/>
                      </a:lnTo>
                      <a:lnTo>
                        <a:pt x="1232" y="721"/>
                      </a:lnTo>
                      <a:lnTo>
                        <a:pt x="1229" y="721"/>
                      </a:lnTo>
                      <a:lnTo>
                        <a:pt x="1226" y="724"/>
                      </a:lnTo>
                      <a:lnTo>
                        <a:pt x="1220" y="724"/>
                      </a:lnTo>
                      <a:lnTo>
                        <a:pt x="1215" y="726"/>
                      </a:lnTo>
                      <a:lnTo>
                        <a:pt x="1209" y="738"/>
                      </a:lnTo>
                      <a:lnTo>
                        <a:pt x="1207" y="741"/>
                      </a:lnTo>
                      <a:lnTo>
                        <a:pt x="1204" y="746"/>
                      </a:lnTo>
                      <a:lnTo>
                        <a:pt x="1201" y="746"/>
                      </a:lnTo>
                      <a:lnTo>
                        <a:pt x="1199" y="741"/>
                      </a:lnTo>
                      <a:lnTo>
                        <a:pt x="1193" y="743"/>
                      </a:lnTo>
                      <a:lnTo>
                        <a:pt x="1187" y="749"/>
                      </a:lnTo>
                      <a:lnTo>
                        <a:pt x="1184" y="754"/>
                      </a:lnTo>
                      <a:lnTo>
                        <a:pt x="1179" y="771"/>
                      </a:lnTo>
                      <a:lnTo>
                        <a:pt x="1176" y="777"/>
                      </a:lnTo>
                      <a:lnTo>
                        <a:pt x="1176" y="793"/>
                      </a:lnTo>
                      <a:lnTo>
                        <a:pt x="1176" y="795"/>
                      </a:lnTo>
                      <a:lnTo>
                        <a:pt x="1176" y="798"/>
                      </a:lnTo>
                      <a:lnTo>
                        <a:pt x="1182" y="820"/>
                      </a:lnTo>
                      <a:lnTo>
                        <a:pt x="1184" y="826"/>
                      </a:lnTo>
                      <a:lnTo>
                        <a:pt x="1193" y="826"/>
                      </a:lnTo>
                      <a:lnTo>
                        <a:pt x="1193" y="828"/>
                      </a:lnTo>
                      <a:lnTo>
                        <a:pt x="1199" y="837"/>
                      </a:lnTo>
                      <a:lnTo>
                        <a:pt x="1204" y="843"/>
                      </a:lnTo>
                      <a:lnTo>
                        <a:pt x="1209" y="843"/>
                      </a:lnTo>
                      <a:lnTo>
                        <a:pt x="1212" y="840"/>
                      </a:lnTo>
                      <a:lnTo>
                        <a:pt x="1209" y="837"/>
                      </a:lnTo>
                      <a:lnTo>
                        <a:pt x="1215" y="837"/>
                      </a:lnTo>
                      <a:lnTo>
                        <a:pt x="1215" y="834"/>
                      </a:lnTo>
                      <a:lnTo>
                        <a:pt x="1220" y="837"/>
                      </a:lnTo>
                      <a:lnTo>
                        <a:pt x="1223" y="834"/>
                      </a:lnTo>
                      <a:lnTo>
                        <a:pt x="1223" y="828"/>
                      </a:lnTo>
                      <a:lnTo>
                        <a:pt x="1226" y="831"/>
                      </a:lnTo>
                      <a:lnTo>
                        <a:pt x="1226" y="828"/>
                      </a:lnTo>
                      <a:lnTo>
                        <a:pt x="1229" y="831"/>
                      </a:lnTo>
                      <a:lnTo>
                        <a:pt x="1226" y="834"/>
                      </a:lnTo>
                      <a:lnTo>
                        <a:pt x="1232" y="837"/>
                      </a:lnTo>
                      <a:lnTo>
                        <a:pt x="1229" y="840"/>
                      </a:lnTo>
                      <a:lnTo>
                        <a:pt x="1226" y="840"/>
                      </a:lnTo>
                      <a:lnTo>
                        <a:pt x="1223" y="846"/>
                      </a:lnTo>
                      <a:lnTo>
                        <a:pt x="1223" y="843"/>
                      </a:lnTo>
                      <a:lnTo>
                        <a:pt x="1220" y="843"/>
                      </a:lnTo>
                      <a:lnTo>
                        <a:pt x="1223" y="848"/>
                      </a:lnTo>
                      <a:lnTo>
                        <a:pt x="1220" y="846"/>
                      </a:lnTo>
                      <a:lnTo>
                        <a:pt x="1217" y="848"/>
                      </a:lnTo>
                      <a:lnTo>
                        <a:pt x="1215" y="848"/>
                      </a:lnTo>
                      <a:lnTo>
                        <a:pt x="1212" y="846"/>
                      </a:lnTo>
                      <a:lnTo>
                        <a:pt x="1207" y="848"/>
                      </a:lnTo>
                      <a:lnTo>
                        <a:pt x="1204" y="854"/>
                      </a:lnTo>
                      <a:lnTo>
                        <a:pt x="1204" y="856"/>
                      </a:lnTo>
                      <a:lnTo>
                        <a:pt x="1204" y="859"/>
                      </a:lnTo>
                      <a:lnTo>
                        <a:pt x="1204" y="862"/>
                      </a:lnTo>
                      <a:lnTo>
                        <a:pt x="1199" y="859"/>
                      </a:lnTo>
                      <a:lnTo>
                        <a:pt x="1199" y="862"/>
                      </a:lnTo>
                      <a:lnTo>
                        <a:pt x="1187" y="864"/>
                      </a:lnTo>
                      <a:lnTo>
                        <a:pt x="1182" y="876"/>
                      </a:lnTo>
                      <a:lnTo>
                        <a:pt x="1182" y="881"/>
                      </a:lnTo>
                      <a:lnTo>
                        <a:pt x="1182" y="884"/>
                      </a:lnTo>
                      <a:lnTo>
                        <a:pt x="1184" y="881"/>
                      </a:lnTo>
                      <a:lnTo>
                        <a:pt x="1182" y="884"/>
                      </a:lnTo>
                      <a:lnTo>
                        <a:pt x="1182" y="887"/>
                      </a:lnTo>
                      <a:lnTo>
                        <a:pt x="1179" y="889"/>
                      </a:lnTo>
                      <a:lnTo>
                        <a:pt x="1176" y="889"/>
                      </a:lnTo>
                      <a:lnTo>
                        <a:pt x="1173" y="892"/>
                      </a:lnTo>
                      <a:lnTo>
                        <a:pt x="1173" y="889"/>
                      </a:lnTo>
                      <a:lnTo>
                        <a:pt x="1171" y="889"/>
                      </a:lnTo>
                      <a:lnTo>
                        <a:pt x="1165" y="895"/>
                      </a:lnTo>
                      <a:lnTo>
                        <a:pt x="1163" y="897"/>
                      </a:lnTo>
                      <a:lnTo>
                        <a:pt x="1160" y="906"/>
                      </a:lnTo>
                      <a:lnTo>
                        <a:pt x="1160" y="912"/>
                      </a:lnTo>
                      <a:lnTo>
                        <a:pt x="1163" y="917"/>
                      </a:lnTo>
                      <a:lnTo>
                        <a:pt x="1165" y="917"/>
                      </a:lnTo>
                      <a:lnTo>
                        <a:pt x="1165" y="920"/>
                      </a:lnTo>
                      <a:lnTo>
                        <a:pt x="1168" y="923"/>
                      </a:lnTo>
                      <a:lnTo>
                        <a:pt x="1171" y="920"/>
                      </a:lnTo>
                      <a:lnTo>
                        <a:pt x="1173" y="917"/>
                      </a:lnTo>
                      <a:lnTo>
                        <a:pt x="1173" y="920"/>
                      </a:lnTo>
                      <a:lnTo>
                        <a:pt x="1171" y="923"/>
                      </a:lnTo>
                      <a:lnTo>
                        <a:pt x="1173" y="923"/>
                      </a:lnTo>
                      <a:lnTo>
                        <a:pt x="1176" y="923"/>
                      </a:lnTo>
                      <a:lnTo>
                        <a:pt x="1173" y="925"/>
                      </a:lnTo>
                      <a:lnTo>
                        <a:pt x="1171" y="923"/>
                      </a:lnTo>
                      <a:lnTo>
                        <a:pt x="1168" y="925"/>
                      </a:lnTo>
                      <a:lnTo>
                        <a:pt x="1171" y="925"/>
                      </a:lnTo>
                      <a:lnTo>
                        <a:pt x="1168" y="928"/>
                      </a:lnTo>
                      <a:lnTo>
                        <a:pt x="1168" y="931"/>
                      </a:lnTo>
                      <a:lnTo>
                        <a:pt x="1171" y="931"/>
                      </a:lnTo>
                      <a:lnTo>
                        <a:pt x="1171" y="933"/>
                      </a:lnTo>
                      <a:lnTo>
                        <a:pt x="1171" y="939"/>
                      </a:lnTo>
                      <a:lnTo>
                        <a:pt x="1168" y="933"/>
                      </a:lnTo>
                      <a:lnTo>
                        <a:pt x="1160" y="931"/>
                      </a:lnTo>
                      <a:lnTo>
                        <a:pt x="1163" y="928"/>
                      </a:lnTo>
                      <a:lnTo>
                        <a:pt x="1157" y="925"/>
                      </a:lnTo>
                      <a:lnTo>
                        <a:pt x="1143" y="920"/>
                      </a:lnTo>
                      <a:lnTo>
                        <a:pt x="1058" y="915"/>
                      </a:lnTo>
                      <a:lnTo>
                        <a:pt x="1027" y="912"/>
                      </a:lnTo>
                      <a:lnTo>
                        <a:pt x="1002" y="912"/>
                      </a:lnTo>
                      <a:lnTo>
                        <a:pt x="980" y="912"/>
                      </a:lnTo>
                      <a:lnTo>
                        <a:pt x="974" y="915"/>
                      </a:lnTo>
                      <a:lnTo>
                        <a:pt x="966" y="912"/>
                      </a:lnTo>
                      <a:lnTo>
                        <a:pt x="936" y="912"/>
                      </a:lnTo>
                      <a:lnTo>
                        <a:pt x="917" y="912"/>
                      </a:lnTo>
                      <a:lnTo>
                        <a:pt x="900" y="915"/>
                      </a:lnTo>
                      <a:lnTo>
                        <a:pt x="897" y="917"/>
                      </a:lnTo>
                      <a:lnTo>
                        <a:pt x="897" y="923"/>
                      </a:lnTo>
                      <a:lnTo>
                        <a:pt x="895" y="923"/>
                      </a:lnTo>
                      <a:lnTo>
                        <a:pt x="892" y="923"/>
                      </a:lnTo>
                      <a:lnTo>
                        <a:pt x="884" y="920"/>
                      </a:lnTo>
                      <a:lnTo>
                        <a:pt x="845" y="923"/>
                      </a:lnTo>
                      <a:lnTo>
                        <a:pt x="820" y="925"/>
                      </a:lnTo>
                      <a:lnTo>
                        <a:pt x="801" y="928"/>
                      </a:lnTo>
                      <a:lnTo>
                        <a:pt x="787" y="925"/>
                      </a:lnTo>
                      <a:lnTo>
                        <a:pt x="770" y="925"/>
                      </a:lnTo>
                      <a:lnTo>
                        <a:pt x="765" y="928"/>
                      </a:lnTo>
                      <a:lnTo>
                        <a:pt x="762" y="928"/>
                      </a:lnTo>
                      <a:lnTo>
                        <a:pt x="759" y="928"/>
                      </a:lnTo>
                      <a:lnTo>
                        <a:pt x="757" y="931"/>
                      </a:lnTo>
                      <a:lnTo>
                        <a:pt x="754" y="928"/>
                      </a:lnTo>
                      <a:lnTo>
                        <a:pt x="751" y="928"/>
                      </a:lnTo>
                      <a:lnTo>
                        <a:pt x="749" y="931"/>
                      </a:lnTo>
                      <a:lnTo>
                        <a:pt x="749" y="928"/>
                      </a:lnTo>
                      <a:lnTo>
                        <a:pt x="751" y="928"/>
                      </a:lnTo>
                      <a:lnTo>
                        <a:pt x="746" y="923"/>
                      </a:lnTo>
                      <a:lnTo>
                        <a:pt x="734" y="920"/>
                      </a:lnTo>
                      <a:lnTo>
                        <a:pt x="724" y="920"/>
                      </a:lnTo>
                      <a:lnTo>
                        <a:pt x="721" y="917"/>
                      </a:lnTo>
                      <a:lnTo>
                        <a:pt x="721" y="915"/>
                      </a:lnTo>
                      <a:lnTo>
                        <a:pt x="713" y="915"/>
                      </a:lnTo>
                      <a:lnTo>
                        <a:pt x="718" y="912"/>
                      </a:lnTo>
                      <a:lnTo>
                        <a:pt x="718" y="906"/>
                      </a:lnTo>
                      <a:lnTo>
                        <a:pt x="721" y="908"/>
                      </a:lnTo>
                      <a:lnTo>
                        <a:pt x="724" y="908"/>
                      </a:lnTo>
                      <a:lnTo>
                        <a:pt x="721" y="912"/>
                      </a:lnTo>
                      <a:lnTo>
                        <a:pt x="724" y="912"/>
                      </a:lnTo>
                      <a:lnTo>
                        <a:pt x="726" y="912"/>
                      </a:lnTo>
                      <a:lnTo>
                        <a:pt x="729" y="908"/>
                      </a:lnTo>
                      <a:lnTo>
                        <a:pt x="729" y="903"/>
                      </a:lnTo>
                      <a:lnTo>
                        <a:pt x="724" y="903"/>
                      </a:lnTo>
                      <a:lnTo>
                        <a:pt x="721" y="900"/>
                      </a:lnTo>
                      <a:lnTo>
                        <a:pt x="718" y="900"/>
                      </a:lnTo>
                      <a:lnTo>
                        <a:pt x="716" y="903"/>
                      </a:lnTo>
                      <a:lnTo>
                        <a:pt x="713" y="897"/>
                      </a:lnTo>
                      <a:lnTo>
                        <a:pt x="718" y="895"/>
                      </a:lnTo>
                      <a:lnTo>
                        <a:pt x="718" y="892"/>
                      </a:lnTo>
                      <a:lnTo>
                        <a:pt x="713" y="889"/>
                      </a:lnTo>
                      <a:lnTo>
                        <a:pt x="716" y="887"/>
                      </a:lnTo>
                      <a:lnTo>
                        <a:pt x="718" y="887"/>
                      </a:lnTo>
                      <a:lnTo>
                        <a:pt x="721" y="889"/>
                      </a:lnTo>
                      <a:lnTo>
                        <a:pt x="724" y="884"/>
                      </a:lnTo>
                      <a:lnTo>
                        <a:pt x="726" y="879"/>
                      </a:lnTo>
                      <a:lnTo>
                        <a:pt x="732" y="872"/>
                      </a:lnTo>
                      <a:lnTo>
                        <a:pt x="729" y="870"/>
                      </a:lnTo>
                      <a:lnTo>
                        <a:pt x="729" y="867"/>
                      </a:lnTo>
                      <a:lnTo>
                        <a:pt x="734" y="862"/>
                      </a:lnTo>
                      <a:lnTo>
                        <a:pt x="742" y="856"/>
                      </a:lnTo>
                      <a:lnTo>
                        <a:pt x="737" y="854"/>
                      </a:lnTo>
                      <a:lnTo>
                        <a:pt x="734" y="851"/>
                      </a:lnTo>
                      <a:lnTo>
                        <a:pt x="740" y="846"/>
                      </a:lnTo>
                      <a:lnTo>
                        <a:pt x="740" y="843"/>
                      </a:lnTo>
                      <a:lnTo>
                        <a:pt x="742" y="840"/>
                      </a:lnTo>
                      <a:lnTo>
                        <a:pt x="757" y="831"/>
                      </a:lnTo>
                      <a:lnTo>
                        <a:pt x="757" y="826"/>
                      </a:lnTo>
                      <a:lnTo>
                        <a:pt x="757" y="823"/>
                      </a:lnTo>
                      <a:lnTo>
                        <a:pt x="754" y="820"/>
                      </a:lnTo>
                      <a:lnTo>
                        <a:pt x="754" y="818"/>
                      </a:lnTo>
                      <a:lnTo>
                        <a:pt x="757" y="815"/>
                      </a:lnTo>
                      <a:lnTo>
                        <a:pt x="754" y="812"/>
                      </a:lnTo>
                      <a:lnTo>
                        <a:pt x="757" y="810"/>
                      </a:lnTo>
                      <a:lnTo>
                        <a:pt x="754" y="810"/>
                      </a:lnTo>
                      <a:lnTo>
                        <a:pt x="751" y="810"/>
                      </a:lnTo>
                      <a:lnTo>
                        <a:pt x="751" y="807"/>
                      </a:lnTo>
                      <a:lnTo>
                        <a:pt x="749" y="810"/>
                      </a:lnTo>
                      <a:lnTo>
                        <a:pt x="746" y="807"/>
                      </a:lnTo>
                      <a:lnTo>
                        <a:pt x="742" y="807"/>
                      </a:lnTo>
                      <a:lnTo>
                        <a:pt x="734" y="803"/>
                      </a:lnTo>
                      <a:lnTo>
                        <a:pt x="732" y="807"/>
                      </a:lnTo>
                      <a:lnTo>
                        <a:pt x="726" y="807"/>
                      </a:lnTo>
                      <a:lnTo>
                        <a:pt x="724" y="807"/>
                      </a:lnTo>
                      <a:lnTo>
                        <a:pt x="726" y="812"/>
                      </a:lnTo>
                      <a:lnTo>
                        <a:pt x="724" y="810"/>
                      </a:lnTo>
                      <a:lnTo>
                        <a:pt x="721" y="812"/>
                      </a:lnTo>
                      <a:lnTo>
                        <a:pt x="721" y="815"/>
                      </a:lnTo>
                      <a:lnTo>
                        <a:pt x="718" y="818"/>
                      </a:lnTo>
                      <a:lnTo>
                        <a:pt x="716" y="820"/>
                      </a:lnTo>
                      <a:lnTo>
                        <a:pt x="710" y="818"/>
                      </a:lnTo>
                      <a:lnTo>
                        <a:pt x="707" y="815"/>
                      </a:lnTo>
                      <a:lnTo>
                        <a:pt x="701" y="818"/>
                      </a:lnTo>
                      <a:lnTo>
                        <a:pt x="701" y="820"/>
                      </a:lnTo>
                      <a:lnTo>
                        <a:pt x="696" y="820"/>
                      </a:lnTo>
                      <a:lnTo>
                        <a:pt x="682" y="823"/>
                      </a:lnTo>
                      <a:lnTo>
                        <a:pt x="682" y="826"/>
                      </a:lnTo>
                      <a:lnTo>
                        <a:pt x="680" y="828"/>
                      </a:lnTo>
                      <a:lnTo>
                        <a:pt x="677" y="828"/>
                      </a:lnTo>
                      <a:lnTo>
                        <a:pt x="673" y="828"/>
                      </a:lnTo>
                      <a:lnTo>
                        <a:pt x="671" y="831"/>
                      </a:lnTo>
                      <a:lnTo>
                        <a:pt x="668" y="831"/>
                      </a:lnTo>
                      <a:lnTo>
                        <a:pt x="671" y="834"/>
                      </a:lnTo>
                      <a:lnTo>
                        <a:pt x="665" y="837"/>
                      </a:lnTo>
                      <a:lnTo>
                        <a:pt x="663" y="837"/>
                      </a:lnTo>
                      <a:lnTo>
                        <a:pt x="665" y="837"/>
                      </a:lnTo>
                      <a:lnTo>
                        <a:pt x="657" y="843"/>
                      </a:lnTo>
                      <a:lnTo>
                        <a:pt x="657" y="846"/>
                      </a:lnTo>
                      <a:lnTo>
                        <a:pt x="655" y="848"/>
                      </a:lnTo>
                      <a:lnTo>
                        <a:pt x="657" y="848"/>
                      </a:lnTo>
                      <a:lnTo>
                        <a:pt x="652" y="856"/>
                      </a:lnTo>
                      <a:lnTo>
                        <a:pt x="652" y="859"/>
                      </a:lnTo>
                      <a:lnTo>
                        <a:pt x="655" y="862"/>
                      </a:lnTo>
                      <a:lnTo>
                        <a:pt x="657" y="859"/>
                      </a:lnTo>
                      <a:lnTo>
                        <a:pt x="657" y="862"/>
                      </a:lnTo>
                      <a:lnTo>
                        <a:pt x="660" y="864"/>
                      </a:lnTo>
                      <a:lnTo>
                        <a:pt x="665" y="870"/>
                      </a:lnTo>
                      <a:lnTo>
                        <a:pt x="668" y="872"/>
                      </a:lnTo>
                      <a:lnTo>
                        <a:pt x="671" y="881"/>
                      </a:lnTo>
                      <a:lnTo>
                        <a:pt x="673" y="879"/>
                      </a:lnTo>
                      <a:lnTo>
                        <a:pt x="671" y="870"/>
                      </a:lnTo>
                      <a:lnTo>
                        <a:pt x="668" y="867"/>
                      </a:lnTo>
                      <a:lnTo>
                        <a:pt x="668" y="864"/>
                      </a:lnTo>
                      <a:lnTo>
                        <a:pt x="663" y="864"/>
                      </a:lnTo>
                      <a:lnTo>
                        <a:pt x="660" y="859"/>
                      </a:lnTo>
                      <a:lnTo>
                        <a:pt x="663" y="856"/>
                      </a:lnTo>
                      <a:lnTo>
                        <a:pt x="665" y="859"/>
                      </a:lnTo>
                      <a:lnTo>
                        <a:pt x="668" y="859"/>
                      </a:lnTo>
                      <a:lnTo>
                        <a:pt x="668" y="856"/>
                      </a:lnTo>
                      <a:lnTo>
                        <a:pt x="673" y="851"/>
                      </a:lnTo>
                      <a:lnTo>
                        <a:pt x="677" y="848"/>
                      </a:lnTo>
                      <a:lnTo>
                        <a:pt x="680" y="848"/>
                      </a:lnTo>
                      <a:lnTo>
                        <a:pt x="685" y="854"/>
                      </a:lnTo>
                      <a:lnTo>
                        <a:pt x="690" y="854"/>
                      </a:lnTo>
                      <a:lnTo>
                        <a:pt x="693" y="854"/>
                      </a:lnTo>
                      <a:lnTo>
                        <a:pt x="690" y="851"/>
                      </a:lnTo>
                      <a:lnTo>
                        <a:pt x="693" y="848"/>
                      </a:lnTo>
                      <a:lnTo>
                        <a:pt x="696" y="848"/>
                      </a:lnTo>
                      <a:lnTo>
                        <a:pt x="699" y="846"/>
                      </a:lnTo>
                      <a:lnTo>
                        <a:pt x="699" y="848"/>
                      </a:lnTo>
                      <a:lnTo>
                        <a:pt x="701" y="846"/>
                      </a:lnTo>
                      <a:lnTo>
                        <a:pt x="704" y="846"/>
                      </a:lnTo>
                      <a:lnTo>
                        <a:pt x="704" y="848"/>
                      </a:lnTo>
                      <a:lnTo>
                        <a:pt x="701" y="851"/>
                      </a:lnTo>
                      <a:lnTo>
                        <a:pt x="696" y="856"/>
                      </a:lnTo>
                      <a:lnTo>
                        <a:pt x="696" y="859"/>
                      </a:lnTo>
                      <a:lnTo>
                        <a:pt x="699" y="864"/>
                      </a:lnTo>
                      <a:lnTo>
                        <a:pt x="701" y="864"/>
                      </a:lnTo>
                      <a:lnTo>
                        <a:pt x="699" y="867"/>
                      </a:lnTo>
                      <a:lnTo>
                        <a:pt x="696" y="864"/>
                      </a:lnTo>
                      <a:lnTo>
                        <a:pt x="693" y="870"/>
                      </a:lnTo>
                      <a:lnTo>
                        <a:pt x="690" y="864"/>
                      </a:lnTo>
                      <a:lnTo>
                        <a:pt x="685" y="864"/>
                      </a:lnTo>
                      <a:lnTo>
                        <a:pt x="682" y="862"/>
                      </a:lnTo>
                      <a:lnTo>
                        <a:pt x="677" y="864"/>
                      </a:lnTo>
                      <a:lnTo>
                        <a:pt x="671" y="870"/>
                      </a:lnTo>
                      <a:lnTo>
                        <a:pt x="673" y="872"/>
                      </a:lnTo>
                      <a:lnTo>
                        <a:pt x="677" y="870"/>
                      </a:lnTo>
                      <a:lnTo>
                        <a:pt x="677" y="872"/>
                      </a:lnTo>
                      <a:lnTo>
                        <a:pt x="680" y="876"/>
                      </a:lnTo>
                      <a:lnTo>
                        <a:pt x="677" y="872"/>
                      </a:lnTo>
                      <a:lnTo>
                        <a:pt x="673" y="872"/>
                      </a:lnTo>
                      <a:lnTo>
                        <a:pt x="673" y="876"/>
                      </a:lnTo>
                      <a:lnTo>
                        <a:pt x="677" y="879"/>
                      </a:lnTo>
                      <a:lnTo>
                        <a:pt x="685" y="879"/>
                      </a:lnTo>
                      <a:lnTo>
                        <a:pt x="680" y="881"/>
                      </a:lnTo>
                      <a:lnTo>
                        <a:pt x="682" y="884"/>
                      </a:lnTo>
                      <a:lnTo>
                        <a:pt x="680" y="884"/>
                      </a:lnTo>
                      <a:lnTo>
                        <a:pt x="673" y="884"/>
                      </a:lnTo>
                      <a:lnTo>
                        <a:pt x="677" y="887"/>
                      </a:lnTo>
                      <a:lnTo>
                        <a:pt x="680" y="887"/>
                      </a:lnTo>
                      <a:lnTo>
                        <a:pt x="685" y="884"/>
                      </a:lnTo>
                      <a:lnTo>
                        <a:pt x="688" y="887"/>
                      </a:lnTo>
                      <a:lnTo>
                        <a:pt x="682" y="892"/>
                      </a:lnTo>
                      <a:lnTo>
                        <a:pt x="685" y="895"/>
                      </a:lnTo>
                      <a:lnTo>
                        <a:pt x="690" y="892"/>
                      </a:lnTo>
                      <a:lnTo>
                        <a:pt x="696" y="892"/>
                      </a:lnTo>
                      <a:lnTo>
                        <a:pt x="696" y="895"/>
                      </a:lnTo>
                      <a:lnTo>
                        <a:pt x="696" y="892"/>
                      </a:lnTo>
                      <a:lnTo>
                        <a:pt x="696" y="895"/>
                      </a:lnTo>
                      <a:lnTo>
                        <a:pt x="699" y="895"/>
                      </a:lnTo>
                      <a:lnTo>
                        <a:pt x="701" y="895"/>
                      </a:lnTo>
                      <a:lnTo>
                        <a:pt x="699" y="895"/>
                      </a:lnTo>
                      <a:lnTo>
                        <a:pt x="696" y="895"/>
                      </a:lnTo>
                      <a:lnTo>
                        <a:pt x="699" y="897"/>
                      </a:lnTo>
                      <a:lnTo>
                        <a:pt x="704" y="897"/>
                      </a:lnTo>
                      <a:lnTo>
                        <a:pt x="704" y="903"/>
                      </a:lnTo>
                      <a:lnTo>
                        <a:pt x="699" y="903"/>
                      </a:lnTo>
                      <a:lnTo>
                        <a:pt x="699" y="906"/>
                      </a:lnTo>
                      <a:lnTo>
                        <a:pt x="699" y="903"/>
                      </a:lnTo>
                      <a:lnTo>
                        <a:pt x="701" y="906"/>
                      </a:lnTo>
                      <a:lnTo>
                        <a:pt x="699" y="912"/>
                      </a:lnTo>
                      <a:lnTo>
                        <a:pt x="701" y="915"/>
                      </a:lnTo>
                      <a:lnTo>
                        <a:pt x="699" y="915"/>
                      </a:lnTo>
                      <a:lnTo>
                        <a:pt x="696" y="915"/>
                      </a:lnTo>
                      <a:lnTo>
                        <a:pt x="696" y="917"/>
                      </a:lnTo>
                      <a:lnTo>
                        <a:pt x="699" y="920"/>
                      </a:lnTo>
                      <a:lnTo>
                        <a:pt x="701" y="915"/>
                      </a:lnTo>
                      <a:lnTo>
                        <a:pt x="707" y="915"/>
                      </a:lnTo>
                      <a:lnTo>
                        <a:pt x="704" y="915"/>
                      </a:lnTo>
                      <a:lnTo>
                        <a:pt x="707" y="917"/>
                      </a:lnTo>
                      <a:lnTo>
                        <a:pt x="701" y="920"/>
                      </a:lnTo>
                      <a:lnTo>
                        <a:pt x="704" y="920"/>
                      </a:lnTo>
                      <a:lnTo>
                        <a:pt x="704" y="923"/>
                      </a:lnTo>
                      <a:lnTo>
                        <a:pt x="701" y="923"/>
                      </a:lnTo>
                      <a:lnTo>
                        <a:pt x="693" y="928"/>
                      </a:lnTo>
                      <a:lnTo>
                        <a:pt x="693" y="931"/>
                      </a:lnTo>
                      <a:lnTo>
                        <a:pt x="696" y="933"/>
                      </a:lnTo>
                      <a:lnTo>
                        <a:pt x="693" y="933"/>
                      </a:lnTo>
                      <a:lnTo>
                        <a:pt x="690" y="933"/>
                      </a:lnTo>
                      <a:lnTo>
                        <a:pt x="680" y="933"/>
                      </a:lnTo>
                      <a:lnTo>
                        <a:pt x="668" y="939"/>
                      </a:lnTo>
                      <a:lnTo>
                        <a:pt x="657" y="939"/>
                      </a:lnTo>
                      <a:lnTo>
                        <a:pt x="652" y="941"/>
                      </a:lnTo>
                      <a:lnTo>
                        <a:pt x="652" y="945"/>
                      </a:lnTo>
                      <a:lnTo>
                        <a:pt x="649" y="945"/>
                      </a:lnTo>
                      <a:lnTo>
                        <a:pt x="647" y="941"/>
                      </a:lnTo>
                      <a:lnTo>
                        <a:pt x="644" y="939"/>
                      </a:lnTo>
                      <a:lnTo>
                        <a:pt x="638" y="936"/>
                      </a:lnTo>
                      <a:lnTo>
                        <a:pt x="638" y="933"/>
                      </a:lnTo>
                      <a:lnTo>
                        <a:pt x="632" y="933"/>
                      </a:lnTo>
                      <a:lnTo>
                        <a:pt x="630" y="931"/>
                      </a:lnTo>
                      <a:lnTo>
                        <a:pt x="622" y="928"/>
                      </a:lnTo>
                      <a:lnTo>
                        <a:pt x="616" y="928"/>
                      </a:lnTo>
                      <a:lnTo>
                        <a:pt x="613" y="928"/>
                      </a:lnTo>
                      <a:lnTo>
                        <a:pt x="608" y="931"/>
                      </a:lnTo>
                      <a:lnTo>
                        <a:pt x="604" y="928"/>
                      </a:lnTo>
                      <a:lnTo>
                        <a:pt x="602" y="931"/>
                      </a:lnTo>
                      <a:lnTo>
                        <a:pt x="604" y="933"/>
                      </a:lnTo>
                      <a:lnTo>
                        <a:pt x="602" y="931"/>
                      </a:lnTo>
                      <a:lnTo>
                        <a:pt x="599" y="933"/>
                      </a:lnTo>
                      <a:lnTo>
                        <a:pt x="602" y="933"/>
                      </a:lnTo>
                      <a:lnTo>
                        <a:pt x="602" y="936"/>
                      </a:lnTo>
                      <a:lnTo>
                        <a:pt x="611" y="933"/>
                      </a:lnTo>
                      <a:lnTo>
                        <a:pt x="611" y="936"/>
                      </a:lnTo>
                      <a:lnTo>
                        <a:pt x="613" y="933"/>
                      </a:lnTo>
                      <a:lnTo>
                        <a:pt x="611" y="931"/>
                      </a:lnTo>
                      <a:lnTo>
                        <a:pt x="613" y="931"/>
                      </a:lnTo>
                      <a:lnTo>
                        <a:pt x="624" y="931"/>
                      </a:lnTo>
                      <a:lnTo>
                        <a:pt x="630" y="933"/>
                      </a:lnTo>
                      <a:lnTo>
                        <a:pt x="624" y="933"/>
                      </a:lnTo>
                      <a:lnTo>
                        <a:pt x="627" y="933"/>
                      </a:lnTo>
                      <a:lnTo>
                        <a:pt x="627" y="936"/>
                      </a:lnTo>
                      <a:lnTo>
                        <a:pt x="624" y="933"/>
                      </a:lnTo>
                      <a:lnTo>
                        <a:pt x="622" y="936"/>
                      </a:lnTo>
                      <a:lnTo>
                        <a:pt x="632" y="936"/>
                      </a:lnTo>
                      <a:lnTo>
                        <a:pt x="638" y="936"/>
                      </a:lnTo>
                      <a:lnTo>
                        <a:pt x="638" y="939"/>
                      </a:lnTo>
                      <a:lnTo>
                        <a:pt x="641" y="939"/>
                      </a:lnTo>
                      <a:lnTo>
                        <a:pt x="644" y="941"/>
                      </a:lnTo>
                      <a:lnTo>
                        <a:pt x="649" y="945"/>
                      </a:lnTo>
                      <a:lnTo>
                        <a:pt x="644" y="945"/>
                      </a:lnTo>
                      <a:lnTo>
                        <a:pt x="624" y="945"/>
                      </a:lnTo>
                      <a:lnTo>
                        <a:pt x="588" y="948"/>
                      </a:lnTo>
                      <a:lnTo>
                        <a:pt x="580" y="950"/>
                      </a:lnTo>
                      <a:lnTo>
                        <a:pt x="578" y="953"/>
                      </a:lnTo>
                      <a:lnTo>
                        <a:pt x="578" y="956"/>
                      </a:lnTo>
                      <a:lnTo>
                        <a:pt x="578" y="953"/>
                      </a:lnTo>
                      <a:lnTo>
                        <a:pt x="569" y="953"/>
                      </a:lnTo>
                      <a:lnTo>
                        <a:pt x="563" y="956"/>
                      </a:lnTo>
                      <a:lnTo>
                        <a:pt x="560" y="958"/>
                      </a:lnTo>
                      <a:lnTo>
                        <a:pt x="550" y="961"/>
                      </a:lnTo>
                      <a:lnTo>
                        <a:pt x="544" y="964"/>
                      </a:lnTo>
                      <a:lnTo>
                        <a:pt x="544" y="969"/>
                      </a:lnTo>
                      <a:lnTo>
                        <a:pt x="544" y="972"/>
                      </a:lnTo>
                      <a:lnTo>
                        <a:pt x="544" y="969"/>
                      </a:lnTo>
                      <a:lnTo>
                        <a:pt x="539" y="969"/>
                      </a:lnTo>
                      <a:lnTo>
                        <a:pt x="535" y="969"/>
                      </a:lnTo>
                      <a:lnTo>
                        <a:pt x="539" y="969"/>
                      </a:lnTo>
                      <a:lnTo>
                        <a:pt x="539" y="966"/>
                      </a:lnTo>
                      <a:lnTo>
                        <a:pt x="533" y="964"/>
                      </a:lnTo>
                      <a:lnTo>
                        <a:pt x="527" y="961"/>
                      </a:lnTo>
                      <a:lnTo>
                        <a:pt x="497" y="961"/>
                      </a:lnTo>
                      <a:lnTo>
                        <a:pt x="453" y="964"/>
                      </a:lnTo>
                      <a:lnTo>
                        <a:pt x="420" y="969"/>
                      </a:lnTo>
                      <a:lnTo>
                        <a:pt x="381" y="975"/>
                      </a:lnTo>
                      <a:lnTo>
                        <a:pt x="368" y="981"/>
                      </a:lnTo>
                      <a:lnTo>
                        <a:pt x="364" y="981"/>
                      </a:lnTo>
                      <a:lnTo>
                        <a:pt x="362" y="981"/>
                      </a:lnTo>
                      <a:lnTo>
                        <a:pt x="359" y="977"/>
                      </a:lnTo>
                      <a:lnTo>
                        <a:pt x="359" y="972"/>
                      </a:lnTo>
                      <a:lnTo>
                        <a:pt x="356" y="972"/>
                      </a:lnTo>
                      <a:lnTo>
                        <a:pt x="359" y="969"/>
                      </a:lnTo>
                      <a:lnTo>
                        <a:pt x="362" y="969"/>
                      </a:lnTo>
                      <a:lnTo>
                        <a:pt x="364" y="966"/>
                      </a:lnTo>
                      <a:lnTo>
                        <a:pt x="364" y="964"/>
                      </a:lnTo>
                      <a:lnTo>
                        <a:pt x="368" y="964"/>
                      </a:lnTo>
                      <a:lnTo>
                        <a:pt x="373" y="958"/>
                      </a:lnTo>
                      <a:lnTo>
                        <a:pt x="381" y="956"/>
                      </a:lnTo>
                      <a:lnTo>
                        <a:pt x="384" y="958"/>
                      </a:lnTo>
                      <a:lnTo>
                        <a:pt x="389" y="964"/>
                      </a:lnTo>
                      <a:lnTo>
                        <a:pt x="395" y="964"/>
                      </a:lnTo>
                      <a:lnTo>
                        <a:pt x="404" y="966"/>
                      </a:lnTo>
                      <a:lnTo>
                        <a:pt x="409" y="966"/>
                      </a:lnTo>
                      <a:lnTo>
                        <a:pt x="412" y="964"/>
                      </a:lnTo>
                      <a:lnTo>
                        <a:pt x="412" y="958"/>
                      </a:lnTo>
                      <a:lnTo>
                        <a:pt x="412" y="956"/>
                      </a:lnTo>
                      <a:lnTo>
                        <a:pt x="406" y="953"/>
                      </a:lnTo>
                      <a:lnTo>
                        <a:pt x="401" y="950"/>
                      </a:lnTo>
                      <a:lnTo>
                        <a:pt x="397" y="948"/>
                      </a:lnTo>
                      <a:lnTo>
                        <a:pt x="401" y="950"/>
                      </a:lnTo>
                      <a:lnTo>
                        <a:pt x="406" y="953"/>
                      </a:lnTo>
                      <a:lnTo>
                        <a:pt x="417" y="958"/>
                      </a:lnTo>
                      <a:lnTo>
                        <a:pt x="431" y="964"/>
                      </a:lnTo>
                      <a:lnTo>
                        <a:pt x="445" y="964"/>
                      </a:lnTo>
                      <a:lnTo>
                        <a:pt x="481" y="961"/>
                      </a:lnTo>
                      <a:lnTo>
                        <a:pt x="497" y="956"/>
                      </a:lnTo>
                      <a:lnTo>
                        <a:pt x="519" y="953"/>
                      </a:lnTo>
                      <a:lnTo>
                        <a:pt x="522" y="953"/>
                      </a:lnTo>
                      <a:lnTo>
                        <a:pt x="525" y="956"/>
                      </a:lnTo>
                      <a:lnTo>
                        <a:pt x="539" y="961"/>
                      </a:lnTo>
                      <a:lnTo>
                        <a:pt x="539" y="966"/>
                      </a:lnTo>
                      <a:lnTo>
                        <a:pt x="542" y="961"/>
                      </a:lnTo>
                      <a:lnTo>
                        <a:pt x="542" y="958"/>
                      </a:lnTo>
                      <a:lnTo>
                        <a:pt x="539" y="958"/>
                      </a:lnTo>
                      <a:lnTo>
                        <a:pt x="539" y="961"/>
                      </a:lnTo>
                      <a:lnTo>
                        <a:pt x="535" y="958"/>
                      </a:lnTo>
                      <a:lnTo>
                        <a:pt x="533" y="956"/>
                      </a:lnTo>
                      <a:lnTo>
                        <a:pt x="530" y="953"/>
                      </a:lnTo>
                      <a:lnTo>
                        <a:pt x="527" y="953"/>
                      </a:lnTo>
                      <a:lnTo>
                        <a:pt x="525" y="948"/>
                      </a:lnTo>
                      <a:lnTo>
                        <a:pt x="517" y="945"/>
                      </a:lnTo>
                      <a:lnTo>
                        <a:pt x="514" y="941"/>
                      </a:lnTo>
                      <a:lnTo>
                        <a:pt x="509" y="941"/>
                      </a:lnTo>
                      <a:lnTo>
                        <a:pt x="509" y="939"/>
                      </a:lnTo>
                      <a:lnTo>
                        <a:pt x="502" y="939"/>
                      </a:lnTo>
                      <a:lnTo>
                        <a:pt x="497" y="933"/>
                      </a:lnTo>
                      <a:lnTo>
                        <a:pt x="494" y="931"/>
                      </a:lnTo>
                      <a:lnTo>
                        <a:pt x="489" y="933"/>
                      </a:lnTo>
                      <a:lnTo>
                        <a:pt x="489" y="936"/>
                      </a:lnTo>
                      <a:lnTo>
                        <a:pt x="486" y="933"/>
                      </a:lnTo>
                      <a:lnTo>
                        <a:pt x="483" y="933"/>
                      </a:lnTo>
                      <a:lnTo>
                        <a:pt x="478" y="925"/>
                      </a:lnTo>
                      <a:lnTo>
                        <a:pt x="475" y="928"/>
                      </a:lnTo>
                      <a:lnTo>
                        <a:pt x="475" y="925"/>
                      </a:lnTo>
                      <a:lnTo>
                        <a:pt x="473" y="920"/>
                      </a:lnTo>
                      <a:lnTo>
                        <a:pt x="458" y="912"/>
                      </a:lnTo>
                      <a:lnTo>
                        <a:pt x="458" y="908"/>
                      </a:lnTo>
                      <a:lnTo>
                        <a:pt x="456" y="912"/>
                      </a:lnTo>
                      <a:lnTo>
                        <a:pt x="453" y="908"/>
                      </a:lnTo>
                      <a:lnTo>
                        <a:pt x="453" y="906"/>
                      </a:lnTo>
                      <a:lnTo>
                        <a:pt x="450" y="906"/>
                      </a:lnTo>
                      <a:lnTo>
                        <a:pt x="445" y="903"/>
                      </a:lnTo>
                      <a:lnTo>
                        <a:pt x="442" y="903"/>
                      </a:lnTo>
                      <a:lnTo>
                        <a:pt x="437" y="906"/>
                      </a:lnTo>
                      <a:lnTo>
                        <a:pt x="437" y="903"/>
                      </a:lnTo>
                      <a:lnTo>
                        <a:pt x="433" y="900"/>
                      </a:lnTo>
                      <a:lnTo>
                        <a:pt x="437" y="906"/>
                      </a:lnTo>
                      <a:lnTo>
                        <a:pt x="431" y="908"/>
                      </a:lnTo>
                      <a:lnTo>
                        <a:pt x="425" y="908"/>
                      </a:lnTo>
                      <a:lnTo>
                        <a:pt x="423" y="906"/>
                      </a:lnTo>
                      <a:lnTo>
                        <a:pt x="428" y="903"/>
                      </a:lnTo>
                      <a:lnTo>
                        <a:pt x="431" y="900"/>
                      </a:lnTo>
                      <a:lnTo>
                        <a:pt x="428" y="897"/>
                      </a:lnTo>
                      <a:lnTo>
                        <a:pt x="420" y="897"/>
                      </a:lnTo>
                      <a:lnTo>
                        <a:pt x="414" y="900"/>
                      </a:lnTo>
                      <a:lnTo>
                        <a:pt x="412" y="903"/>
                      </a:lnTo>
                      <a:lnTo>
                        <a:pt x="409" y="906"/>
                      </a:lnTo>
                      <a:lnTo>
                        <a:pt x="414" y="908"/>
                      </a:lnTo>
                      <a:lnTo>
                        <a:pt x="412" y="915"/>
                      </a:lnTo>
                      <a:lnTo>
                        <a:pt x="412" y="917"/>
                      </a:lnTo>
                      <a:lnTo>
                        <a:pt x="414" y="917"/>
                      </a:lnTo>
                      <a:lnTo>
                        <a:pt x="412" y="917"/>
                      </a:lnTo>
                      <a:lnTo>
                        <a:pt x="409" y="917"/>
                      </a:lnTo>
                      <a:lnTo>
                        <a:pt x="404" y="923"/>
                      </a:lnTo>
                      <a:lnTo>
                        <a:pt x="401" y="923"/>
                      </a:lnTo>
                      <a:lnTo>
                        <a:pt x="397" y="920"/>
                      </a:lnTo>
                      <a:lnTo>
                        <a:pt x="401" y="917"/>
                      </a:lnTo>
                      <a:lnTo>
                        <a:pt x="397" y="915"/>
                      </a:lnTo>
                      <a:lnTo>
                        <a:pt x="395" y="915"/>
                      </a:lnTo>
                      <a:lnTo>
                        <a:pt x="395" y="917"/>
                      </a:lnTo>
                      <a:lnTo>
                        <a:pt x="395" y="915"/>
                      </a:lnTo>
                      <a:lnTo>
                        <a:pt x="397" y="915"/>
                      </a:lnTo>
                      <a:lnTo>
                        <a:pt x="397" y="912"/>
                      </a:lnTo>
                      <a:lnTo>
                        <a:pt x="404" y="908"/>
                      </a:lnTo>
                      <a:lnTo>
                        <a:pt x="406" y="912"/>
                      </a:lnTo>
                      <a:lnTo>
                        <a:pt x="406" y="908"/>
                      </a:lnTo>
                      <a:lnTo>
                        <a:pt x="409" y="908"/>
                      </a:lnTo>
                      <a:lnTo>
                        <a:pt x="409" y="906"/>
                      </a:lnTo>
                      <a:lnTo>
                        <a:pt x="406" y="906"/>
                      </a:lnTo>
                      <a:lnTo>
                        <a:pt x="397" y="908"/>
                      </a:lnTo>
                      <a:lnTo>
                        <a:pt x="389" y="908"/>
                      </a:lnTo>
                      <a:lnTo>
                        <a:pt x="387" y="908"/>
                      </a:lnTo>
                      <a:lnTo>
                        <a:pt x="381" y="908"/>
                      </a:lnTo>
                      <a:lnTo>
                        <a:pt x="376" y="912"/>
                      </a:lnTo>
                      <a:lnTo>
                        <a:pt x="371" y="912"/>
                      </a:lnTo>
                      <a:lnTo>
                        <a:pt x="368" y="912"/>
                      </a:lnTo>
                      <a:lnTo>
                        <a:pt x="364" y="915"/>
                      </a:lnTo>
                      <a:lnTo>
                        <a:pt x="362" y="915"/>
                      </a:lnTo>
                      <a:lnTo>
                        <a:pt x="356" y="917"/>
                      </a:lnTo>
                      <a:lnTo>
                        <a:pt x="354" y="920"/>
                      </a:lnTo>
                      <a:lnTo>
                        <a:pt x="354" y="923"/>
                      </a:lnTo>
                      <a:lnTo>
                        <a:pt x="351" y="923"/>
                      </a:lnTo>
                      <a:lnTo>
                        <a:pt x="348" y="931"/>
                      </a:lnTo>
                      <a:lnTo>
                        <a:pt x="343" y="933"/>
                      </a:lnTo>
                      <a:lnTo>
                        <a:pt x="340" y="931"/>
                      </a:lnTo>
                      <a:lnTo>
                        <a:pt x="345" y="923"/>
                      </a:lnTo>
                      <a:lnTo>
                        <a:pt x="343" y="920"/>
                      </a:lnTo>
                      <a:lnTo>
                        <a:pt x="345" y="917"/>
                      </a:lnTo>
                      <a:lnTo>
                        <a:pt x="343" y="915"/>
                      </a:lnTo>
                      <a:lnTo>
                        <a:pt x="337" y="917"/>
                      </a:lnTo>
                      <a:lnTo>
                        <a:pt x="332" y="920"/>
                      </a:lnTo>
                      <a:lnTo>
                        <a:pt x="328" y="923"/>
                      </a:lnTo>
                      <a:lnTo>
                        <a:pt x="328" y="925"/>
                      </a:lnTo>
                      <a:lnTo>
                        <a:pt x="332" y="928"/>
                      </a:lnTo>
                      <a:lnTo>
                        <a:pt x="328" y="936"/>
                      </a:lnTo>
                      <a:lnTo>
                        <a:pt x="323" y="936"/>
                      </a:lnTo>
                      <a:lnTo>
                        <a:pt x="323" y="941"/>
                      </a:lnTo>
                      <a:lnTo>
                        <a:pt x="315" y="948"/>
                      </a:lnTo>
                      <a:lnTo>
                        <a:pt x="304" y="953"/>
                      </a:lnTo>
                      <a:lnTo>
                        <a:pt x="302" y="953"/>
                      </a:lnTo>
                      <a:lnTo>
                        <a:pt x="302" y="956"/>
                      </a:lnTo>
                      <a:lnTo>
                        <a:pt x="299" y="953"/>
                      </a:lnTo>
                      <a:lnTo>
                        <a:pt x="299" y="956"/>
                      </a:lnTo>
                      <a:lnTo>
                        <a:pt x="295" y="956"/>
                      </a:lnTo>
                      <a:lnTo>
                        <a:pt x="299" y="953"/>
                      </a:lnTo>
                      <a:lnTo>
                        <a:pt x="295" y="953"/>
                      </a:lnTo>
                      <a:lnTo>
                        <a:pt x="290" y="956"/>
                      </a:lnTo>
                      <a:lnTo>
                        <a:pt x="293" y="956"/>
                      </a:lnTo>
                      <a:lnTo>
                        <a:pt x="293" y="958"/>
                      </a:lnTo>
                      <a:lnTo>
                        <a:pt x="290" y="961"/>
                      </a:lnTo>
                      <a:lnTo>
                        <a:pt x="287" y="958"/>
                      </a:lnTo>
                      <a:lnTo>
                        <a:pt x="287" y="961"/>
                      </a:lnTo>
                      <a:lnTo>
                        <a:pt x="282" y="961"/>
                      </a:lnTo>
                      <a:lnTo>
                        <a:pt x="285" y="956"/>
                      </a:lnTo>
                      <a:lnTo>
                        <a:pt x="282" y="956"/>
                      </a:lnTo>
                      <a:lnTo>
                        <a:pt x="268" y="961"/>
                      </a:lnTo>
                      <a:lnTo>
                        <a:pt x="266" y="964"/>
                      </a:lnTo>
                      <a:lnTo>
                        <a:pt x="263" y="961"/>
                      </a:lnTo>
                      <a:lnTo>
                        <a:pt x="263" y="958"/>
                      </a:lnTo>
                      <a:lnTo>
                        <a:pt x="259" y="961"/>
                      </a:lnTo>
                      <a:lnTo>
                        <a:pt x="259" y="958"/>
                      </a:lnTo>
                      <a:lnTo>
                        <a:pt x="263" y="958"/>
                      </a:lnTo>
                      <a:lnTo>
                        <a:pt x="266" y="950"/>
                      </a:lnTo>
                      <a:lnTo>
                        <a:pt x="271" y="948"/>
                      </a:lnTo>
                      <a:lnTo>
                        <a:pt x="271" y="945"/>
                      </a:lnTo>
                      <a:lnTo>
                        <a:pt x="268" y="945"/>
                      </a:lnTo>
                      <a:lnTo>
                        <a:pt x="263" y="939"/>
                      </a:lnTo>
                      <a:lnTo>
                        <a:pt x="259" y="939"/>
                      </a:lnTo>
                      <a:lnTo>
                        <a:pt x="259" y="936"/>
                      </a:lnTo>
                      <a:lnTo>
                        <a:pt x="257" y="941"/>
                      </a:lnTo>
                      <a:lnTo>
                        <a:pt x="254" y="939"/>
                      </a:lnTo>
                      <a:lnTo>
                        <a:pt x="251" y="941"/>
                      </a:lnTo>
                      <a:lnTo>
                        <a:pt x="249" y="945"/>
                      </a:lnTo>
                      <a:lnTo>
                        <a:pt x="249" y="948"/>
                      </a:lnTo>
                      <a:lnTo>
                        <a:pt x="246" y="945"/>
                      </a:lnTo>
                      <a:lnTo>
                        <a:pt x="243" y="948"/>
                      </a:lnTo>
                      <a:lnTo>
                        <a:pt x="243" y="950"/>
                      </a:lnTo>
                      <a:lnTo>
                        <a:pt x="241" y="950"/>
                      </a:lnTo>
                      <a:lnTo>
                        <a:pt x="238" y="948"/>
                      </a:lnTo>
                      <a:lnTo>
                        <a:pt x="241" y="941"/>
                      </a:lnTo>
                      <a:lnTo>
                        <a:pt x="238" y="939"/>
                      </a:lnTo>
                      <a:lnTo>
                        <a:pt x="238" y="941"/>
                      </a:lnTo>
                      <a:lnTo>
                        <a:pt x="233" y="941"/>
                      </a:lnTo>
                      <a:lnTo>
                        <a:pt x="233" y="945"/>
                      </a:lnTo>
                      <a:lnTo>
                        <a:pt x="233" y="941"/>
                      </a:lnTo>
                      <a:lnTo>
                        <a:pt x="230" y="945"/>
                      </a:lnTo>
                      <a:lnTo>
                        <a:pt x="230" y="948"/>
                      </a:lnTo>
                      <a:lnTo>
                        <a:pt x="226" y="948"/>
                      </a:lnTo>
                      <a:lnTo>
                        <a:pt x="226" y="950"/>
                      </a:lnTo>
                      <a:lnTo>
                        <a:pt x="224" y="948"/>
                      </a:lnTo>
                      <a:lnTo>
                        <a:pt x="218" y="953"/>
                      </a:lnTo>
                      <a:lnTo>
                        <a:pt x="218" y="948"/>
                      </a:lnTo>
                      <a:lnTo>
                        <a:pt x="216" y="948"/>
                      </a:lnTo>
                      <a:lnTo>
                        <a:pt x="216" y="941"/>
                      </a:lnTo>
                      <a:lnTo>
                        <a:pt x="218" y="939"/>
                      </a:lnTo>
                      <a:lnTo>
                        <a:pt x="221" y="936"/>
                      </a:lnTo>
                      <a:lnTo>
                        <a:pt x="230" y="936"/>
                      </a:lnTo>
                      <a:lnTo>
                        <a:pt x="230" y="931"/>
                      </a:lnTo>
                      <a:lnTo>
                        <a:pt x="233" y="933"/>
                      </a:lnTo>
                      <a:lnTo>
                        <a:pt x="235" y="931"/>
                      </a:lnTo>
                      <a:lnTo>
                        <a:pt x="235" y="928"/>
                      </a:lnTo>
                      <a:lnTo>
                        <a:pt x="238" y="923"/>
                      </a:lnTo>
                      <a:lnTo>
                        <a:pt x="241" y="923"/>
                      </a:lnTo>
                      <a:lnTo>
                        <a:pt x="241" y="920"/>
                      </a:lnTo>
                      <a:lnTo>
                        <a:pt x="235" y="923"/>
                      </a:lnTo>
                      <a:lnTo>
                        <a:pt x="233" y="920"/>
                      </a:lnTo>
                      <a:lnTo>
                        <a:pt x="226" y="923"/>
                      </a:lnTo>
                      <a:lnTo>
                        <a:pt x="226" y="925"/>
                      </a:lnTo>
                      <a:lnTo>
                        <a:pt x="226" y="923"/>
                      </a:lnTo>
                      <a:lnTo>
                        <a:pt x="224" y="920"/>
                      </a:lnTo>
                      <a:lnTo>
                        <a:pt x="230" y="920"/>
                      </a:lnTo>
                      <a:lnTo>
                        <a:pt x="226" y="920"/>
                      </a:lnTo>
                      <a:lnTo>
                        <a:pt x="226" y="917"/>
                      </a:lnTo>
                      <a:lnTo>
                        <a:pt x="230" y="915"/>
                      </a:lnTo>
                      <a:lnTo>
                        <a:pt x="233" y="912"/>
                      </a:lnTo>
                      <a:lnTo>
                        <a:pt x="230" y="912"/>
                      </a:lnTo>
                      <a:lnTo>
                        <a:pt x="230" y="908"/>
                      </a:lnTo>
                      <a:lnTo>
                        <a:pt x="230" y="906"/>
                      </a:lnTo>
                      <a:lnTo>
                        <a:pt x="226" y="908"/>
                      </a:lnTo>
                      <a:lnTo>
                        <a:pt x="224" y="906"/>
                      </a:lnTo>
                      <a:lnTo>
                        <a:pt x="221" y="906"/>
                      </a:lnTo>
                      <a:lnTo>
                        <a:pt x="218" y="908"/>
                      </a:lnTo>
                      <a:lnTo>
                        <a:pt x="216" y="906"/>
                      </a:lnTo>
                      <a:lnTo>
                        <a:pt x="213" y="906"/>
                      </a:lnTo>
                      <a:lnTo>
                        <a:pt x="216" y="908"/>
                      </a:lnTo>
                      <a:lnTo>
                        <a:pt x="213" y="908"/>
                      </a:lnTo>
                      <a:lnTo>
                        <a:pt x="216" y="912"/>
                      </a:lnTo>
                      <a:lnTo>
                        <a:pt x="210" y="912"/>
                      </a:lnTo>
                      <a:lnTo>
                        <a:pt x="213" y="917"/>
                      </a:lnTo>
                      <a:lnTo>
                        <a:pt x="213" y="915"/>
                      </a:lnTo>
                      <a:lnTo>
                        <a:pt x="221" y="917"/>
                      </a:lnTo>
                      <a:lnTo>
                        <a:pt x="216" y="920"/>
                      </a:lnTo>
                      <a:lnTo>
                        <a:pt x="213" y="923"/>
                      </a:lnTo>
                      <a:lnTo>
                        <a:pt x="210" y="923"/>
                      </a:lnTo>
                      <a:lnTo>
                        <a:pt x="210" y="925"/>
                      </a:lnTo>
                      <a:lnTo>
                        <a:pt x="208" y="925"/>
                      </a:lnTo>
                      <a:lnTo>
                        <a:pt x="208" y="928"/>
                      </a:lnTo>
                      <a:lnTo>
                        <a:pt x="205" y="925"/>
                      </a:lnTo>
                      <a:lnTo>
                        <a:pt x="208" y="923"/>
                      </a:lnTo>
                      <a:lnTo>
                        <a:pt x="202" y="917"/>
                      </a:lnTo>
                      <a:lnTo>
                        <a:pt x="197" y="920"/>
                      </a:lnTo>
                      <a:lnTo>
                        <a:pt x="194" y="915"/>
                      </a:lnTo>
                      <a:lnTo>
                        <a:pt x="194" y="917"/>
                      </a:lnTo>
                      <a:lnTo>
                        <a:pt x="190" y="917"/>
                      </a:lnTo>
                      <a:lnTo>
                        <a:pt x="190" y="923"/>
                      </a:lnTo>
                      <a:lnTo>
                        <a:pt x="188" y="920"/>
                      </a:lnTo>
                      <a:lnTo>
                        <a:pt x="188" y="923"/>
                      </a:lnTo>
                      <a:lnTo>
                        <a:pt x="185" y="923"/>
                      </a:lnTo>
                      <a:lnTo>
                        <a:pt x="185" y="928"/>
                      </a:lnTo>
                      <a:lnTo>
                        <a:pt x="188" y="931"/>
                      </a:lnTo>
                      <a:lnTo>
                        <a:pt x="185" y="931"/>
                      </a:lnTo>
                      <a:lnTo>
                        <a:pt x="185" y="933"/>
                      </a:lnTo>
                      <a:lnTo>
                        <a:pt x="182" y="936"/>
                      </a:lnTo>
                      <a:lnTo>
                        <a:pt x="188" y="936"/>
                      </a:lnTo>
                      <a:lnTo>
                        <a:pt x="188" y="939"/>
                      </a:lnTo>
                      <a:lnTo>
                        <a:pt x="182" y="939"/>
                      </a:lnTo>
                      <a:lnTo>
                        <a:pt x="180" y="945"/>
                      </a:lnTo>
                      <a:lnTo>
                        <a:pt x="182" y="948"/>
                      </a:lnTo>
                      <a:lnTo>
                        <a:pt x="188" y="948"/>
                      </a:lnTo>
                      <a:lnTo>
                        <a:pt x="182" y="950"/>
                      </a:lnTo>
                      <a:lnTo>
                        <a:pt x="177" y="945"/>
                      </a:lnTo>
                      <a:lnTo>
                        <a:pt x="174" y="948"/>
                      </a:lnTo>
                      <a:lnTo>
                        <a:pt x="174" y="945"/>
                      </a:lnTo>
                      <a:lnTo>
                        <a:pt x="174" y="941"/>
                      </a:lnTo>
                      <a:lnTo>
                        <a:pt x="172" y="941"/>
                      </a:lnTo>
                      <a:lnTo>
                        <a:pt x="172" y="945"/>
                      </a:lnTo>
                      <a:lnTo>
                        <a:pt x="169" y="941"/>
                      </a:lnTo>
                      <a:lnTo>
                        <a:pt x="166" y="941"/>
                      </a:lnTo>
                      <a:lnTo>
                        <a:pt x="164" y="948"/>
                      </a:lnTo>
                      <a:lnTo>
                        <a:pt x="157" y="953"/>
                      </a:lnTo>
                      <a:lnTo>
                        <a:pt x="155" y="950"/>
                      </a:lnTo>
                      <a:lnTo>
                        <a:pt x="152" y="950"/>
                      </a:lnTo>
                      <a:lnTo>
                        <a:pt x="147" y="950"/>
                      </a:lnTo>
                      <a:lnTo>
                        <a:pt x="139" y="956"/>
                      </a:lnTo>
                      <a:lnTo>
                        <a:pt x="136" y="956"/>
                      </a:lnTo>
                      <a:lnTo>
                        <a:pt x="130" y="958"/>
                      </a:lnTo>
                      <a:lnTo>
                        <a:pt x="128" y="958"/>
                      </a:lnTo>
                      <a:lnTo>
                        <a:pt x="128" y="961"/>
                      </a:lnTo>
                      <a:lnTo>
                        <a:pt x="124" y="964"/>
                      </a:lnTo>
                      <a:lnTo>
                        <a:pt x="119" y="966"/>
                      </a:lnTo>
                      <a:lnTo>
                        <a:pt x="121" y="961"/>
                      </a:lnTo>
                      <a:lnTo>
                        <a:pt x="121" y="958"/>
                      </a:lnTo>
                      <a:lnTo>
                        <a:pt x="119" y="958"/>
                      </a:lnTo>
                      <a:lnTo>
                        <a:pt x="113" y="961"/>
                      </a:lnTo>
                      <a:lnTo>
                        <a:pt x="113" y="958"/>
                      </a:lnTo>
                      <a:lnTo>
                        <a:pt x="113" y="961"/>
                      </a:lnTo>
                      <a:lnTo>
                        <a:pt x="113" y="958"/>
                      </a:lnTo>
                      <a:lnTo>
                        <a:pt x="111" y="958"/>
                      </a:lnTo>
                      <a:lnTo>
                        <a:pt x="103" y="961"/>
                      </a:lnTo>
                      <a:lnTo>
                        <a:pt x="103" y="958"/>
                      </a:lnTo>
                      <a:lnTo>
                        <a:pt x="100" y="958"/>
                      </a:lnTo>
                      <a:lnTo>
                        <a:pt x="97" y="964"/>
                      </a:lnTo>
                      <a:lnTo>
                        <a:pt x="95" y="961"/>
                      </a:lnTo>
                      <a:lnTo>
                        <a:pt x="95" y="964"/>
                      </a:lnTo>
                      <a:lnTo>
                        <a:pt x="92" y="961"/>
                      </a:lnTo>
                      <a:lnTo>
                        <a:pt x="86" y="966"/>
                      </a:lnTo>
                      <a:lnTo>
                        <a:pt x="86" y="969"/>
                      </a:lnTo>
                      <a:lnTo>
                        <a:pt x="83" y="969"/>
                      </a:lnTo>
                      <a:lnTo>
                        <a:pt x="83" y="972"/>
                      </a:lnTo>
                      <a:lnTo>
                        <a:pt x="80" y="975"/>
                      </a:lnTo>
                      <a:lnTo>
                        <a:pt x="83" y="977"/>
                      </a:lnTo>
                      <a:lnTo>
                        <a:pt x="80" y="977"/>
                      </a:lnTo>
                      <a:lnTo>
                        <a:pt x="77" y="981"/>
                      </a:lnTo>
                      <a:lnTo>
                        <a:pt x="77" y="989"/>
                      </a:lnTo>
                      <a:lnTo>
                        <a:pt x="83" y="992"/>
                      </a:lnTo>
                      <a:lnTo>
                        <a:pt x="83" y="994"/>
                      </a:lnTo>
                      <a:lnTo>
                        <a:pt x="83" y="992"/>
                      </a:lnTo>
                      <a:lnTo>
                        <a:pt x="80" y="994"/>
                      </a:lnTo>
                      <a:lnTo>
                        <a:pt x="77" y="994"/>
                      </a:lnTo>
                      <a:lnTo>
                        <a:pt x="77" y="997"/>
                      </a:lnTo>
                      <a:lnTo>
                        <a:pt x="77" y="1000"/>
                      </a:lnTo>
                      <a:lnTo>
                        <a:pt x="80" y="1000"/>
                      </a:lnTo>
                      <a:lnTo>
                        <a:pt x="77" y="1005"/>
                      </a:lnTo>
                      <a:lnTo>
                        <a:pt x="75" y="1005"/>
                      </a:lnTo>
                      <a:lnTo>
                        <a:pt x="75" y="1008"/>
                      </a:lnTo>
                      <a:lnTo>
                        <a:pt x="77" y="1010"/>
                      </a:lnTo>
                      <a:lnTo>
                        <a:pt x="72" y="1014"/>
                      </a:lnTo>
                      <a:lnTo>
                        <a:pt x="72" y="1017"/>
                      </a:lnTo>
                      <a:lnTo>
                        <a:pt x="70" y="1017"/>
                      </a:lnTo>
                      <a:lnTo>
                        <a:pt x="72" y="1017"/>
                      </a:lnTo>
                      <a:lnTo>
                        <a:pt x="75" y="1017"/>
                      </a:lnTo>
                      <a:lnTo>
                        <a:pt x="72" y="1019"/>
                      </a:lnTo>
                      <a:lnTo>
                        <a:pt x="70" y="1019"/>
                      </a:lnTo>
                      <a:lnTo>
                        <a:pt x="70" y="1025"/>
                      </a:lnTo>
                      <a:lnTo>
                        <a:pt x="72" y="1027"/>
                      </a:lnTo>
                      <a:lnTo>
                        <a:pt x="75" y="1030"/>
                      </a:lnTo>
                      <a:lnTo>
                        <a:pt x="72" y="1033"/>
                      </a:lnTo>
                      <a:lnTo>
                        <a:pt x="75" y="1033"/>
                      </a:lnTo>
                      <a:lnTo>
                        <a:pt x="72" y="1035"/>
                      </a:lnTo>
                      <a:lnTo>
                        <a:pt x="75" y="1035"/>
                      </a:lnTo>
                      <a:lnTo>
                        <a:pt x="77" y="1035"/>
                      </a:lnTo>
                      <a:lnTo>
                        <a:pt x="80" y="1035"/>
                      </a:lnTo>
                      <a:lnTo>
                        <a:pt x="80" y="1033"/>
                      </a:lnTo>
                      <a:lnTo>
                        <a:pt x="83" y="1033"/>
                      </a:lnTo>
                      <a:lnTo>
                        <a:pt x="86" y="1030"/>
                      </a:lnTo>
                      <a:lnTo>
                        <a:pt x="88" y="1030"/>
                      </a:lnTo>
                      <a:lnTo>
                        <a:pt x="86" y="1027"/>
                      </a:lnTo>
                      <a:lnTo>
                        <a:pt x="88" y="1027"/>
                      </a:lnTo>
                      <a:lnTo>
                        <a:pt x="88" y="1025"/>
                      </a:lnTo>
                      <a:lnTo>
                        <a:pt x="92" y="1027"/>
                      </a:lnTo>
                      <a:lnTo>
                        <a:pt x="92" y="1025"/>
                      </a:lnTo>
                      <a:lnTo>
                        <a:pt x="95" y="1025"/>
                      </a:lnTo>
                      <a:lnTo>
                        <a:pt x="97" y="1017"/>
                      </a:lnTo>
                      <a:lnTo>
                        <a:pt x="100" y="1017"/>
                      </a:lnTo>
                      <a:lnTo>
                        <a:pt x="100" y="1022"/>
                      </a:lnTo>
                      <a:lnTo>
                        <a:pt x="108" y="1022"/>
                      </a:lnTo>
                      <a:lnTo>
                        <a:pt x="108" y="1025"/>
                      </a:lnTo>
                      <a:lnTo>
                        <a:pt x="111" y="1025"/>
                      </a:lnTo>
                      <a:lnTo>
                        <a:pt x="108" y="1027"/>
                      </a:lnTo>
                      <a:lnTo>
                        <a:pt x="108" y="1033"/>
                      </a:lnTo>
                      <a:lnTo>
                        <a:pt x="105" y="1033"/>
                      </a:lnTo>
                      <a:lnTo>
                        <a:pt x="103" y="1033"/>
                      </a:lnTo>
                      <a:lnTo>
                        <a:pt x="103" y="1035"/>
                      </a:lnTo>
                      <a:lnTo>
                        <a:pt x="100" y="1035"/>
                      </a:lnTo>
                      <a:lnTo>
                        <a:pt x="97" y="1035"/>
                      </a:lnTo>
                      <a:lnTo>
                        <a:pt x="100" y="1035"/>
                      </a:lnTo>
                      <a:lnTo>
                        <a:pt x="100" y="1033"/>
                      </a:lnTo>
                      <a:lnTo>
                        <a:pt x="103" y="1035"/>
                      </a:lnTo>
                      <a:lnTo>
                        <a:pt x="103" y="1033"/>
                      </a:lnTo>
                      <a:lnTo>
                        <a:pt x="105" y="1033"/>
                      </a:lnTo>
                      <a:lnTo>
                        <a:pt x="105" y="1030"/>
                      </a:lnTo>
                      <a:lnTo>
                        <a:pt x="103" y="1030"/>
                      </a:lnTo>
                      <a:lnTo>
                        <a:pt x="103" y="1027"/>
                      </a:lnTo>
                      <a:lnTo>
                        <a:pt x="97" y="1033"/>
                      </a:lnTo>
                      <a:lnTo>
                        <a:pt x="97" y="1030"/>
                      </a:lnTo>
                      <a:lnTo>
                        <a:pt x="92" y="1027"/>
                      </a:lnTo>
                      <a:lnTo>
                        <a:pt x="95" y="1033"/>
                      </a:lnTo>
                      <a:lnTo>
                        <a:pt x="92" y="1035"/>
                      </a:lnTo>
                      <a:lnTo>
                        <a:pt x="95" y="1033"/>
                      </a:lnTo>
                      <a:lnTo>
                        <a:pt x="97" y="1033"/>
                      </a:lnTo>
                      <a:lnTo>
                        <a:pt x="92" y="1038"/>
                      </a:lnTo>
                      <a:lnTo>
                        <a:pt x="88" y="1038"/>
                      </a:lnTo>
                      <a:lnTo>
                        <a:pt x="86" y="1041"/>
                      </a:lnTo>
                      <a:lnTo>
                        <a:pt x="86" y="1038"/>
                      </a:lnTo>
                      <a:lnTo>
                        <a:pt x="83" y="1041"/>
                      </a:lnTo>
                      <a:lnTo>
                        <a:pt x="86" y="1041"/>
                      </a:lnTo>
                      <a:lnTo>
                        <a:pt x="80" y="1043"/>
                      </a:lnTo>
                      <a:lnTo>
                        <a:pt x="86" y="1043"/>
                      </a:lnTo>
                      <a:lnTo>
                        <a:pt x="88" y="1041"/>
                      </a:lnTo>
                      <a:lnTo>
                        <a:pt x="88" y="1043"/>
                      </a:lnTo>
                      <a:lnTo>
                        <a:pt x="92" y="1043"/>
                      </a:lnTo>
                      <a:lnTo>
                        <a:pt x="95" y="1038"/>
                      </a:lnTo>
                      <a:lnTo>
                        <a:pt x="97" y="1038"/>
                      </a:lnTo>
                      <a:lnTo>
                        <a:pt x="103" y="1038"/>
                      </a:lnTo>
                      <a:lnTo>
                        <a:pt x="105" y="1038"/>
                      </a:lnTo>
                      <a:lnTo>
                        <a:pt x="113" y="1035"/>
                      </a:lnTo>
                      <a:lnTo>
                        <a:pt x="108" y="1041"/>
                      </a:lnTo>
                      <a:lnTo>
                        <a:pt x="103" y="1055"/>
                      </a:lnTo>
                      <a:lnTo>
                        <a:pt x="95" y="1061"/>
                      </a:lnTo>
                      <a:lnTo>
                        <a:pt x="95" y="1063"/>
                      </a:lnTo>
                      <a:lnTo>
                        <a:pt x="103" y="1066"/>
                      </a:lnTo>
                      <a:lnTo>
                        <a:pt x="100" y="1063"/>
                      </a:lnTo>
                      <a:lnTo>
                        <a:pt x="100" y="1061"/>
                      </a:lnTo>
                      <a:lnTo>
                        <a:pt x="103" y="1061"/>
                      </a:lnTo>
                      <a:lnTo>
                        <a:pt x="105" y="1058"/>
                      </a:lnTo>
                      <a:lnTo>
                        <a:pt x="111" y="1046"/>
                      </a:lnTo>
                      <a:lnTo>
                        <a:pt x="119" y="1041"/>
                      </a:lnTo>
                      <a:lnTo>
                        <a:pt x="119" y="1038"/>
                      </a:lnTo>
                      <a:lnTo>
                        <a:pt x="128" y="1035"/>
                      </a:lnTo>
                      <a:lnTo>
                        <a:pt x="136" y="1033"/>
                      </a:lnTo>
                      <a:lnTo>
                        <a:pt x="136" y="1030"/>
                      </a:lnTo>
                      <a:lnTo>
                        <a:pt x="136" y="1033"/>
                      </a:lnTo>
                      <a:lnTo>
                        <a:pt x="133" y="1035"/>
                      </a:lnTo>
                      <a:lnTo>
                        <a:pt x="128" y="1041"/>
                      </a:lnTo>
                      <a:lnTo>
                        <a:pt x="128" y="1043"/>
                      </a:lnTo>
                      <a:lnTo>
                        <a:pt x="124" y="1050"/>
                      </a:lnTo>
                      <a:lnTo>
                        <a:pt x="128" y="1053"/>
                      </a:lnTo>
                      <a:lnTo>
                        <a:pt x="136" y="1055"/>
                      </a:lnTo>
                      <a:lnTo>
                        <a:pt x="139" y="1053"/>
                      </a:lnTo>
                      <a:lnTo>
                        <a:pt x="139" y="1055"/>
                      </a:lnTo>
                      <a:lnTo>
                        <a:pt x="144" y="1053"/>
                      </a:lnTo>
                      <a:lnTo>
                        <a:pt x="152" y="1058"/>
                      </a:lnTo>
                      <a:lnTo>
                        <a:pt x="149" y="1058"/>
                      </a:lnTo>
                      <a:lnTo>
                        <a:pt x="152" y="1058"/>
                      </a:lnTo>
                      <a:lnTo>
                        <a:pt x="155" y="1061"/>
                      </a:lnTo>
                      <a:lnTo>
                        <a:pt x="157" y="1061"/>
                      </a:lnTo>
                      <a:lnTo>
                        <a:pt x="157" y="1063"/>
                      </a:lnTo>
                      <a:lnTo>
                        <a:pt x="155" y="1066"/>
                      </a:lnTo>
                      <a:lnTo>
                        <a:pt x="152" y="1061"/>
                      </a:lnTo>
                      <a:lnTo>
                        <a:pt x="147" y="1061"/>
                      </a:lnTo>
                      <a:lnTo>
                        <a:pt x="144" y="1061"/>
                      </a:lnTo>
                      <a:lnTo>
                        <a:pt x="141" y="1066"/>
                      </a:lnTo>
                      <a:lnTo>
                        <a:pt x="139" y="1069"/>
                      </a:lnTo>
                      <a:lnTo>
                        <a:pt x="136" y="1066"/>
                      </a:lnTo>
                      <a:lnTo>
                        <a:pt x="133" y="1074"/>
                      </a:lnTo>
                      <a:lnTo>
                        <a:pt x="133" y="1077"/>
                      </a:lnTo>
                      <a:lnTo>
                        <a:pt x="124" y="1088"/>
                      </a:lnTo>
                      <a:lnTo>
                        <a:pt x="121" y="1091"/>
                      </a:lnTo>
                      <a:lnTo>
                        <a:pt x="119" y="1091"/>
                      </a:lnTo>
                      <a:lnTo>
                        <a:pt x="116" y="1094"/>
                      </a:lnTo>
                      <a:lnTo>
                        <a:pt x="116" y="1086"/>
                      </a:lnTo>
                      <a:lnTo>
                        <a:pt x="113" y="1086"/>
                      </a:lnTo>
                      <a:lnTo>
                        <a:pt x="111" y="1086"/>
                      </a:lnTo>
                      <a:lnTo>
                        <a:pt x="111" y="1082"/>
                      </a:lnTo>
                      <a:lnTo>
                        <a:pt x="108" y="1082"/>
                      </a:lnTo>
                      <a:lnTo>
                        <a:pt x="105" y="1086"/>
                      </a:lnTo>
                      <a:lnTo>
                        <a:pt x="105" y="1088"/>
                      </a:lnTo>
                      <a:lnTo>
                        <a:pt x="105" y="1079"/>
                      </a:lnTo>
                      <a:lnTo>
                        <a:pt x="103" y="1077"/>
                      </a:lnTo>
                      <a:lnTo>
                        <a:pt x="100" y="1079"/>
                      </a:lnTo>
                      <a:lnTo>
                        <a:pt x="97" y="1082"/>
                      </a:lnTo>
                      <a:lnTo>
                        <a:pt x="92" y="1082"/>
                      </a:lnTo>
                      <a:lnTo>
                        <a:pt x="95" y="1086"/>
                      </a:lnTo>
                      <a:lnTo>
                        <a:pt x="88" y="1082"/>
                      </a:lnTo>
                      <a:lnTo>
                        <a:pt x="86" y="1079"/>
                      </a:lnTo>
                      <a:lnTo>
                        <a:pt x="86" y="1082"/>
                      </a:lnTo>
                      <a:lnTo>
                        <a:pt x="86" y="1086"/>
                      </a:lnTo>
                      <a:lnTo>
                        <a:pt x="83" y="1086"/>
                      </a:lnTo>
                      <a:lnTo>
                        <a:pt x="77" y="1082"/>
                      </a:lnTo>
                      <a:lnTo>
                        <a:pt x="70" y="1086"/>
                      </a:lnTo>
                      <a:lnTo>
                        <a:pt x="70" y="1088"/>
                      </a:lnTo>
                      <a:lnTo>
                        <a:pt x="70" y="1091"/>
                      </a:lnTo>
                      <a:lnTo>
                        <a:pt x="70" y="1088"/>
                      </a:lnTo>
                      <a:lnTo>
                        <a:pt x="67" y="1088"/>
                      </a:lnTo>
                      <a:lnTo>
                        <a:pt x="64" y="1091"/>
                      </a:lnTo>
                      <a:lnTo>
                        <a:pt x="67" y="1094"/>
                      </a:lnTo>
                      <a:lnTo>
                        <a:pt x="64" y="1091"/>
                      </a:lnTo>
                      <a:lnTo>
                        <a:pt x="61" y="1088"/>
                      </a:lnTo>
                      <a:lnTo>
                        <a:pt x="59" y="1088"/>
                      </a:lnTo>
                      <a:lnTo>
                        <a:pt x="52" y="1082"/>
                      </a:lnTo>
                      <a:lnTo>
                        <a:pt x="44" y="1079"/>
                      </a:lnTo>
                      <a:lnTo>
                        <a:pt x="47" y="1079"/>
                      </a:lnTo>
                      <a:lnTo>
                        <a:pt x="44" y="1074"/>
                      </a:lnTo>
                      <a:lnTo>
                        <a:pt x="44" y="1071"/>
                      </a:lnTo>
                      <a:lnTo>
                        <a:pt x="42" y="1066"/>
                      </a:lnTo>
                      <a:lnTo>
                        <a:pt x="42" y="1063"/>
                      </a:lnTo>
                      <a:lnTo>
                        <a:pt x="34" y="1061"/>
                      </a:lnTo>
                      <a:lnTo>
                        <a:pt x="34" y="1058"/>
                      </a:lnTo>
                      <a:lnTo>
                        <a:pt x="26" y="1061"/>
                      </a:lnTo>
                      <a:lnTo>
                        <a:pt x="28" y="1058"/>
                      </a:lnTo>
                      <a:lnTo>
                        <a:pt x="26" y="1055"/>
                      </a:lnTo>
                      <a:lnTo>
                        <a:pt x="26" y="1053"/>
                      </a:lnTo>
                      <a:lnTo>
                        <a:pt x="19" y="1050"/>
                      </a:lnTo>
                      <a:lnTo>
                        <a:pt x="23" y="1046"/>
                      </a:lnTo>
                      <a:lnTo>
                        <a:pt x="14" y="1043"/>
                      </a:lnTo>
                      <a:lnTo>
                        <a:pt x="6" y="1043"/>
                      </a:lnTo>
                      <a:lnTo>
                        <a:pt x="6" y="1035"/>
                      </a:lnTo>
                      <a:lnTo>
                        <a:pt x="3" y="1035"/>
                      </a:lnTo>
                      <a:lnTo>
                        <a:pt x="0" y="1033"/>
                      </a:lnTo>
                      <a:lnTo>
                        <a:pt x="3" y="1030"/>
                      </a:lnTo>
                      <a:lnTo>
                        <a:pt x="3" y="1025"/>
                      </a:lnTo>
                      <a:lnTo>
                        <a:pt x="3" y="1025"/>
                      </a:lnTo>
                      <a:close/>
                    </a:path>
                  </a:pathLst>
                </a:custGeom>
                <a:grpFill/>
                <a:ln w="12700" cap="flat" cmpd="sng" algn="ctr">
                  <a:solidFill>
                    <a:schemeClr val="bg1">
                      <a:lumMod val="85000"/>
                    </a:schemeClr>
                  </a:solidFill>
                  <a:prstDash val="solid"/>
                  <a:round/>
                  <a:headEnd type="none" w="med" len="med"/>
                  <a:tailEnd type="none" w="med" len="med"/>
                </a:ln>
              </p:spPr>
            </p:sp>
            <p:sp>
              <p:nvSpPr>
                <p:cNvPr id="66" name="ee4p_BR_27"/>
                <p:cNvSpPr>
                  <a:spLocks/>
                </p:cNvSpPr>
                <p:nvPr>
                  <p:custDataLst>
                    <p:tags r:id="rId28"/>
                  </p:custDataLst>
                </p:nvPr>
              </p:nvSpPr>
              <p:spPr bwMode="auto">
                <a:xfrm>
                  <a:off x="5452487" y="2483464"/>
                  <a:ext cx="591987" cy="966037"/>
                </a:xfrm>
                <a:custGeom>
                  <a:avLst/>
                  <a:gdLst/>
                  <a:ahLst/>
                  <a:cxnLst>
                    <a:cxn ang="0">
                      <a:pos x="54" y="3004"/>
                    </a:cxn>
                    <a:cxn ang="0">
                      <a:pos x="69" y="2878"/>
                    </a:cxn>
                    <a:cxn ang="0">
                      <a:pos x="63" y="2776"/>
                    </a:cxn>
                    <a:cxn ang="0">
                      <a:pos x="28" y="2682"/>
                    </a:cxn>
                    <a:cxn ang="0">
                      <a:pos x="13" y="2560"/>
                    </a:cxn>
                    <a:cxn ang="0">
                      <a:pos x="87" y="2464"/>
                    </a:cxn>
                    <a:cxn ang="0">
                      <a:pos x="123" y="2345"/>
                    </a:cxn>
                    <a:cxn ang="0">
                      <a:pos x="179" y="2185"/>
                    </a:cxn>
                    <a:cxn ang="0">
                      <a:pos x="207" y="2099"/>
                    </a:cxn>
                    <a:cxn ang="0">
                      <a:pos x="268" y="2028"/>
                    </a:cxn>
                    <a:cxn ang="0">
                      <a:pos x="416" y="1986"/>
                    </a:cxn>
                    <a:cxn ang="0">
                      <a:pos x="541" y="1923"/>
                    </a:cxn>
                    <a:cxn ang="0">
                      <a:pos x="700" y="1813"/>
                    </a:cxn>
                    <a:cxn ang="0">
                      <a:pos x="775" y="1702"/>
                    </a:cxn>
                    <a:cxn ang="0">
                      <a:pos x="927" y="1658"/>
                    </a:cxn>
                    <a:cxn ang="0">
                      <a:pos x="1051" y="1718"/>
                    </a:cxn>
                    <a:cxn ang="0">
                      <a:pos x="1252" y="1639"/>
                    </a:cxn>
                    <a:cxn ang="0">
                      <a:pos x="1277" y="1473"/>
                    </a:cxn>
                    <a:cxn ang="0">
                      <a:pos x="1189" y="1355"/>
                    </a:cxn>
                    <a:cxn ang="0">
                      <a:pos x="1217" y="1175"/>
                    </a:cxn>
                    <a:cxn ang="0">
                      <a:pos x="1283" y="976"/>
                    </a:cxn>
                    <a:cxn ang="0">
                      <a:pos x="1267" y="777"/>
                    </a:cxn>
                    <a:cxn ang="0">
                      <a:pos x="1225" y="618"/>
                    </a:cxn>
                    <a:cxn ang="0">
                      <a:pos x="1352" y="442"/>
                    </a:cxn>
                    <a:cxn ang="0">
                      <a:pos x="1423" y="298"/>
                    </a:cxn>
                    <a:cxn ang="0">
                      <a:pos x="1543" y="278"/>
                    </a:cxn>
                    <a:cxn ang="0">
                      <a:pos x="1636" y="191"/>
                    </a:cxn>
                    <a:cxn ang="0">
                      <a:pos x="1681" y="38"/>
                    </a:cxn>
                    <a:cxn ang="0">
                      <a:pos x="1860" y="71"/>
                    </a:cxn>
                    <a:cxn ang="0">
                      <a:pos x="1916" y="158"/>
                    </a:cxn>
                    <a:cxn ang="0">
                      <a:pos x="1901" y="317"/>
                    </a:cxn>
                    <a:cxn ang="0">
                      <a:pos x="1909" y="458"/>
                    </a:cxn>
                    <a:cxn ang="0">
                      <a:pos x="1951" y="535"/>
                    </a:cxn>
                    <a:cxn ang="0">
                      <a:pos x="1965" y="700"/>
                    </a:cxn>
                    <a:cxn ang="0">
                      <a:pos x="1934" y="849"/>
                    </a:cxn>
                    <a:cxn ang="0">
                      <a:pos x="1993" y="974"/>
                    </a:cxn>
                    <a:cxn ang="0">
                      <a:pos x="2062" y="1071"/>
                    </a:cxn>
                    <a:cxn ang="0">
                      <a:pos x="2067" y="1183"/>
                    </a:cxn>
                    <a:cxn ang="0">
                      <a:pos x="2078" y="1385"/>
                    </a:cxn>
                    <a:cxn ang="0">
                      <a:pos x="2133" y="1603"/>
                    </a:cxn>
                    <a:cxn ang="0">
                      <a:pos x="2287" y="1705"/>
                    </a:cxn>
                    <a:cxn ang="0">
                      <a:pos x="2235" y="1856"/>
                    </a:cxn>
                    <a:cxn ang="0">
                      <a:pos x="2164" y="2105"/>
                    </a:cxn>
                    <a:cxn ang="0">
                      <a:pos x="2166" y="2273"/>
                    </a:cxn>
                    <a:cxn ang="0">
                      <a:pos x="2087" y="2356"/>
                    </a:cxn>
                    <a:cxn ang="0">
                      <a:pos x="1990" y="2423"/>
                    </a:cxn>
                    <a:cxn ang="0">
                      <a:pos x="1876" y="2502"/>
                    </a:cxn>
                    <a:cxn ang="0">
                      <a:pos x="1778" y="2615"/>
                    </a:cxn>
                    <a:cxn ang="0">
                      <a:pos x="1642" y="2734"/>
                    </a:cxn>
                    <a:cxn ang="0">
                      <a:pos x="1454" y="2795"/>
                    </a:cxn>
                    <a:cxn ang="0">
                      <a:pos x="1333" y="2856"/>
                    </a:cxn>
                    <a:cxn ang="0">
                      <a:pos x="1228" y="2795"/>
                    </a:cxn>
                    <a:cxn ang="0">
                      <a:pos x="1109" y="2795"/>
                    </a:cxn>
                    <a:cxn ang="0">
                      <a:pos x="946" y="2792"/>
                    </a:cxn>
                    <a:cxn ang="0">
                      <a:pos x="940" y="2966"/>
                    </a:cxn>
                    <a:cxn ang="0">
                      <a:pos x="905" y="3090"/>
                    </a:cxn>
                    <a:cxn ang="0">
                      <a:pos x="794" y="3250"/>
                    </a:cxn>
                    <a:cxn ang="0">
                      <a:pos x="651" y="3295"/>
                    </a:cxn>
                    <a:cxn ang="0">
                      <a:pos x="532" y="3363"/>
                    </a:cxn>
                    <a:cxn ang="0">
                      <a:pos x="391" y="3405"/>
                    </a:cxn>
                    <a:cxn ang="0">
                      <a:pos x="234" y="3311"/>
                    </a:cxn>
                    <a:cxn ang="0">
                      <a:pos x="174" y="3121"/>
                    </a:cxn>
                  </a:cxnLst>
                  <a:rect l="0" t="0" r="r" b="b"/>
                  <a:pathLst>
                    <a:path w="2287" h="3432">
                      <a:moveTo>
                        <a:pt x="18" y="3150"/>
                      </a:moveTo>
                      <a:lnTo>
                        <a:pt x="16" y="3134"/>
                      </a:lnTo>
                      <a:lnTo>
                        <a:pt x="18" y="3129"/>
                      </a:lnTo>
                      <a:lnTo>
                        <a:pt x="18" y="3123"/>
                      </a:lnTo>
                      <a:lnTo>
                        <a:pt x="25" y="3123"/>
                      </a:lnTo>
                      <a:lnTo>
                        <a:pt x="28" y="3123"/>
                      </a:lnTo>
                      <a:lnTo>
                        <a:pt x="30" y="3114"/>
                      </a:lnTo>
                      <a:lnTo>
                        <a:pt x="33" y="3112"/>
                      </a:lnTo>
                      <a:lnTo>
                        <a:pt x="33" y="3109"/>
                      </a:lnTo>
                      <a:lnTo>
                        <a:pt x="38" y="3106"/>
                      </a:lnTo>
                      <a:lnTo>
                        <a:pt x="41" y="3098"/>
                      </a:lnTo>
                      <a:lnTo>
                        <a:pt x="44" y="3090"/>
                      </a:lnTo>
                      <a:lnTo>
                        <a:pt x="46" y="3088"/>
                      </a:lnTo>
                      <a:lnTo>
                        <a:pt x="52" y="3071"/>
                      </a:lnTo>
                      <a:lnTo>
                        <a:pt x="46" y="3065"/>
                      </a:lnTo>
                      <a:lnTo>
                        <a:pt x="49" y="3065"/>
                      </a:lnTo>
                      <a:lnTo>
                        <a:pt x="49" y="3060"/>
                      </a:lnTo>
                      <a:lnTo>
                        <a:pt x="52" y="3048"/>
                      </a:lnTo>
                      <a:lnTo>
                        <a:pt x="52" y="3045"/>
                      </a:lnTo>
                      <a:lnTo>
                        <a:pt x="57" y="3040"/>
                      </a:lnTo>
                      <a:lnTo>
                        <a:pt x="57" y="3035"/>
                      </a:lnTo>
                      <a:lnTo>
                        <a:pt x="61" y="3027"/>
                      </a:lnTo>
                      <a:lnTo>
                        <a:pt x="61" y="3024"/>
                      </a:lnTo>
                      <a:lnTo>
                        <a:pt x="63" y="3019"/>
                      </a:lnTo>
                      <a:lnTo>
                        <a:pt x="61" y="3010"/>
                      </a:lnTo>
                      <a:lnTo>
                        <a:pt x="57" y="3007"/>
                      </a:lnTo>
                      <a:lnTo>
                        <a:pt x="54" y="3004"/>
                      </a:lnTo>
                      <a:lnTo>
                        <a:pt x="54" y="2993"/>
                      </a:lnTo>
                      <a:lnTo>
                        <a:pt x="54" y="2991"/>
                      </a:lnTo>
                      <a:lnTo>
                        <a:pt x="52" y="2988"/>
                      </a:lnTo>
                      <a:lnTo>
                        <a:pt x="52" y="2985"/>
                      </a:lnTo>
                      <a:lnTo>
                        <a:pt x="57" y="2976"/>
                      </a:lnTo>
                      <a:lnTo>
                        <a:pt x="57" y="2974"/>
                      </a:lnTo>
                      <a:lnTo>
                        <a:pt x="61" y="2963"/>
                      </a:lnTo>
                      <a:lnTo>
                        <a:pt x="61" y="2960"/>
                      </a:lnTo>
                      <a:lnTo>
                        <a:pt x="63" y="2958"/>
                      </a:lnTo>
                      <a:lnTo>
                        <a:pt x="69" y="2955"/>
                      </a:lnTo>
                      <a:lnTo>
                        <a:pt x="71" y="2947"/>
                      </a:lnTo>
                      <a:lnTo>
                        <a:pt x="71" y="2943"/>
                      </a:lnTo>
                      <a:lnTo>
                        <a:pt x="71" y="2941"/>
                      </a:lnTo>
                      <a:lnTo>
                        <a:pt x="69" y="2935"/>
                      </a:lnTo>
                      <a:lnTo>
                        <a:pt x="71" y="2933"/>
                      </a:lnTo>
                      <a:lnTo>
                        <a:pt x="69" y="2927"/>
                      </a:lnTo>
                      <a:lnTo>
                        <a:pt x="69" y="2924"/>
                      </a:lnTo>
                      <a:lnTo>
                        <a:pt x="66" y="2922"/>
                      </a:lnTo>
                      <a:lnTo>
                        <a:pt x="69" y="2919"/>
                      </a:lnTo>
                      <a:lnTo>
                        <a:pt x="63" y="2916"/>
                      </a:lnTo>
                      <a:lnTo>
                        <a:pt x="69" y="2907"/>
                      </a:lnTo>
                      <a:lnTo>
                        <a:pt x="66" y="2897"/>
                      </a:lnTo>
                      <a:lnTo>
                        <a:pt x="69" y="2889"/>
                      </a:lnTo>
                      <a:lnTo>
                        <a:pt x="69" y="2886"/>
                      </a:lnTo>
                      <a:lnTo>
                        <a:pt x="71" y="2886"/>
                      </a:lnTo>
                      <a:lnTo>
                        <a:pt x="71" y="2883"/>
                      </a:lnTo>
                      <a:lnTo>
                        <a:pt x="69" y="2878"/>
                      </a:lnTo>
                      <a:lnTo>
                        <a:pt x="66" y="2874"/>
                      </a:lnTo>
                      <a:lnTo>
                        <a:pt x="63" y="2872"/>
                      </a:lnTo>
                      <a:lnTo>
                        <a:pt x="66" y="2869"/>
                      </a:lnTo>
                      <a:lnTo>
                        <a:pt x="63" y="2864"/>
                      </a:lnTo>
                      <a:lnTo>
                        <a:pt x="63" y="2858"/>
                      </a:lnTo>
                      <a:lnTo>
                        <a:pt x="69" y="2853"/>
                      </a:lnTo>
                      <a:lnTo>
                        <a:pt x="66" y="2847"/>
                      </a:lnTo>
                      <a:lnTo>
                        <a:pt x="71" y="2845"/>
                      </a:lnTo>
                      <a:lnTo>
                        <a:pt x="71" y="2842"/>
                      </a:lnTo>
                      <a:lnTo>
                        <a:pt x="74" y="2833"/>
                      </a:lnTo>
                      <a:lnTo>
                        <a:pt x="79" y="2830"/>
                      </a:lnTo>
                      <a:lnTo>
                        <a:pt x="79" y="2828"/>
                      </a:lnTo>
                      <a:lnTo>
                        <a:pt x="85" y="2825"/>
                      </a:lnTo>
                      <a:lnTo>
                        <a:pt x="82" y="2820"/>
                      </a:lnTo>
                      <a:lnTo>
                        <a:pt x="85" y="2817"/>
                      </a:lnTo>
                      <a:lnTo>
                        <a:pt x="82" y="2817"/>
                      </a:lnTo>
                      <a:lnTo>
                        <a:pt x="85" y="2814"/>
                      </a:lnTo>
                      <a:lnTo>
                        <a:pt x="82" y="2812"/>
                      </a:lnTo>
                      <a:lnTo>
                        <a:pt x="82" y="2809"/>
                      </a:lnTo>
                      <a:lnTo>
                        <a:pt x="79" y="2809"/>
                      </a:lnTo>
                      <a:lnTo>
                        <a:pt x="82" y="2806"/>
                      </a:lnTo>
                      <a:lnTo>
                        <a:pt x="79" y="2806"/>
                      </a:lnTo>
                      <a:lnTo>
                        <a:pt x="79" y="2800"/>
                      </a:lnTo>
                      <a:lnTo>
                        <a:pt x="79" y="2797"/>
                      </a:lnTo>
                      <a:lnTo>
                        <a:pt x="71" y="2787"/>
                      </a:lnTo>
                      <a:lnTo>
                        <a:pt x="69" y="2781"/>
                      </a:lnTo>
                      <a:lnTo>
                        <a:pt x="63" y="2776"/>
                      </a:lnTo>
                      <a:lnTo>
                        <a:pt x="61" y="2773"/>
                      </a:lnTo>
                      <a:lnTo>
                        <a:pt x="54" y="2773"/>
                      </a:lnTo>
                      <a:lnTo>
                        <a:pt x="49" y="2769"/>
                      </a:lnTo>
                      <a:lnTo>
                        <a:pt x="46" y="2767"/>
                      </a:lnTo>
                      <a:lnTo>
                        <a:pt x="44" y="2769"/>
                      </a:lnTo>
                      <a:lnTo>
                        <a:pt x="41" y="2767"/>
                      </a:lnTo>
                      <a:lnTo>
                        <a:pt x="44" y="2761"/>
                      </a:lnTo>
                      <a:lnTo>
                        <a:pt x="41" y="2761"/>
                      </a:lnTo>
                      <a:lnTo>
                        <a:pt x="41" y="2756"/>
                      </a:lnTo>
                      <a:lnTo>
                        <a:pt x="38" y="2756"/>
                      </a:lnTo>
                      <a:lnTo>
                        <a:pt x="38" y="2753"/>
                      </a:lnTo>
                      <a:lnTo>
                        <a:pt x="36" y="2748"/>
                      </a:lnTo>
                      <a:lnTo>
                        <a:pt x="36" y="2745"/>
                      </a:lnTo>
                      <a:lnTo>
                        <a:pt x="41" y="2745"/>
                      </a:lnTo>
                      <a:lnTo>
                        <a:pt x="41" y="2740"/>
                      </a:lnTo>
                      <a:lnTo>
                        <a:pt x="38" y="2734"/>
                      </a:lnTo>
                      <a:lnTo>
                        <a:pt x="38" y="2728"/>
                      </a:lnTo>
                      <a:lnTo>
                        <a:pt x="41" y="2720"/>
                      </a:lnTo>
                      <a:lnTo>
                        <a:pt x="38" y="2720"/>
                      </a:lnTo>
                      <a:lnTo>
                        <a:pt x="38" y="2712"/>
                      </a:lnTo>
                      <a:lnTo>
                        <a:pt x="36" y="2704"/>
                      </a:lnTo>
                      <a:lnTo>
                        <a:pt x="38" y="2704"/>
                      </a:lnTo>
                      <a:lnTo>
                        <a:pt x="41" y="2700"/>
                      </a:lnTo>
                      <a:lnTo>
                        <a:pt x="36" y="2695"/>
                      </a:lnTo>
                      <a:lnTo>
                        <a:pt x="33" y="2692"/>
                      </a:lnTo>
                      <a:lnTo>
                        <a:pt x="30" y="2684"/>
                      </a:lnTo>
                      <a:lnTo>
                        <a:pt x="28" y="2682"/>
                      </a:lnTo>
                      <a:lnTo>
                        <a:pt x="28" y="2671"/>
                      </a:lnTo>
                      <a:lnTo>
                        <a:pt x="28" y="2665"/>
                      </a:lnTo>
                      <a:lnTo>
                        <a:pt x="30" y="2665"/>
                      </a:lnTo>
                      <a:lnTo>
                        <a:pt x="30" y="2659"/>
                      </a:lnTo>
                      <a:lnTo>
                        <a:pt x="28" y="2659"/>
                      </a:lnTo>
                      <a:lnTo>
                        <a:pt x="28" y="2657"/>
                      </a:lnTo>
                      <a:lnTo>
                        <a:pt x="28" y="2651"/>
                      </a:lnTo>
                      <a:lnTo>
                        <a:pt x="25" y="2649"/>
                      </a:lnTo>
                      <a:lnTo>
                        <a:pt x="21" y="2646"/>
                      </a:lnTo>
                      <a:lnTo>
                        <a:pt x="25" y="2640"/>
                      </a:lnTo>
                      <a:lnTo>
                        <a:pt x="21" y="2635"/>
                      </a:lnTo>
                      <a:lnTo>
                        <a:pt x="21" y="2629"/>
                      </a:lnTo>
                      <a:lnTo>
                        <a:pt x="13" y="2623"/>
                      </a:lnTo>
                      <a:lnTo>
                        <a:pt x="10" y="2615"/>
                      </a:lnTo>
                      <a:lnTo>
                        <a:pt x="5" y="2610"/>
                      </a:lnTo>
                      <a:lnTo>
                        <a:pt x="5" y="2607"/>
                      </a:lnTo>
                      <a:lnTo>
                        <a:pt x="2" y="2599"/>
                      </a:lnTo>
                      <a:lnTo>
                        <a:pt x="0" y="2593"/>
                      </a:lnTo>
                      <a:lnTo>
                        <a:pt x="5" y="2588"/>
                      </a:lnTo>
                      <a:lnTo>
                        <a:pt x="5" y="2585"/>
                      </a:lnTo>
                      <a:lnTo>
                        <a:pt x="5" y="2582"/>
                      </a:lnTo>
                      <a:lnTo>
                        <a:pt x="5" y="2577"/>
                      </a:lnTo>
                      <a:lnTo>
                        <a:pt x="5" y="2574"/>
                      </a:lnTo>
                      <a:lnTo>
                        <a:pt x="10" y="2571"/>
                      </a:lnTo>
                      <a:lnTo>
                        <a:pt x="8" y="2569"/>
                      </a:lnTo>
                      <a:lnTo>
                        <a:pt x="10" y="2566"/>
                      </a:lnTo>
                      <a:lnTo>
                        <a:pt x="13" y="2560"/>
                      </a:lnTo>
                      <a:lnTo>
                        <a:pt x="16" y="2557"/>
                      </a:lnTo>
                      <a:lnTo>
                        <a:pt x="18" y="2557"/>
                      </a:lnTo>
                      <a:lnTo>
                        <a:pt x="21" y="2554"/>
                      </a:lnTo>
                      <a:lnTo>
                        <a:pt x="21" y="2552"/>
                      </a:lnTo>
                      <a:lnTo>
                        <a:pt x="16" y="2549"/>
                      </a:lnTo>
                      <a:lnTo>
                        <a:pt x="13" y="2546"/>
                      </a:lnTo>
                      <a:lnTo>
                        <a:pt x="16" y="2541"/>
                      </a:lnTo>
                      <a:lnTo>
                        <a:pt x="21" y="2538"/>
                      </a:lnTo>
                      <a:lnTo>
                        <a:pt x="25" y="2533"/>
                      </a:lnTo>
                      <a:lnTo>
                        <a:pt x="25" y="2530"/>
                      </a:lnTo>
                      <a:lnTo>
                        <a:pt x="28" y="2530"/>
                      </a:lnTo>
                      <a:lnTo>
                        <a:pt x="36" y="2521"/>
                      </a:lnTo>
                      <a:lnTo>
                        <a:pt x="41" y="2524"/>
                      </a:lnTo>
                      <a:lnTo>
                        <a:pt x="44" y="2513"/>
                      </a:lnTo>
                      <a:lnTo>
                        <a:pt x="49" y="2510"/>
                      </a:lnTo>
                      <a:lnTo>
                        <a:pt x="54" y="2510"/>
                      </a:lnTo>
                      <a:lnTo>
                        <a:pt x="52" y="2505"/>
                      </a:lnTo>
                      <a:lnTo>
                        <a:pt x="57" y="2502"/>
                      </a:lnTo>
                      <a:lnTo>
                        <a:pt x="63" y="2502"/>
                      </a:lnTo>
                      <a:lnTo>
                        <a:pt x="71" y="2483"/>
                      </a:lnTo>
                      <a:lnTo>
                        <a:pt x="74" y="2480"/>
                      </a:lnTo>
                      <a:lnTo>
                        <a:pt x="71" y="2477"/>
                      </a:lnTo>
                      <a:lnTo>
                        <a:pt x="74" y="2469"/>
                      </a:lnTo>
                      <a:lnTo>
                        <a:pt x="77" y="2464"/>
                      </a:lnTo>
                      <a:lnTo>
                        <a:pt x="79" y="2464"/>
                      </a:lnTo>
                      <a:lnTo>
                        <a:pt x="79" y="2461"/>
                      </a:lnTo>
                      <a:lnTo>
                        <a:pt x="87" y="2464"/>
                      </a:lnTo>
                      <a:lnTo>
                        <a:pt x="94" y="2459"/>
                      </a:lnTo>
                      <a:lnTo>
                        <a:pt x="82" y="2452"/>
                      </a:lnTo>
                      <a:lnTo>
                        <a:pt x="82" y="2450"/>
                      </a:lnTo>
                      <a:lnTo>
                        <a:pt x="94" y="2442"/>
                      </a:lnTo>
                      <a:lnTo>
                        <a:pt x="96" y="2439"/>
                      </a:lnTo>
                      <a:lnTo>
                        <a:pt x="96" y="2433"/>
                      </a:lnTo>
                      <a:lnTo>
                        <a:pt x="99" y="2431"/>
                      </a:lnTo>
                      <a:lnTo>
                        <a:pt x="96" y="2425"/>
                      </a:lnTo>
                      <a:lnTo>
                        <a:pt x="99" y="2423"/>
                      </a:lnTo>
                      <a:lnTo>
                        <a:pt x="105" y="2414"/>
                      </a:lnTo>
                      <a:lnTo>
                        <a:pt x="102" y="2411"/>
                      </a:lnTo>
                      <a:lnTo>
                        <a:pt x="105" y="2403"/>
                      </a:lnTo>
                      <a:lnTo>
                        <a:pt x="102" y="2392"/>
                      </a:lnTo>
                      <a:lnTo>
                        <a:pt x="105" y="2390"/>
                      </a:lnTo>
                      <a:lnTo>
                        <a:pt x="107" y="2383"/>
                      </a:lnTo>
                      <a:lnTo>
                        <a:pt x="107" y="2381"/>
                      </a:lnTo>
                      <a:lnTo>
                        <a:pt x="107" y="2378"/>
                      </a:lnTo>
                      <a:lnTo>
                        <a:pt x="107" y="2375"/>
                      </a:lnTo>
                      <a:lnTo>
                        <a:pt x="113" y="2373"/>
                      </a:lnTo>
                      <a:lnTo>
                        <a:pt x="110" y="2370"/>
                      </a:lnTo>
                      <a:lnTo>
                        <a:pt x="115" y="2367"/>
                      </a:lnTo>
                      <a:lnTo>
                        <a:pt x="118" y="2367"/>
                      </a:lnTo>
                      <a:lnTo>
                        <a:pt x="121" y="2364"/>
                      </a:lnTo>
                      <a:lnTo>
                        <a:pt x="118" y="2359"/>
                      </a:lnTo>
                      <a:lnTo>
                        <a:pt x="123" y="2356"/>
                      </a:lnTo>
                      <a:lnTo>
                        <a:pt x="123" y="2354"/>
                      </a:lnTo>
                      <a:lnTo>
                        <a:pt x="123" y="2345"/>
                      </a:lnTo>
                      <a:lnTo>
                        <a:pt x="130" y="2339"/>
                      </a:lnTo>
                      <a:lnTo>
                        <a:pt x="130" y="2331"/>
                      </a:lnTo>
                      <a:lnTo>
                        <a:pt x="135" y="2326"/>
                      </a:lnTo>
                      <a:lnTo>
                        <a:pt x="135" y="2309"/>
                      </a:lnTo>
                      <a:lnTo>
                        <a:pt x="156" y="2290"/>
                      </a:lnTo>
                      <a:lnTo>
                        <a:pt x="154" y="2285"/>
                      </a:lnTo>
                      <a:lnTo>
                        <a:pt x="156" y="2281"/>
                      </a:lnTo>
                      <a:lnTo>
                        <a:pt x="159" y="2276"/>
                      </a:lnTo>
                      <a:lnTo>
                        <a:pt x="165" y="2276"/>
                      </a:lnTo>
                      <a:lnTo>
                        <a:pt x="168" y="2270"/>
                      </a:lnTo>
                      <a:lnTo>
                        <a:pt x="165" y="2262"/>
                      </a:lnTo>
                      <a:lnTo>
                        <a:pt x="168" y="2257"/>
                      </a:lnTo>
                      <a:lnTo>
                        <a:pt x="171" y="2252"/>
                      </a:lnTo>
                      <a:lnTo>
                        <a:pt x="168" y="2245"/>
                      </a:lnTo>
                      <a:lnTo>
                        <a:pt x="174" y="2235"/>
                      </a:lnTo>
                      <a:lnTo>
                        <a:pt x="174" y="2227"/>
                      </a:lnTo>
                      <a:lnTo>
                        <a:pt x="176" y="2224"/>
                      </a:lnTo>
                      <a:lnTo>
                        <a:pt x="171" y="2216"/>
                      </a:lnTo>
                      <a:lnTo>
                        <a:pt x="176" y="2209"/>
                      </a:lnTo>
                      <a:lnTo>
                        <a:pt x="179" y="2209"/>
                      </a:lnTo>
                      <a:lnTo>
                        <a:pt x="182" y="2209"/>
                      </a:lnTo>
                      <a:lnTo>
                        <a:pt x="182" y="2207"/>
                      </a:lnTo>
                      <a:lnTo>
                        <a:pt x="174" y="2201"/>
                      </a:lnTo>
                      <a:lnTo>
                        <a:pt x="179" y="2193"/>
                      </a:lnTo>
                      <a:lnTo>
                        <a:pt x="182" y="2191"/>
                      </a:lnTo>
                      <a:lnTo>
                        <a:pt x="182" y="2188"/>
                      </a:lnTo>
                      <a:lnTo>
                        <a:pt x="179" y="2185"/>
                      </a:lnTo>
                      <a:lnTo>
                        <a:pt x="182" y="2183"/>
                      </a:lnTo>
                      <a:lnTo>
                        <a:pt x="184" y="2180"/>
                      </a:lnTo>
                      <a:lnTo>
                        <a:pt x="184" y="2174"/>
                      </a:lnTo>
                      <a:lnTo>
                        <a:pt x="184" y="2171"/>
                      </a:lnTo>
                      <a:lnTo>
                        <a:pt x="187" y="2171"/>
                      </a:lnTo>
                      <a:lnTo>
                        <a:pt x="192" y="2168"/>
                      </a:lnTo>
                      <a:lnTo>
                        <a:pt x="192" y="2165"/>
                      </a:lnTo>
                      <a:lnTo>
                        <a:pt x="184" y="2160"/>
                      </a:lnTo>
                      <a:lnTo>
                        <a:pt x="192" y="2157"/>
                      </a:lnTo>
                      <a:lnTo>
                        <a:pt x="192" y="2155"/>
                      </a:lnTo>
                      <a:lnTo>
                        <a:pt x="187" y="2152"/>
                      </a:lnTo>
                      <a:lnTo>
                        <a:pt x="184" y="2147"/>
                      </a:lnTo>
                      <a:lnTo>
                        <a:pt x="187" y="2147"/>
                      </a:lnTo>
                      <a:lnTo>
                        <a:pt x="190" y="2144"/>
                      </a:lnTo>
                      <a:lnTo>
                        <a:pt x="190" y="2138"/>
                      </a:lnTo>
                      <a:lnTo>
                        <a:pt x="195" y="2135"/>
                      </a:lnTo>
                      <a:lnTo>
                        <a:pt x="199" y="2130"/>
                      </a:lnTo>
                      <a:lnTo>
                        <a:pt x="195" y="2122"/>
                      </a:lnTo>
                      <a:lnTo>
                        <a:pt x="201" y="2119"/>
                      </a:lnTo>
                      <a:lnTo>
                        <a:pt x="201" y="2114"/>
                      </a:lnTo>
                      <a:lnTo>
                        <a:pt x="204" y="2116"/>
                      </a:lnTo>
                      <a:lnTo>
                        <a:pt x="207" y="2114"/>
                      </a:lnTo>
                      <a:lnTo>
                        <a:pt x="204" y="2111"/>
                      </a:lnTo>
                      <a:lnTo>
                        <a:pt x="207" y="2105"/>
                      </a:lnTo>
                      <a:lnTo>
                        <a:pt x="204" y="2099"/>
                      </a:lnTo>
                      <a:lnTo>
                        <a:pt x="207" y="2096"/>
                      </a:lnTo>
                      <a:lnTo>
                        <a:pt x="207" y="2099"/>
                      </a:lnTo>
                      <a:lnTo>
                        <a:pt x="209" y="2099"/>
                      </a:lnTo>
                      <a:lnTo>
                        <a:pt x="209" y="2096"/>
                      </a:lnTo>
                      <a:lnTo>
                        <a:pt x="207" y="2091"/>
                      </a:lnTo>
                      <a:lnTo>
                        <a:pt x="209" y="2086"/>
                      </a:lnTo>
                      <a:lnTo>
                        <a:pt x="215" y="2083"/>
                      </a:lnTo>
                      <a:lnTo>
                        <a:pt x="215" y="2080"/>
                      </a:lnTo>
                      <a:lnTo>
                        <a:pt x="215" y="2075"/>
                      </a:lnTo>
                      <a:lnTo>
                        <a:pt x="217" y="2075"/>
                      </a:lnTo>
                      <a:lnTo>
                        <a:pt x="223" y="2071"/>
                      </a:lnTo>
                      <a:lnTo>
                        <a:pt x="217" y="2069"/>
                      </a:lnTo>
                      <a:lnTo>
                        <a:pt x="217" y="2066"/>
                      </a:lnTo>
                      <a:lnTo>
                        <a:pt x="220" y="2066"/>
                      </a:lnTo>
                      <a:lnTo>
                        <a:pt x="225" y="2069"/>
                      </a:lnTo>
                      <a:lnTo>
                        <a:pt x="228" y="2069"/>
                      </a:lnTo>
                      <a:lnTo>
                        <a:pt x="225" y="2063"/>
                      </a:lnTo>
                      <a:lnTo>
                        <a:pt x="228" y="2061"/>
                      </a:lnTo>
                      <a:lnTo>
                        <a:pt x="234" y="2061"/>
                      </a:lnTo>
                      <a:lnTo>
                        <a:pt x="237" y="2058"/>
                      </a:lnTo>
                      <a:lnTo>
                        <a:pt x="237" y="2055"/>
                      </a:lnTo>
                      <a:lnTo>
                        <a:pt x="240" y="2055"/>
                      </a:lnTo>
                      <a:lnTo>
                        <a:pt x="243" y="2053"/>
                      </a:lnTo>
                      <a:lnTo>
                        <a:pt x="243" y="2047"/>
                      </a:lnTo>
                      <a:lnTo>
                        <a:pt x="245" y="2042"/>
                      </a:lnTo>
                      <a:lnTo>
                        <a:pt x="248" y="2042"/>
                      </a:lnTo>
                      <a:lnTo>
                        <a:pt x="253" y="2045"/>
                      </a:lnTo>
                      <a:lnTo>
                        <a:pt x="265" y="2033"/>
                      </a:lnTo>
                      <a:lnTo>
                        <a:pt x="268" y="2028"/>
                      </a:lnTo>
                      <a:lnTo>
                        <a:pt x="273" y="2025"/>
                      </a:lnTo>
                      <a:lnTo>
                        <a:pt x="281" y="2025"/>
                      </a:lnTo>
                      <a:lnTo>
                        <a:pt x="284" y="2025"/>
                      </a:lnTo>
                      <a:lnTo>
                        <a:pt x="289" y="2022"/>
                      </a:lnTo>
                      <a:lnTo>
                        <a:pt x="297" y="2025"/>
                      </a:lnTo>
                      <a:lnTo>
                        <a:pt x="303" y="2019"/>
                      </a:lnTo>
                      <a:lnTo>
                        <a:pt x="306" y="2017"/>
                      </a:lnTo>
                      <a:lnTo>
                        <a:pt x="309" y="2017"/>
                      </a:lnTo>
                      <a:lnTo>
                        <a:pt x="314" y="2019"/>
                      </a:lnTo>
                      <a:lnTo>
                        <a:pt x="314" y="2022"/>
                      </a:lnTo>
                      <a:lnTo>
                        <a:pt x="317" y="2022"/>
                      </a:lnTo>
                      <a:lnTo>
                        <a:pt x="322" y="2017"/>
                      </a:lnTo>
                      <a:lnTo>
                        <a:pt x="330" y="2014"/>
                      </a:lnTo>
                      <a:lnTo>
                        <a:pt x="334" y="2006"/>
                      </a:lnTo>
                      <a:lnTo>
                        <a:pt x="342" y="2000"/>
                      </a:lnTo>
                      <a:lnTo>
                        <a:pt x="345" y="2002"/>
                      </a:lnTo>
                      <a:lnTo>
                        <a:pt x="350" y="2002"/>
                      </a:lnTo>
                      <a:lnTo>
                        <a:pt x="353" y="2000"/>
                      </a:lnTo>
                      <a:lnTo>
                        <a:pt x="370" y="1994"/>
                      </a:lnTo>
                      <a:lnTo>
                        <a:pt x="378" y="1997"/>
                      </a:lnTo>
                      <a:lnTo>
                        <a:pt x="380" y="1997"/>
                      </a:lnTo>
                      <a:lnTo>
                        <a:pt x="386" y="2000"/>
                      </a:lnTo>
                      <a:lnTo>
                        <a:pt x="397" y="1992"/>
                      </a:lnTo>
                      <a:lnTo>
                        <a:pt x="403" y="1992"/>
                      </a:lnTo>
                      <a:lnTo>
                        <a:pt x="408" y="1986"/>
                      </a:lnTo>
                      <a:lnTo>
                        <a:pt x="411" y="1986"/>
                      </a:lnTo>
                      <a:lnTo>
                        <a:pt x="416" y="1986"/>
                      </a:lnTo>
                      <a:lnTo>
                        <a:pt x="422" y="1984"/>
                      </a:lnTo>
                      <a:lnTo>
                        <a:pt x="430" y="1981"/>
                      </a:lnTo>
                      <a:lnTo>
                        <a:pt x="432" y="1984"/>
                      </a:lnTo>
                      <a:lnTo>
                        <a:pt x="435" y="1981"/>
                      </a:lnTo>
                      <a:lnTo>
                        <a:pt x="439" y="1976"/>
                      </a:lnTo>
                      <a:lnTo>
                        <a:pt x="441" y="1970"/>
                      </a:lnTo>
                      <a:lnTo>
                        <a:pt x="444" y="1964"/>
                      </a:lnTo>
                      <a:lnTo>
                        <a:pt x="447" y="1961"/>
                      </a:lnTo>
                      <a:lnTo>
                        <a:pt x="452" y="1964"/>
                      </a:lnTo>
                      <a:lnTo>
                        <a:pt x="458" y="1961"/>
                      </a:lnTo>
                      <a:lnTo>
                        <a:pt x="460" y="1956"/>
                      </a:lnTo>
                      <a:lnTo>
                        <a:pt x="463" y="1953"/>
                      </a:lnTo>
                      <a:lnTo>
                        <a:pt x="463" y="1950"/>
                      </a:lnTo>
                      <a:lnTo>
                        <a:pt x="466" y="1948"/>
                      </a:lnTo>
                      <a:lnTo>
                        <a:pt x="477" y="1942"/>
                      </a:lnTo>
                      <a:lnTo>
                        <a:pt x="480" y="1937"/>
                      </a:lnTo>
                      <a:lnTo>
                        <a:pt x="491" y="1940"/>
                      </a:lnTo>
                      <a:lnTo>
                        <a:pt x="493" y="1942"/>
                      </a:lnTo>
                      <a:lnTo>
                        <a:pt x="510" y="1937"/>
                      </a:lnTo>
                      <a:lnTo>
                        <a:pt x="516" y="1948"/>
                      </a:lnTo>
                      <a:lnTo>
                        <a:pt x="521" y="1950"/>
                      </a:lnTo>
                      <a:lnTo>
                        <a:pt x="524" y="1950"/>
                      </a:lnTo>
                      <a:lnTo>
                        <a:pt x="527" y="1950"/>
                      </a:lnTo>
                      <a:lnTo>
                        <a:pt x="532" y="1950"/>
                      </a:lnTo>
                      <a:lnTo>
                        <a:pt x="535" y="1937"/>
                      </a:lnTo>
                      <a:lnTo>
                        <a:pt x="537" y="1934"/>
                      </a:lnTo>
                      <a:lnTo>
                        <a:pt x="541" y="1923"/>
                      </a:lnTo>
                      <a:lnTo>
                        <a:pt x="544" y="1923"/>
                      </a:lnTo>
                      <a:lnTo>
                        <a:pt x="549" y="1920"/>
                      </a:lnTo>
                      <a:lnTo>
                        <a:pt x="552" y="1917"/>
                      </a:lnTo>
                      <a:lnTo>
                        <a:pt x="560" y="1915"/>
                      </a:lnTo>
                      <a:lnTo>
                        <a:pt x="568" y="1901"/>
                      </a:lnTo>
                      <a:lnTo>
                        <a:pt x="568" y="1899"/>
                      </a:lnTo>
                      <a:lnTo>
                        <a:pt x="577" y="1892"/>
                      </a:lnTo>
                      <a:lnTo>
                        <a:pt x="579" y="1890"/>
                      </a:lnTo>
                      <a:lnTo>
                        <a:pt x="582" y="1881"/>
                      </a:lnTo>
                      <a:lnTo>
                        <a:pt x="596" y="1879"/>
                      </a:lnTo>
                      <a:lnTo>
                        <a:pt x="598" y="1879"/>
                      </a:lnTo>
                      <a:lnTo>
                        <a:pt x="601" y="1868"/>
                      </a:lnTo>
                      <a:lnTo>
                        <a:pt x="606" y="1862"/>
                      </a:lnTo>
                      <a:lnTo>
                        <a:pt x="613" y="1862"/>
                      </a:lnTo>
                      <a:lnTo>
                        <a:pt x="613" y="1859"/>
                      </a:lnTo>
                      <a:lnTo>
                        <a:pt x="623" y="1854"/>
                      </a:lnTo>
                      <a:lnTo>
                        <a:pt x="634" y="1851"/>
                      </a:lnTo>
                      <a:lnTo>
                        <a:pt x="643" y="1843"/>
                      </a:lnTo>
                      <a:lnTo>
                        <a:pt x="648" y="1838"/>
                      </a:lnTo>
                      <a:lnTo>
                        <a:pt x="657" y="1835"/>
                      </a:lnTo>
                      <a:lnTo>
                        <a:pt x="662" y="1835"/>
                      </a:lnTo>
                      <a:lnTo>
                        <a:pt x="675" y="1830"/>
                      </a:lnTo>
                      <a:lnTo>
                        <a:pt x="684" y="1835"/>
                      </a:lnTo>
                      <a:lnTo>
                        <a:pt x="687" y="1835"/>
                      </a:lnTo>
                      <a:lnTo>
                        <a:pt x="695" y="1821"/>
                      </a:lnTo>
                      <a:lnTo>
                        <a:pt x="700" y="1815"/>
                      </a:lnTo>
                      <a:lnTo>
                        <a:pt x="700" y="1813"/>
                      </a:lnTo>
                      <a:lnTo>
                        <a:pt x="698" y="1804"/>
                      </a:lnTo>
                      <a:lnTo>
                        <a:pt x="700" y="1799"/>
                      </a:lnTo>
                      <a:lnTo>
                        <a:pt x="703" y="1794"/>
                      </a:lnTo>
                      <a:lnTo>
                        <a:pt x="703" y="1785"/>
                      </a:lnTo>
                      <a:lnTo>
                        <a:pt x="708" y="1785"/>
                      </a:lnTo>
                      <a:lnTo>
                        <a:pt x="715" y="1785"/>
                      </a:lnTo>
                      <a:lnTo>
                        <a:pt x="728" y="1769"/>
                      </a:lnTo>
                      <a:lnTo>
                        <a:pt x="728" y="1757"/>
                      </a:lnTo>
                      <a:lnTo>
                        <a:pt x="734" y="1754"/>
                      </a:lnTo>
                      <a:lnTo>
                        <a:pt x="739" y="1754"/>
                      </a:lnTo>
                      <a:lnTo>
                        <a:pt x="739" y="1752"/>
                      </a:lnTo>
                      <a:lnTo>
                        <a:pt x="739" y="1744"/>
                      </a:lnTo>
                      <a:lnTo>
                        <a:pt x="739" y="1741"/>
                      </a:lnTo>
                      <a:lnTo>
                        <a:pt x="744" y="1733"/>
                      </a:lnTo>
                      <a:lnTo>
                        <a:pt x="756" y="1727"/>
                      </a:lnTo>
                      <a:lnTo>
                        <a:pt x="759" y="1718"/>
                      </a:lnTo>
                      <a:lnTo>
                        <a:pt x="761" y="1716"/>
                      </a:lnTo>
                      <a:lnTo>
                        <a:pt x="764" y="1716"/>
                      </a:lnTo>
                      <a:lnTo>
                        <a:pt x="764" y="1725"/>
                      </a:lnTo>
                      <a:lnTo>
                        <a:pt x="767" y="1725"/>
                      </a:lnTo>
                      <a:lnTo>
                        <a:pt x="769" y="1725"/>
                      </a:lnTo>
                      <a:lnTo>
                        <a:pt x="772" y="1718"/>
                      </a:lnTo>
                      <a:lnTo>
                        <a:pt x="764" y="1708"/>
                      </a:lnTo>
                      <a:lnTo>
                        <a:pt x="764" y="1705"/>
                      </a:lnTo>
                      <a:lnTo>
                        <a:pt x="764" y="1702"/>
                      </a:lnTo>
                      <a:lnTo>
                        <a:pt x="767" y="1702"/>
                      </a:lnTo>
                      <a:lnTo>
                        <a:pt x="775" y="1702"/>
                      </a:lnTo>
                      <a:lnTo>
                        <a:pt x="781" y="1710"/>
                      </a:lnTo>
                      <a:lnTo>
                        <a:pt x="784" y="1710"/>
                      </a:lnTo>
                      <a:lnTo>
                        <a:pt x="786" y="1705"/>
                      </a:lnTo>
                      <a:lnTo>
                        <a:pt x="786" y="1694"/>
                      </a:lnTo>
                      <a:lnTo>
                        <a:pt x="789" y="1689"/>
                      </a:lnTo>
                      <a:lnTo>
                        <a:pt x="794" y="1689"/>
                      </a:lnTo>
                      <a:lnTo>
                        <a:pt x="797" y="1685"/>
                      </a:lnTo>
                      <a:lnTo>
                        <a:pt x="817" y="1682"/>
                      </a:lnTo>
                      <a:lnTo>
                        <a:pt x="822" y="1677"/>
                      </a:lnTo>
                      <a:lnTo>
                        <a:pt x="828" y="1677"/>
                      </a:lnTo>
                      <a:lnTo>
                        <a:pt x="833" y="1680"/>
                      </a:lnTo>
                      <a:lnTo>
                        <a:pt x="833" y="1685"/>
                      </a:lnTo>
                      <a:lnTo>
                        <a:pt x="838" y="1689"/>
                      </a:lnTo>
                      <a:lnTo>
                        <a:pt x="841" y="1689"/>
                      </a:lnTo>
                      <a:lnTo>
                        <a:pt x="844" y="1682"/>
                      </a:lnTo>
                      <a:lnTo>
                        <a:pt x="846" y="1680"/>
                      </a:lnTo>
                      <a:lnTo>
                        <a:pt x="861" y="1682"/>
                      </a:lnTo>
                      <a:lnTo>
                        <a:pt x="872" y="1674"/>
                      </a:lnTo>
                      <a:lnTo>
                        <a:pt x="886" y="1672"/>
                      </a:lnTo>
                      <a:lnTo>
                        <a:pt x="889" y="1666"/>
                      </a:lnTo>
                      <a:lnTo>
                        <a:pt x="891" y="1664"/>
                      </a:lnTo>
                      <a:lnTo>
                        <a:pt x="894" y="1661"/>
                      </a:lnTo>
                      <a:lnTo>
                        <a:pt x="902" y="1666"/>
                      </a:lnTo>
                      <a:lnTo>
                        <a:pt x="907" y="1661"/>
                      </a:lnTo>
                      <a:lnTo>
                        <a:pt x="910" y="1661"/>
                      </a:lnTo>
                      <a:lnTo>
                        <a:pt x="922" y="1661"/>
                      </a:lnTo>
                      <a:lnTo>
                        <a:pt x="927" y="1658"/>
                      </a:lnTo>
                      <a:lnTo>
                        <a:pt x="930" y="1658"/>
                      </a:lnTo>
                      <a:lnTo>
                        <a:pt x="930" y="1661"/>
                      </a:lnTo>
                      <a:lnTo>
                        <a:pt x="932" y="1664"/>
                      </a:lnTo>
                      <a:lnTo>
                        <a:pt x="943" y="1661"/>
                      </a:lnTo>
                      <a:lnTo>
                        <a:pt x="949" y="1664"/>
                      </a:lnTo>
                      <a:lnTo>
                        <a:pt x="958" y="1666"/>
                      </a:lnTo>
                      <a:lnTo>
                        <a:pt x="966" y="1674"/>
                      </a:lnTo>
                      <a:lnTo>
                        <a:pt x="974" y="1677"/>
                      </a:lnTo>
                      <a:lnTo>
                        <a:pt x="979" y="1682"/>
                      </a:lnTo>
                      <a:lnTo>
                        <a:pt x="982" y="1682"/>
                      </a:lnTo>
                      <a:lnTo>
                        <a:pt x="984" y="1682"/>
                      </a:lnTo>
                      <a:lnTo>
                        <a:pt x="984" y="1680"/>
                      </a:lnTo>
                      <a:lnTo>
                        <a:pt x="988" y="1680"/>
                      </a:lnTo>
                      <a:lnTo>
                        <a:pt x="991" y="1680"/>
                      </a:lnTo>
                      <a:lnTo>
                        <a:pt x="993" y="1682"/>
                      </a:lnTo>
                      <a:lnTo>
                        <a:pt x="993" y="1685"/>
                      </a:lnTo>
                      <a:lnTo>
                        <a:pt x="996" y="1694"/>
                      </a:lnTo>
                      <a:lnTo>
                        <a:pt x="999" y="1697"/>
                      </a:lnTo>
                      <a:lnTo>
                        <a:pt x="1012" y="1702"/>
                      </a:lnTo>
                      <a:lnTo>
                        <a:pt x="1015" y="1705"/>
                      </a:lnTo>
                      <a:lnTo>
                        <a:pt x="1018" y="1710"/>
                      </a:lnTo>
                      <a:lnTo>
                        <a:pt x="1021" y="1716"/>
                      </a:lnTo>
                      <a:lnTo>
                        <a:pt x="1032" y="1721"/>
                      </a:lnTo>
                      <a:lnTo>
                        <a:pt x="1032" y="1718"/>
                      </a:lnTo>
                      <a:lnTo>
                        <a:pt x="1037" y="1716"/>
                      </a:lnTo>
                      <a:lnTo>
                        <a:pt x="1045" y="1718"/>
                      </a:lnTo>
                      <a:lnTo>
                        <a:pt x="1051" y="1718"/>
                      </a:lnTo>
                      <a:lnTo>
                        <a:pt x="1057" y="1716"/>
                      </a:lnTo>
                      <a:lnTo>
                        <a:pt x="1060" y="1716"/>
                      </a:lnTo>
                      <a:lnTo>
                        <a:pt x="1060" y="1708"/>
                      </a:lnTo>
                      <a:lnTo>
                        <a:pt x="1071" y="1710"/>
                      </a:lnTo>
                      <a:lnTo>
                        <a:pt x="1076" y="1700"/>
                      </a:lnTo>
                      <a:lnTo>
                        <a:pt x="1093" y="1702"/>
                      </a:lnTo>
                      <a:lnTo>
                        <a:pt x="1104" y="1700"/>
                      </a:lnTo>
                      <a:lnTo>
                        <a:pt x="1112" y="1694"/>
                      </a:lnTo>
                      <a:lnTo>
                        <a:pt x="1114" y="1689"/>
                      </a:lnTo>
                      <a:lnTo>
                        <a:pt x="1117" y="1689"/>
                      </a:lnTo>
                      <a:lnTo>
                        <a:pt x="1134" y="1685"/>
                      </a:lnTo>
                      <a:lnTo>
                        <a:pt x="1148" y="1689"/>
                      </a:lnTo>
                      <a:lnTo>
                        <a:pt x="1156" y="1694"/>
                      </a:lnTo>
                      <a:lnTo>
                        <a:pt x="1159" y="1694"/>
                      </a:lnTo>
                      <a:lnTo>
                        <a:pt x="1165" y="1694"/>
                      </a:lnTo>
                      <a:lnTo>
                        <a:pt x="1175" y="1689"/>
                      </a:lnTo>
                      <a:lnTo>
                        <a:pt x="1183" y="1680"/>
                      </a:lnTo>
                      <a:lnTo>
                        <a:pt x="1191" y="1680"/>
                      </a:lnTo>
                      <a:lnTo>
                        <a:pt x="1198" y="1685"/>
                      </a:lnTo>
                      <a:lnTo>
                        <a:pt x="1203" y="1685"/>
                      </a:lnTo>
                      <a:lnTo>
                        <a:pt x="1214" y="1682"/>
                      </a:lnTo>
                      <a:lnTo>
                        <a:pt x="1217" y="1682"/>
                      </a:lnTo>
                      <a:lnTo>
                        <a:pt x="1222" y="1677"/>
                      </a:lnTo>
                      <a:lnTo>
                        <a:pt x="1225" y="1666"/>
                      </a:lnTo>
                      <a:lnTo>
                        <a:pt x="1239" y="1661"/>
                      </a:lnTo>
                      <a:lnTo>
                        <a:pt x="1250" y="1647"/>
                      </a:lnTo>
                      <a:lnTo>
                        <a:pt x="1252" y="1639"/>
                      </a:lnTo>
                      <a:lnTo>
                        <a:pt x="1252" y="1636"/>
                      </a:lnTo>
                      <a:lnTo>
                        <a:pt x="1252" y="1633"/>
                      </a:lnTo>
                      <a:lnTo>
                        <a:pt x="1255" y="1616"/>
                      </a:lnTo>
                      <a:lnTo>
                        <a:pt x="1264" y="1605"/>
                      </a:lnTo>
                      <a:lnTo>
                        <a:pt x="1264" y="1600"/>
                      </a:lnTo>
                      <a:lnTo>
                        <a:pt x="1264" y="1592"/>
                      </a:lnTo>
                      <a:lnTo>
                        <a:pt x="1269" y="1580"/>
                      </a:lnTo>
                      <a:lnTo>
                        <a:pt x="1264" y="1578"/>
                      </a:lnTo>
                      <a:lnTo>
                        <a:pt x="1264" y="1575"/>
                      </a:lnTo>
                      <a:lnTo>
                        <a:pt x="1267" y="1572"/>
                      </a:lnTo>
                      <a:lnTo>
                        <a:pt x="1272" y="1570"/>
                      </a:lnTo>
                      <a:lnTo>
                        <a:pt x="1269" y="1562"/>
                      </a:lnTo>
                      <a:lnTo>
                        <a:pt x="1272" y="1554"/>
                      </a:lnTo>
                      <a:lnTo>
                        <a:pt x="1267" y="1545"/>
                      </a:lnTo>
                      <a:lnTo>
                        <a:pt x="1267" y="1542"/>
                      </a:lnTo>
                      <a:lnTo>
                        <a:pt x="1275" y="1528"/>
                      </a:lnTo>
                      <a:lnTo>
                        <a:pt x="1275" y="1520"/>
                      </a:lnTo>
                      <a:lnTo>
                        <a:pt x="1277" y="1518"/>
                      </a:lnTo>
                      <a:lnTo>
                        <a:pt x="1285" y="1509"/>
                      </a:lnTo>
                      <a:lnTo>
                        <a:pt x="1285" y="1506"/>
                      </a:lnTo>
                      <a:lnTo>
                        <a:pt x="1283" y="1503"/>
                      </a:lnTo>
                      <a:lnTo>
                        <a:pt x="1277" y="1506"/>
                      </a:lnTo>
                      <a:lnTo>
                        <a:pt x="1275" y="1503"/>
                      </a:lnTo>
                      <a:lnTo>
                        <a:pt x="1277" y="1495"/>
                      </a:lnTo>
                      <a:lnTo>
                        <a:pt x="1280" y="1485"/>
                      </a:lnTo>
                      <a:lnTo>
                        <a:pt x="1277" y="1478"/>
                      </a:lnTo>
                      <a:lnTo>
                        <a:pt x="1277" y="1473"/>
                      </a:lnTo>
                      <a:lnTo>
                        <a:pt x="1275" y="1470"/>
                      </a:lnTo>
                      <a:lnTo>
                        <a:pt x="1272" y="1465"/>
                      </a:lnTo>
                      <a:lnTo>
                        <a:pt x="1272" y="1462"/>
                      </a:lnTo>
                      <a:lnTo>
                        <a:pt x="1269" y="1462"/>
                      </a:lnTo>
                      <a:lnTo>
                        <a:pt x="1260" y="1459"/>
                      </a:lnTo>
                      <a:lnTo>
                        <a:pt x="1252" y="1457"/>
                      </a:lnTo>
                      <a:lnTo>
                        <a:pt x="1244" y="1446"/>
                      </a:lnTo>
                      <a:lnTo>
                        <a:pt x="1236" y="1446"/>
                      </a:lnTo>
                      <a:lnTo>
                        <a:pt x="1231" y="1440"/>
                      </a:lnTo>
                      <a:lnTo>
                        <a:pt x="1228" y="1437"/>
                      </a:lnTo>
                      <a:lnTo>
                        <a:pt x="1225" y="1421"/>
                      </a:lnTo>
                      <a:lnTo>
                        <a:pt x="1225" y="1418"/>
                      </a:lnTo>
                      <a:lnTo>
                        <a:pt x="1219" y="1416"/>
                      </a:lnTo>
                      <a:lnTo>
                        <a:pt x="1214" y="1413"/>
                      </a:lnTo>
                      <a:lnTo>
                        <a:pt x="1203" y="1413"/>
                      </a:lnTo>
                      <a:lnTo>
                        <a:pt x="1198" y="1407"/>
                      </a:lnTo>
                      <a:lnTo>
                        <a:pt x="1195" y="1396"/>
                      </a:lnTo>
                      <a:lnTo>
                        <a:pt x="1186" y="1388"/>
                      </a:lnTo>
                      <a:lnTo>
                        <a:pt x="1186" y="1385"/>
                      </a:lnTo>
                      <a:lnTo>
                        <a:pt x="1189" y="1382"/>
                      </a:lnTo>
                      <a:lnTo>
                        <a:pt x="1195" y="1380"/>
                      </a:lnTo>
                      <a:lnTo>
                        <a:pt x="1195" y="1377"/>
                      </a:lnTo>
                      <a:lnTo>
                        <a:pt x="1198" y="1373"/>
                      </a:lnTo>
                      <a:lnTo>
                        <a:pt x="1198" y="1371"/>
                      </a:lnTo>
                      <a:lnTo>
                        <a:pt x="1198" y="1363"/>
                      </a:lnTo>
                      <a:lnTo>
                        <a:pt x="1195" y="1360"/>
                      </a:lnTo>
                      <a:lnTo>
                        <a:pt x="1189" y="1355"/>
                      </a:lnTo>
                      <a:lnTo>
                        <a:pt x="1183" y="1349"/>
                      </a:lnTo>
                      <a:lnTo>
                        <a:pt x="1183" y="1344"/>
                      </a:lnTo>
                      <a:lnTo>
                        <a:pt x="1181" y="1332"/>
                      </a:lnTo>
                      <a:lnTo>
                        <a:pt x="1178" y="1330"/>
                      </a:lnTo>
                      <a:lnTo>
                        <a:pt x="1178" y="1324"/>
                      </a:lnTo>
                      <a:lnTo>
                        <a:pt x="1186" y="1311"/>
                      </a:lnTo>
                      <a:lnTo>
                        <a:pt x="1178" y="1294"/>
                      </a:lnTo>
                      <a:lnTo>
                        <a:pt x="1181" y="1286"/>
                      </a:lnTo>
                      <a:lnTo>
                        <a:pt x="1178" y="1280"/>
                      </a:lnTo>
                      <a:lnTo>
                        <a:pt x="1175" y="1266"/>
                      </a:lnTo>
                      <a:lnTo>
                        <a:pt x="1178" y="1261"/>
                      </a:lnTo>
                      <a:lnTo>
                        <a:pt x="1178" y="1258"/>
                      </a:lnTo>
                      <a:lnTo>
                        <a:pt x="1186" y="1258"/>
                      </a:lnTo>
                      <a:lnTo>
                        <a:pt x="1186" y="1252"/>
                      </a:lnTo>
                      <a:lnTo>
                        <a:pt x="1181" y="1233"/>
                      </a:lnTo>
                      <a:lnTo>
                        <a:pt x="1183" y="1219"/>
                      </a:lnTo>
                      <a:lnTo>
                        <a:pt x="1183" y="1217"/>
                      </a:lnTo>
                      <a:lnTo>
                        <a:pt x="1181" y="1214"/>
                      </a:lnTo>
                      <a:lnTo>
                        <a:pt x="1178" y="1211"/>
                      </a:lnTo>
                      <a:lnTo>
                        <a:pt x="1178" y="1206"/>
                      </a:lnTo>
                      <a:lnTo>
                        <a:pt x="1181" y="1203"/>
                      </a:lnTo>
                      <a:lnTo>
                        <a:pt x="1183" y="1197"/>
                      </a:lnTo>
                      <a:lnTo>
                        <a:pt x="1198" y="1194"/>
                      </a:lnTo>
                      <a:lnTo>
                        <a:pt x="1203" y="1194"/>
                      </a:lnTo>
                      <a:lnTo>
                        <a:pt x="1206" y="1189"/>
                      </a:lnTo>
                      <a:lnTo>
                        <a:pt x="1208" y="1181"/>
                      </a:lnTo>
                      <a:lnTo>
                        <a:pt x="1217" y="1175"/>
                      </a:lnTo>
                      <a:lnTo>
                        <a:pt x="1219" y="1158"/>
                      </a:lnTo>
                      <a:lnTo>
                        <a:pt x="1228" y="1150"/>
                      </a:lnTo>
                      <a:lnTo>
                        <a:pt x="1228" y="1148"/>
                      </a:lnTo>
                      <a:lnTo>
                        <a:pt x="1231" y="1137"/>
                      </a:lnTo>
                      <a:lnTo>
                        <a:pt x="1234" y="1134"/>
                      </a:lnTo>
                      <a:lnTo>
                        <a:pt x="1244" y="1132"/>
                      </a:lnTo>
                      <a:lnTo>
                        <a:pt x="1250" y="1125"/>
                      </a:lnTo>
                      <a:lnTo>
                        <a:pt x="1252" y="1114"/>
                      </a:lnTo>
                      <a:lnTo>
                        <a:pt x="1255" y="1112"/>
                      </a:lnTo>
                      <a:lnTo>
                        <a:pt x="1267" y="1109"/>
                      </a:lnTo>
                      <a:lnTo>
                        <a:pt x="1272" y="1106"/>
                      </a:lnTo>
                      <a:lnTo>
                        <a:pt x="1272" y="1101"/>
                      </a:lnTo>
                      <a:lnTo>
                        <a:pt x="1283" y="1096"/>
                      </a:lnTo>
                      <a:lnTo>
                        <a:pt x="1288" y="1092"/>
                      </a:lnTo>
                      <a:lnTo>
                        <a:pt x="1291" y="1087"/>
                      </a:lnTo>
                      <a:lnTo>
                        <a:pt x="1294" y="1073"/>
                      </a:lnTo>
                      <a:lnTo>
                        <a:pt x="1294" y="1068"/>
                      </a:lnTo>
                      <a:lnTo>
                        <a:pt x="1294" y="1065"/>
                      </a:lnTo>
                      <a:lnTo>
                        <a:pt x="1288" y="1051"/>
                      </a:lnTo>
                      <a:lnTo>
                        <a:pt x="1288" y="1045"/>
                      </a:lnTo>
                      <a:lnTo>
                        <a:pt x="1300" y="1032"/>
                      </a:lnTo>
                      <a:lnTo>
                        <a:pt x="1300" y="1023"/>
                      </a:lnTo>
                      <a:lnTo>
                        <a:pt x="1297" y="1010"/>
                      </a:lnTo>
                      <a:lnTo>
                        <a:pt x="1294" y="1002"/>
                      </a:lnTo>
                      <a:lnTo>
                        <a:pt x="1291" y="985"/>
                      </a:lnTo>
                      <a:lnTo>
                        <a:pt x="1285" y="976"/>
                      </a:lnTo>
                      <a:lnTo>
                        <a:pt x="1283" y="976"/>
                      </a:lnTo>
                      <a:lnTo>
                        <a:pt x="1283" y="971"/>
                      </a:lnTo>
                      <a:lnTo>
                        <a:pt x="1283" y="960"/>
                      </a:lnTo>
                      <a:lnTo>
                        <a:pt x="1275" y="941"/>
                      </a:lnTo>
                      <a:lnTo>
                        <a:pt x="1275" y="935"/>
                      </a:lnTo>
                      <a:lnTo>
                        <a:pt x="1277" y="922"/>
                      </a:lnTo>
                      <a:lnTo>
                        <a:pt x="1272" y="916"/>
                      </a:lnTo>
                      <a:lnTo>
                        <a:pt x="1272" y="913"/>
                      </a:lnTo>
                      <a:lnTo>
                        <a:pt x="1260" y="902"/>
                      </a:lnTo>
                      <a:lnTo>
                        <a:pt x="1260" y="899"/>
                      </a:lnTo>
                      <a:lnTo>
                        <a:pt x="1260" y="889"/>
                      </a:lnTo>
                      <a:lnTo>
                        <a:pt x="1258" y="880"/>
                      </a:lnTo>
                      <a:lnTo>
                        <a:pt x="1244" y="866"/>
                      </a:lnTo>
                      <a:lnTo>
                        <a:pt x="1242" y="866"/>
                      </a:lnTo>
                      <a:lnTo>
                        <a:pt x="1239" y="858"/>
                      </a:lnTo>
                      <a:lnTo>
                        <a:pt x="1239" y="849"/>
                      </a:lnTo>
                      <a:lnTo>
                        <a:pt x="1247" y="841"/>
                      </a:lnTo>
                      <a:lnTo>
                        <a:pt x="1250" y="836"/>
                      </a:lnTo>
                      <a:lnTo>
                        <a:pt x="1250" y="830"/>
                      </a:lnTo>
                      <a:lnTo>
                        <a:pt x="1242" y="825"/>
                      </a:lnTo>
                      <a:lnTo>
                        <a:pt x="1239" y="822"/>
                      </a:lnTo>
                      <a:lnTo>
                        <a:pt x="1236" y="817"/>
                      </a:lnTo>
                      <a:lnTo>
                        <a:pt x="1239" y="811"/>
                      </a:lnTo>
                      <a:lnTo>
                        <a:pt x="1244" y="805"/>
                      </a:lnTo>
                      <a:lnTo>
                        <a:pt x="1250" y="803"/>
                      </a:lnTo>
                      <a:lnTo>
                        <a:pt x="1250" y="800"/>
                      </a:lnTo>
                      <a:lnTo>
                        <a:pt x="1252" y="797"/>
                      </a:lnTo>
                      <a:lnTo>
                        <a:pt x="1267" y="777"/>
                      </a:lnTo>
                      <a:lnTo>
                        <a:pt x="1269" y="772"/>
                      </a:lnTo>
                      <a:lnTo>
                        <a:pt x="1272" y="767"/>
                      </a:lnTo>
                      <a:lnTo>
                        <a:pt x="1272" y="764"/>
                      </a:lnTo>
                      <a:lnTo>
                        <a:pt x="1269" y="753"/>
                      </a:lnTo>
                      <a:lnTo>
                        <a:pt x="1275" y="744"/>
                      </a:lnTo>
                      <a:lnTo>
                        <a:pt x="1275" y="736"/>
                      </a:lnTo>
                      <a:lnTo>
                        <a:pt x="1277" y="736"/>
                      </a:lnTo>
                      <a:lnTo>
                        <a:pt x="1277" y="734"/>
                      </a:lnTo>
                      <a:lnTo>
                        <a:pt x="1277" y="731"/>
                      </a:lnTo>
                      <a:lnTo>
                        <a:pt x="1277" y="728"/>
                      </a:lnTo>
                      <a:lnTo>
                        <a:pt x="1269" y="723"/>
                      </a:lnTo>
                      <a:lnTo>
                        <a:pt x="1267" y="718"/>
                      </a:lnTo>
                      <a:lnTo>
                        <a:pt x="1269" y="706"/>
                      </a:lnTo>
                      <a:lnTo>
                        <a:pt x="1264" y="700"/>
                      </a:lnTo>
                      <a:lnTo>
                        <a:pt x="1247" y="690"/>
                      </a:lnTo>
                      <a:lnTo>
                        <a:pt x="1247" y="687"/>
                      </a:lnTo>
                      <a:lnTo>
                        <a:pt x="1244" y="687"/>
                      </a:lnTo>
                      <a:lnTo>
                        <a:pt x="1239" y="690"/>
                      </a:lnTo>
                      <a:lnTo>
                        <a:pt x="1234" y="690"/>
                      </a:lnTo>
                      <a:lnTo>
                        <a:pt x="1234" y="687"/>
                      </a:lnTo>
                      <a:lnTo>
                        <a:pt x="1234" y="675"/>
                      </a:lnTo>
                      <a:lnTo>
                        <a:pt x="1234" y="667"/>
                      </a:lnTo>
                      <a:lnTo>
                        <a:pt x="1225" y="654"/>
                      </a:lnTo>
                      <a:lnTo>
                        <a:pt x="1225" y="649"/>
                      </a:lnTo>
                      <a:lnTo>
                        <a:pt x="1222" y="634"/>
                      </a:lnTo>
                      <a:lnTo>
                        <a:pt x="1222" y="626"/>
                      </a:lnTo>
                      <a:lnTo>
                        <a:pt x="1225" y="618"/>
                      </a:lnTo>
                      <a:lnTo>
                        <a:pt x="1242" y="598"/>
                      </a:lnTo>
                      <a:lnTo>
                        <a:pt x="1244" y="596"/>
                      </a:lnTo>
                      <a:lnTo>
                        <a:pt x="1247" y="593"/>
                      </a:lnTo>
                      <a:lnTo>
                        <a:pt x="1264" y="593"/>
                      </a:lnTo>
                      <a:lnTo>
                        <a:pt x="1264" y="590"/>
                      </a:lnTo>
                      <a:lnTo>
                        <a:pt x="1255" y="585"/>
                      </a:lnTo>
                      <a:lnTo>
                        <a:pt x="1258" y="580"/>
                      </a:lnTo>
                      <a:lnTo>
                        <a:pt x="1260" y="577"/>
                      </a:lnTo>
                      <a:lnTo>
                        <a:pt x="1269" y="574"/>
                      </a:lnTo>
                      <a:lnTo>
                        <a:pt x="1275" y="568"/>
                      </a:lnTo>
                      <a:lnTo>
                        <a:pt x="1275" y="560"/>
                      </a:lnTo>
                      <a:lnTo>
                        <a:pt x="1280" y="544"/>
                      </a:lnTo>
                      <a:lnTo>
                        <a:pt x="1283" y="541"/>
                      </a:lnTo>
                      <a:lnTo>
                        <a:pt x="1288" y="524"/>
                      </a:lnTo>
                      <a:lnTo>
                        <a:pt x="1294" y="524"/>
                      </a:lnTo>
                      <a:lnTo>
                        <a:pt x="1297" y="527"/>
                      </a:lnTo>
                      <a:lnTo>
                        <a:pt x="1300" y="527"/>
                      </a:lnTo>
                      <a:lnTo>
                        <a:pt x="1303" y="519"/>
                      </a:lnTo>
                      <a:lnTo>
                        <a:pt x="1305" y="511"/>
                      </a:lnTo>
                      <a:lnTo>
                        <a:pt x="1324" y="496"/>
                      </a:lnTo>
                      <a:lnTo>
                        <a:pt x="1329" y="491"/>
                      </a:lnTo>
                      <a:lnTo>
                        <a:pt x="1329" y="483"/>
                      </a:lnTo>
                      <a:lnTo>
                        <a:pt x="1329" y="480"/>
                      </a:lnTo>
                      <a:lnTo>
                        <a:pt x="1329" y="475"/>
                      </a:lnTo>
                      <a:lnTo>
                        <a:pt x="1346" y="447"/>
                      </a:lnTo>
                      <a:lnTo>
                        <a:pt x="1349" y="444"/>
                      </a:lnTo>
                      <a:lnTo>
                        <a:pt x="1352" y="442"/>
                      </a:lnTo>
                      <a:lnTo>
                        <a:pt x="1349" y="436"/>
                      </a:lnTo>
                      <a:lnTo>
                        <a:pt x="1346" y="427"/>
                      </a:lnTo>
                      <a:lnTo>
                        <a:pt x="1349" y="425"/>
                      </a:lnTo>
                      <a:lnTo>
                        <a:pt x="1352" y="419"/>
                      </a:lnTo>
                      <a:lnTo>
                        <a:pt x="1352" y="414"/>
                      </a:lnTo>
                      <a:lnTo>
                        <a:pt x="1346" y="403"/>
                      </a:lnTo>
                      <a:lnTo>
                        <a:pt x="1346" y="400"/>
                      </a:lnTo>
                      <a:lnTo>
                        <a:pt x="1346" y="398"/>
                      </a:lnTo>
                      <a:lnTo>
                        <a:pt x="1349" y="391"/>
                      </a:lnTo>
                      <a:lnTo>
                        <a:pt x="1357" y="383"/>
                      </a:lnTo>
                      <a:lnTo>
                        <a:pt x="1366" y="373"/>
                      </a:lnTo>
                      <a:lnTo>
                        <a:pt x="1372" y="373"/>
                      </a:lnTo>
                      <a:lnTo>
                        <a:pt x="1374" y="367"/>
                      </a:lnTo>
                      <a:lnTo>
                        <a:pt x="1374" y="365"/>
                      </a:lnTo>
                      <a:lnTo>
                        <a:pt x="1377" y="356"/>
                      </a:lnTo>
                      <a:lnTo>
                        <a:pt x="1385" y="350"/>
                      </a:lnTo>
                      <a:lnTo>
                        <a:pt x="1390" y="347"/>
                      </a:lnTo>
                      <a:lnTo>
                        <a:pt x="1396" y="342"/>
                      </a:lnTo>
                      <a:lnTo>
                        <a:pt x="1407" y="329"/>
                      </a:lnTo>
                      <a:lnTo>
                        <a:pt x="1407" y="325"/>
                      </a:lnTo>
                      <a:lnTo>
                        <a:pt x="1407" y="322"/>
                      </a:lnTo>
                      <a:lnTo>
                        <a:pt x="1407" y="320"/>
                      </a:lnTo>
                      <a:lnTo>
                        <a:pt x="1410" y="314"/>
                      </a:lnTo>
                      <a:lnTo>
                        <a:pt x="1418" y="309"/>
                      </a:lnTo>
                      <a:lnTo>
                        <a:pt x="1418" y="301"/>
                      </a:lnTo>
                      <a:lnTo>
                        <a:pt x="1421" y="295"/>
                      </a:lnTo>
                      <a:lnTo>
                        <a:pt x="1423" y="298"/>
                      </a:lnTo>
                      <a:lnTo>
                        <a:pt x="1426" y="298"/>
                      </a:lnTo>
                      <a:lnTo>
                        <a:pt x="1426" y="306"/>
                      </a:lnTo>
                      <a:lnTo>
                        <a:pt x="1432" y="312"/>
                      </a:lnTo>
                      <a:lnTo>
                        <a:pt x="1435" y="312"/>
                      </a:lnTo>
                      <a:lnTo>
                        <a:pt x="1438" y="312"/>
                      </a:lnTo>
                      <a:lnTo>
                        <a:pt x="1443" y="309"/>
                      </a:lnTo>
                      <a:lnTo>
                        <a:pt x="1449" y="301"/>
                      </a:lnTo>
                      <a:lnTo>
                        <a:pt x="1451" y="301"/>
                      </a:lnTo>
                      <a:lnTo>
                        <a:pt x="1454" y="301"/>
                      </a:lnTo>
                      <a:lnTo>
                        <a:pt x="1454" y="306"/>
                      </a:lnTo>
                      <a:lnTo>
                        <a:pt x="1457" y="309"/>
                      </a:lnTo>
                      <a:lnTo>
                        <a:pt x="1462" y="306"/>
                      </a:lnTo>
                      <a:lnTo>
                        <a:pt x="1465" y="301"/>
                      </a:lnTo>
                      <a:lnTo>
                        <a:pt x="1465" y="295"/>
                      </a:lnTo>
                      <a:lnTo>
                        <a:pt x="1474" y="298"/>
                      </a:lnTo>
                      <a:lnTo>
                        <a:pt x="1479" y="298"/>
                      </a:lnTo>
                      <a:lnTo>
                        <a:pt x="1490" y="289"/>
                      </a:lnTo>
                      <a:lnTo>
                        <a:pt x="1493" y="292"/>
                      </a:lnTo>
                      <a:lnTo>
                        <a:pt x="1504" y="298"/>
                      </a:lnTo>
                      <a:lnTo>
                        <a:pt x="1507" y="298"/>
                      </a:lnTo>
                      <a:lnTo>
                        <a:pt x="1512" y="295"/>
                      </a:lnTo>
                      <a:lnTo>
                        <a:pt x="1526" y="289"/>
                      </a:lnTo>
                      <a:lnTo>
                        <a:pt x="1540" y="292"/>
                      </a:lnTo>
                      <a:lnTo>
                        <a:pt x="1543" y="289"/>
                      </a:lnTo>
                      <a:lnTo>
                        <a:pt x="1543" y="292"/>
                      </a:lnTo>
                      <a:lnTo>
                        <a:pt x="1545" y="286"/>
                      </a:lnTo>
                      <a:lnTo>
                        <a:pt x="1543" y="278"/>
                      </a:lnTo>
                      <a:lnTo>
                        <a:pt x="1548" y="276"/>
                      </a:lnTo>
                      <a:lnTo>
                        <a:pt x="1548" y="273"/>
                      </a:lnTo>
                      <a:lnTo>
                        <a:pt x="1562" y="270"/>
                      </a:lnTo>
                      <a:lnTo>
                        <a:pt x="1567" y="260"/>
                      </a:lnTo>
                      <a:lnTo>
                        <a:pt x="1573" y="256"/>
                      </a:lnTo>
                      <a:lnTo>
                        <a:pt x="1573" y="253"/>
                      </a:lnTo>
                      <a:lnTo>
                        <a:pt x="1573" y="248"/>
                      </a:lnTo>
                      <a:lnTo>
                        <a:pt x="1576" y="243"/>
                      </a:lnTo>
                      <a:lnTo>
                        <a:pt x="1579" y="240"/>
                      </a:lnTo>
                      <a:lnTo>
                        <a:pt x="1584" y="240"/>
                      </a:lnTo>
                      <a:lnTo>
                        <a:pt x="1584" y="237"/>
                      </a:lnTo>
                      <a:lnTo>
                        <a:pt x="1584" y="235"/>
                      </a:lnTo>
                      <a:lnTo>
                        <a:pt x="1584" y="232"/>
                      </a:lnTo>
                      <a:lnTo>
                        <a:pt x="1581" y="232"/>
                      </a:lnTo>
                      <a:lnTo>
                        <a:pt x="1571" y="232"/>
                      </a:lnTo>
                      <a:lnTo>
                        <a:pt x="1571" y="226"/>
                      </a:lnTo>
                      <a:lnTo>
                        <a:pt x="1573" y="224"/>
                      </a:lnTo>
                      <a:lnTo>
                        <a:pt x="1579" y="217"/>
                      </a:lnTo>
                      <a:lnTo>
                        <a:pt x="1592" y="217"/>
                      </a:lnTo>
                      <a:lnTo>
                        <a:pt x="1597" y="215"/>
                      </a:lnTo>
                      <a:lnTo>
                        <a:pt x="1612" y="212"/>
                      </a:lnTo>
                      <a:lnTo>
                        <a:pt x="1620" y="212"/>
                      </a:lnTo>
                      <a:lnTo>
                        <a:pt x="1625" y="209"/>
                      </a:lnTo>
                      <a:lnTo>
                        <a:pt x="1631" y="201"/>
                      </a:lnTo>
                      <a:lnTo>
                        <a:pt x="1633" y="201"/>
                      </a:lnTo>
                      <a:lnTo>
                        <a:pt x="1633" y="199"/>
                      </a:lnTo>
                      <a:lnTo>
                        <a:pt x="1636" y="191"/>
                      </a:lnTo>
                      <a:lnTo>
                        <a:pt x="1640" y="184"/>
                      </a:lnTo>
                      <a:lnTo>
                        <a:pt x="1642" y="184"/>
                      </a:lnTo>
                      <a:lnTo>
                        <a:pt x="1648" y="187"/>
                      </a:lnTo>
                      <a:lnTo>
                        <a:pt x="1650" y="187"/>
                      </a:lnTo>
                      <a:lnTo>
                        <a:pt x="1650" y="174"/>
                      </a:lnTo>
                      <a:lnTo>
                        <a:pt x="1650" y="171"/>
                      </a:lnTo>
                      <a:lnTo>
                        <a:pt x="1656" y="166"/>
                      </a:lnTo>
                      <a:lnTo>
                        <a:pt x="1656" y="158"/>
                      </a:lnTo>
                      <a:lnTo>
                        <a:pt x="1656" y="155"/>
                      </a:lnTo>
                      <a:lnTo>
                        <a:pt x="1658" y="151"/>
                      </a:lnTo>
                      <a:lnTo>
                        <a:pt x="1664" y="148"/>
                      </a:lnTo>
                      <a:lnTo>
                        <a:pt x="1669" y="146"/>
                      </a:lnTo>
                      <a:lnTo>
                        <a:pt x="1678" y="135"/>
                      </a:lnTo>
                      <a:lnTo>
                        <a:pt x="1681" y="130"/>
                      </a:lnTo>
                      <a:lnTo>
                        <a:pt x="1691" y="122"/>
                      </a:lnTo>
                      <a:lnTo>
                        <a:pt x="1697" y="119"/>
                      </a:lnTo>
                      <a:lnTo>
                        <a:pt x="1700" y="105"/>
                      </a:lnTo>
                      <a:lnTo>
                        <a:pt x="1700" y="102"/>
                      </a:lnTo>
                      <a:lnTo>
                        <a:pt x="1709" y="94"/>
                      </a:lnTo>
                      <a:lnTo>
                        <a:pt x="1705" y="86"/>
                      </a:lnTo>
                      <a:lnTo>
                        <a:pt x="1702" y="82"/>
                      </a:lnTo>
                      <a:lnTo>
                        <a:pt x="1691" y="74"/>
                      </a:lnTo>
                      <a:lnTo>
                        <a:pt x="1689" y="71"/>
                      </a:lnTo>
                      <a:lnTo>
                        <a:pt x="1683" y="63"/>
                      </a:lnTo>
                      <a:lnTo>
                        <a:pt x="1678" y="58"/>
                      </a:lnTo>
                      <a:lnTo>
                        <a:pt x="1681" y="46"/>
                      </a:lnTo>
                      <a:lnTo>
                        <a:pt x="1681" y="38"/>
                      </a:lnTo>
                      <a:lnTo>
                        <a:pt x="1689" y="36"/>
                      </a:lnTo>
                      <a:lnTo>
                        <a:pt x="1689" y="33"/>
                      </a:lnTo>
                      <a:lnTo>
                        <a:pt x="1686" y="28"/>
                      </a:lnTo>
                      <a:lnTo>
                        <a:pt x="1686" y="14"/>
                      </a:lnTo>
                      <a:lnTo>
                        <a:pt x="1694" y="5"/>
                      </a:lnTo>
                      <a:lnTo>
                        <a:pt x="1700" y="0"/>
                      </a:lnTo>
                      <a:lnTo>
                        <a:pt x="1705" y="2"/>
                      </a:lnTo>
                      <a:lnTo>
                        <a:pt x="1711" y="14"/>
                      </a:lnTo>
                      <a:lnTo>
                        <a:pt x="1725" y="25"/>
                      </a:lnTo>
                      <a:lnTo>
                        <a:pt x="1733" y="28"/>
                      </a:lnTo>
                      <a:lnTo>
                        <a:pt x="1735" y="28"/>
                      </a:lnTo>
                      <a:lnTo>
                        <a:pt x="1752" y="44"/>
                      </a:lnTo>
                      <a:lnTo>
                        <a:pt x="1763" y="50"/>
                      </a:lnTo>
                      <a:lnTo>
                        <a:pt x="1763" y="53"/>
                      </a:lnTo>
                      <a:lnTo>
                        <a:pt x="1774" y="61"/>
                      </a:lnTo>
                      <a:lnTo>
                        <a:pt x="1791" y="69"/>
                      </a:lnTo>
                      <a:lnTo>
                        <a:pt x="1794" y="69"/>
                      </a:lnTo>
                      <a:lnTo>
                        <a:pt x="1802" y="66"/>
                      </a:lnTo>
                      <a:lnTo>
                        <a:pt x="1804" y="66"/>
                      </a:lnTo>
                      <a:lnTo>
                        <a:pt x="1813" y="71"/>
                      </a:lnTo>
                      <a:lnTo>
                        <a:pt x="1824" y="71"/>
                      </a:lnTo>
                      <a:lnTo>
                        <a:pt x="1829" y="66"/>
                      </a:lnTo>
                      <a:lnTo>
                        <a:pt x="1835" y="66"/>
                      </a:lnTo>
                      <a:lnTo>
                        <a:pt x="1849" y="69"/>
                      </a:lnTo>
                      <a:lnTo>
                        <a:pt x="1852" y="71"/>
                      </a:lnTo>
                      <a:lnTo>
                        <a:pt x="1855" y="69"/>
                      </a:lnTo>
                      <a:lnTo>
                        <a:pt x="1860" y="71"/>
                      </a:lnTo>
                      <a:lnTo>
                        <a:pt x="1868" y="69"/>
                      </a:lnTo>
                      <a:lnTo>
                        <a:pt x="1880" y="74"/>
                      </a:lnTo>
                      <a:lnTo>
                        <a:pt x="1882" y="74"/>
                      </a:lnTo>
                      <a:lnTo>
                        <a:pt x="1893" y="79"/>
                      </a:lnTo>
                      <a:lnTo>
                        <a:pt x="1896" y="77"/>
                      </a:lnTo>
                      <a:lnTo>
                        <a:pt x="1898" y="77"/>
                      </a:lnTo>
                      <a:lnTo>
                        <a:pt x="1898" y="89"/>
                      </a:lnTo>
                      <a:lnTo>
                        <a:pt x="1901" y="89"/>
                      </a:lnTo>
                      <a:lnTo>
                        <a:pt x="1901" y="91"/>
                      </a:lnTo>
                      <a:lnTo>
                        <a:pt x="1909" y="97"/>
                      </a:lnTo>
                      <a:lnTo>
                        <a:pt x="1916" y="97"/>
                      </a:lnTo>
                      <a:lnTo>
                        <a:pt x="1921" y="97"/>
                      </a:lnTo>
                      <a:lnTo>
                        <a:pt x="1921" y="102"/>
                      </a:lnTo>
                      <a:lnTo>
                        <a:pt x="1926" y="110"/>
                      </a:lnTo>
                      <a:lnTo>
                        <a:pt x="1926" y="115"/>
                      </a:lnTo>
                      <a:lnTo>
                        <a:pt x="1929" y="122"/>
                      </a:lnTo>
                      <a:lnTo>
                        <a:pt x="1926" y="122"/>
                      </a:lnTo>
                      <a:lnTo>
                        <a:pt x="1929" y="124"/>
                      </a:lnTo>
                      <a:lnTo>
                        <a:pt x="1926" y="130"/>
                      </a:lnTo>
                      <a:lnTo>
                        <a:pt x="1926" y="132"/>
                      </a:lnTo>
                      <a:lnTo>
                        <a:pt x="1924" y="138"/>
                      </a:lnTo>
                      <a:lnTo>
                        <a:pt x="1926" y="138"/>
                      </a:lnTo>
                      <a:lnTo>
                        <a:pt x="1926" y="146"/>
                      </a:lnTo>
                      <a:lnTo>
                        <a:pt x="1921" y="148"/>
                      </a:lnTo>
                      <a:lnTo>
                        <a:pt x="1921" y="151"/>
                      </a:lnTo>
                      <a:lnTo>
                        <a:pt x="1916" y="151"/>
                      </a:lnTo>
                      <a:lnTo>
                        <a:pt x="1916" y="158"/>
                      </a:lnTo>
                      <a:lnTo>
                        <a:pt x="1909" y="163"/>
                      </a:lnTo>
                      <a:lnTo>
                        <a:pt x="1901" y="171"/>
                      </a:lnTo>
                      <a:lnTo>
                        <a:pt x="1898" y="176"/>
                      </a:lnTo>
                      <a:lnTo>
                        <a:pt x="1898" y="184"/>
                      </a:lnTo>
                      <a:lnTo>
                        <a:pt x="1873" y="229"/>
                      </a:lnTo>
                      <a:lnTo>
                        <a:pt x="1868" y="243"/>
                      </a:lnTo>
                      <a:lnTo>
                        <a:pt x="1868" y="245"/>
                      </a:lnTo>
                      <a:lnTo>
                        <a:pt x="1863" y="251"/>
                      </a:lnTo>
                      <a:lnTo>
                        <a:pt x="1863" y="256"/>
                      </a:lnTo>
                      <a:lnTo>
                        <a:pt x="1860" y="262"/>
                      </a:lnTo>
                      <a:lnTo>
                        <a:pt x="1860" y="265"/>
                      </a:lnTo>
                      <a:lnTo>
                        <a:pt x="1868" y="262"/>
                      </a:lnTo>
                      <a:lnTo>
                        <a:pt x="1868" y="268"/>
                      </a:lnTo>
                      <a:lnTo>
                        <a:pt x="1868" y="276"/>
                      </a:lnTo>
                      <a:lnTo>
                        <a:pt x="1871" y="276"/>
                      </a:lnTo>
                      <a:lnTo>
                        <a:pt x="1873" y="281"/>
                      </a:lnTo>
                      <a:lnTo>
                        <a:pt x="1888" y="281"/>
                      </a:lnTo>
                      <a:lnTo>
                        <a:pt x="1890" y="281"/>
                      </a:lnTo>
                      <a:lnTo>
                        <a:pt x="1890" y="284"/>
                      </a:lnTo>
                      <a:lnTo>
                        <a:pt x="1890" y="292"/>
                      </a:lnTo>
                      <a:lnTo>
                        <a:pt x="1890" y="298"/>
                      </a:lnTo>
                      <a:lnTo>
                        <a:pt x="1896" y="304"/>
                      </a:lnTo>
                      <a:lnTo>
                        <a:pt x="1898" y="314"/>
                      </a:lnTo>
                      <a:lnTo>
                        <a:pt x="1898" y="317"/>
                      </a:lnTo>
                      <a:lnTo>
                        <a:pt x="1904" y="314"/>
                      </a:lnTo>
                      <a:lnTo>
                        <a:pt x="1909" y="314"/>
                      </a:lnTo>
                      <a:lnTo>
                        <a:pt x="1901" y="317"/>
                      </a:lnTo>
                      <a:lnTo>
                        <a:pt x="1898" y="320"/>
                      </a:lnTo>
                      <a:lnTo>
                        <a:pt x="1898" y="334"/>
                      </a:lnTo>
                      <a:lnTo>
                        <a:pt x="1893" y="342"/>
                      </a:lnTo>
                      <a:lnTo>
                        <a:pt x="1882" y="342"/>
                      </a:lnTo>
                      <a:lnTo>
                        <a:pt x="1882" y="345"/>
                      </a:lnTo>
                      <a:lnTo>
                        <a:pt x="1880" y="347"/>
                      </a:lnTo>
                      <a:lnTo>
                        <a:pt x="1880" y="350"/>
                      </a:lnTo>
                      <a:lnTo>
                        <a:pt x="1885" y="353"/>
                      </a:lnTo>
                      <a:lnTo>
                        <a:pt x="1890" y="356"/>
                      </a:lnTo>
                      <a:lnTo>
                        <a:pt x="1896" y="370"/>
                      </a:lnTo>
                      <a:lnTo>
                        <a:pt x="1893" y="389"/>
                      </a:lnTo>
                      <a:lnTo>
                        <a:pt x="1890" y="391"/>
                      </a:lnTo>
                      <a:lnTo>
                        <a:pt x="1893" y="394"/>
                      </a:lnTo>
                      <a:lnTo>
                        <a:pt x="1898" y="398"/>
                      </a:lnTo>
                      <a:lnTo>
                        <a:pt x="1907" y="398"/>
                      </a:lnTo>
                      <a:lnTo>
                        <a:pt x="1912" y="398"/>
                      </a:lnTo>
                      <a:lnTo>
                        <a:pt x="1918" y="403"/>
                      </a:lnTo>
                      <a:lnTo>
                        <a:pt x="1926" y="403"/>
                      </a:lnTo>
                      <a:lnTo>
                        <a:pt x="1934" y="408"/>
                      </a:lnTo>
                      <a:lnTo>
                        <a:pt x="1934" y="411"/>
                      </a:lnTo>
                      <a:lnTo>
                        <a:pt x="1929" y="411"/>
                      </a:lnTo>
                      <a:lnTo>
                        <a:pt x="1926" y="414"/>
                      </a:lnTo>
                      <a:lnTo>
                        <a:pt x="1924" y="427"/>
                      </a:lnTo>
                      <a:lnTo>
                        <a:pt x="1929" y="434"/>
                      </a:lnTo>
                      <a:lnTo>
                        <a:pt x="1924" y="442"/>
                      </a:lnTo>
                      <a:lnTo>
                        <a:pt x="1909" y="455"/>
                      </a:lnTo>
                      <a:lnTo>
                        <a:pt x="1909" y="458"/>
                      </a:lnTo>
                      <a:lnTo>
                        <a:pt x="1916" y="452"/>
                      </a:lnTo>
                      <a:lnTo>
                        <a:pt x="1916" y="455"/>
                      </a:lnTo>
                      <a:lnTo>
                        <a:pt x="1918" y="455"/>
                      </a:lnTo>
                      <a:lnTo>
                        <a:pt x="1921" y="463"/>
                      </a:lnTo>
                      <a:lnTo>
                        <a:pt x="1921" y="466"/>
                      </a:lnTo>
                      <a:lnTo>
                        <a:pt x="1924" y="469"/>
                      </a:lnTo>
                      <a:lnTo>
                        <a:pt x="1926" y="472"/>
                      </a:lnTo>
                      <a:lnTo>
                        <a:pt x="1926" y="475"/>
                      </a:lnTo>
                      <a:lnTo>
                        <a:pt x="1929" y="480"/>
                      </a:lnTo>
                      <a:lnTo>
                        <a:pt x="1932" y="485"/>
                      </a:lnTo>
                      <a:lnTo>
                        <a:pt x="1937" y="491"/>
                      </a:lnTo>
                      <a:lnTo>
                        <a:pt x="1942" y="503"/>
                      </a:lnTo>
                      <a:lnTo>
                        <a:pt x="1937" y="516"/>
                      </a:lnTo>
                      <a:lnTo>
                        <a:pt x="1934" y="516"/>
                      </a:lnTo>
                      <a:lnTo>
                        <a:pt x="1934" y="519"/>
                      </a:lnTo>
                      <a:lnTo>
                        <a:pt x="1932" y="519"/>
                      </a:lnTo>
                      <a:lnTo>
                        <a:pt x="1932" y="521"/>
                      </a:lnTo>
                      <a:lnTo>
                        <a:pt x="1929" y="524"/>
                      </a:lnTo>
                      <a:lnTo>
                        <a:pt x="1932" y="529"/>
                      </a:lnTo>
                      <a:lnTo>
                        <a:pt x="1934" y="535"/>
                      </a:lnTo>
                      <a:lnTo>
                        <a:pt x="1926" y="541"/>
                      </a:lnTo>
                      <a:lnTo>
                        <a:pt x="1926" y="544"/>
                      </a:lnTo>
                      <a:lnTo>
                        <a:pt x="1929" y="544"/>
                      </a:lnTo>
                      <a:lnTo>
                        <a:pt x="1934" y="541"/>
                      </a:lnTo>
                      <a:lnTo>
                        <a:pt x="1940" y="538"/>
                      </a:lnTo>
                      <a:lnTo>
                        <a:pt x="1945" y="538"/>
                      </a:lnTo>
                      <a:lnTo>
                        <a:pt x="1951" y="535"/>
                      </a:lnTo>
                      <a:lnTo>
                        <a:pt x="1954" y="538"/>
                      </a:lnTo>
                      <a:lnTo>
                        <a:pt x="1957" y="535"/>
                      </a:lnTo>
                      <a:lnTo>
                        <a:pt x="1957" y="538"/>
                      </a:lnTo>
                      <a:lnTo>
                        <a:pt x="1962" y="541"/>
                      </a:lnTo>
                      <a:lnTo>
                        <a:pt x="1965" y="541"/>
                      </a:lnTo>
                      <a:lnTo>
                        <a:pt x="1973" y="544"/>
                      </a:lnTo>
                      <a:lnTo>
                        <a:pt x="1981" y="544"/>
                      </a:lnTo>
                      <a:lnTo>
                        <a:pt x="1985" y="546"/>
                      </a:lnTo>
                      <a:lnTo>
                        <a:pt x="1985" y="549"/>
                      </a:lnTo>
                      <a:lnTo>
                        <a:pt x="1978" y="554"/>
                      </a:lnTo>
                      <a:lnTo>
                        <a:pt x="1981" y="560"/>
                      </a:lnTo>
                      <a:lnTo>
                        <a:pt x="1976" y="577"/>
                      </a:lnTo>
                      <a:lnTo>
                        <a:pt x="1973" y="580"/>
                      </a:lnTo>
                      <a:lnTo>
                        <a:pt x="1978" y="588"/>
                      </a:lnTo>
                      <a:lnTo>
                        <a:pt x="1978" y="593"/>
                      </a:lnTo>
                      <a:lnTo>
                        <a:pt x="1985" y="596"/>
                      </a:lnTo>
                      <a:lnTo>
                        <a:pt x="1995" y="598"/>
                      </a:lnTo>
                      <a:lnTo>
                        <a:pt x="1990" y="604"/>
                      </a:lnTo>
                      <a:lnTo>
                        <a:pt x="1976" y="626"/>
                      </a:lnTo>
                      <a:lnTo>
                        <a:pt x="1981" y="659"/>
                      </a:lnTo>
                      <a:lnTo>
                        <a:pt x="1981" y="665"/>
                      </a:lnTo>
                      <a:lnTo>
                        <a:pt x="1981" y="667"/>
                      </a:lnTo>
                      <a:lnTo>
                        <a:pt x="1976" y="670"/>
                      </a:lnTo>
                      <a:lnTo>
                        <a:pt x="1970" y="682"/>
                      </a:lnTo>
                      <a:lnTo>
                        <a:pt x="1965" y="687"/>
                      </a:lnTo>
                      <a:lnTo>
                        <a:pt x="1965" y="690"/>
                      </a:lnTo>
                      <a:lnTo>
                        <a:pt x="1965" y="700"/>
                      </a:lnTo>
                      <a:lnTo>
                        <a:pt x="1959" y="712"/>
                      </a:lnTo>
                      <a:lnTo>
                        <a:pt x="1959" y="715"/>
                      </a:lnTo>
                      <a:lnTo>
                        <a:pt x="1959" y="726"/>
                      </a:lnTo>
                      <a:lnTo>
                        <a:pt x="1954" y="734"/>
                      </a:lnTo>
                      <a:lnTo>
                        <a:pt x="1954" y="744"/>
                      </a:lnTo>
                      <a:lnTo>
                        <a:pt x="1949" y="751"/>
                      </a:lnTo>
                      <a:lnTo>
                        <a:pt x="1945" y="759"/>
                      </a:lnTo>
                      <a:lnTo>
                        <a:pt x="1942" y="759"/>
                      </a:lnTo>
                      <a:lnTo>
                        <a:pt x="1940" y="767"/>
                      </a:lnTo>
                      <a:lnTo>
                        <a:pt x="1934" y="767"/>
                      </a:lnTo>
                      <a:lnTo>
                        <a:pt x="1932" y="767"/>
                      </a:lnTo>
                      <a:lnTo>
                        <a:pt x="1934" y="769"/>
                      </a:lnTo>
                      <a:lnTo>
                        <a:pt x="1940" y="769"/>
                      </a:lnTo>
                      <a:lnTo>
                        <a:pt x="1940" y="772"/>
                      </a:lnTo>
                      <a:lnTo>
                        <a:pt x="1940" y="775"/>
                      </a:lnTo>
                      <a:lnTo>
                        <a:pt x="1937" y="784"/>
                      </a:lnTo>
                      <a:lnTo>
                        <a:pt x="1937" y="789"/>
                      </a:lnTo>
                      <a:lnTo>
                        <a:pt x="1949" y="795"/>
                      </a:lnTo>
                      <a:lnTo>
                        <a:pt x="1957" y="805"/>
                      </a:lnTo>
                      <a:lnTo>
                        <a:pt x="1959" y="808"/>
                      </a:lnTo>
                      <a:lnTo>
                        <a:pt x="1949" y="822"/>
                      </a:lnTo>
                      <a:lnTo>
                        <a:pt x="1937" y="833"/>
                      </a:lnTo>
                      <a:lnTo>
                        <a:pt x="1934" y="839"/>
                      </a:lnTo>
                      <a:lnTo>
                        <a:pt x="1934" y="841"/>
                      </a:lnTo>
                      <a:lnTo>
                        <a:pt x="1929" y="844"/>
                      </a:lnTo>
                      <a:lnTo>
                        <a:pt x="1929" y="847"/>
                      </a:lnTo>
                      <a:lnTo>
                        <a:pt x="1934" y="849"/>
                      </a:lnTo>
                      <a:lnTo>
                        <a:pt x="1945" y="853"/>
                      </a:lnTo>
                      <a:lnTo>
                        <a:pt x="1945" y="856"/>
                      </a:lnTo>
                      <a:lnTo>
                        <a:pt x="1940" y="858"/>
                      </a:lnTo>
                      <a:lnTo>
                        <a:pt x="1937" y="866"/>
                      </a:lnTo>
                      <a:lnTo>
                        <a:pt x="1937" y="869"/>
                      </a:lnTo>
                      <a:lnTo>
                        <a:pt x="1932" y="872"/>
                      </a:lnTo>
                      <a:lnTo>
                        <a:pt x="1934" y="885"/>
                      </a:lnTo>
                      <a:lnTo>
                        <a:pt x="1929" y="891"/>
                      </a:lnTo>
                      <a:lnTo>
                        <a:pt x="1937" y="902"/>
                      </a:lnTo>
                      <a:lnTo>
                        <a:pt x="1934" y="907"/>
                      </a:lnTo>
                      <a:lnTo>
                        <a:pt x="1940" y="916"/>
                      </a:lnTo>
                      <a:lnTo>
                        <a:pt x="1940" y="922"/>
                      </a:lnTo>
                      <a:lnTo>
                        <a:pt x="1942" y="922"/>
                      </a:lnTo>
                      <a:lnTo>
                        <a:pt x="1945" y="922"/>
                      </a:lnTo>
                      <a:lnTo>
                        <a:pt x="1945" y="925"/>
                      </a:lnTo>
                      <a:lnTo>
                        <a:pt x="1949" y="927"/>
                      </a:lnTo>
                      <a:lnTo>
                        <a:pt x="1951" y="922"/>
                      </a:lnTo>
                      <a:lnTo>
                        <a:pt x="1957" y="925"/>
                      </a:lnTo>
                      <a:lnTo>
                        <a:pt x="1970" y="943"/>
                      </a:lnTo>
                      <a:lnTo>
                        <a:pt x="1973" y="941"/>
                      </a:lnTo>
                      <a:lnTo>
                        <a:pt x="1976" y="941"/>
                      </a:lnTo>
                      <a:lnTo>
                        <a:pt x="1976" y="946"/>
                      </a:lnTo>
                      <a:lnTo>
                        <a:pt x="1981" y="949"/>
                      </a:lnTo>
                      <a:lnTo>
                        <a:pt x="1981" y="958"/>
                      </a:lnTo>
                      <a:lnTo>
                        <a:pt x="1978" y="968"/>
                      </a:lnTo>
                      <a:lnTo>
                        <a:pt x="1993" y="968"/>
                      </a:lnTo>
                      <a:lnTo>
                        <a:pt x="1993" y="974"/>
                      </a:lnTo>
                      <a:lnTo>
                        <a:pt x="1995" y="974"/>
                      </a:lnTo>
                      <a:lnTo>
                        <a:pt x="1995" y="976"/>
                      </a:lnTo>
                      <a:lnTo>
                        <a:pt x="1998" y="979"/>
                      </a:lnTo>
                      <a:lnTo>
                        <a:pt x="1998" y="985"/>
                      </a:lnTo>
                      <a:lnTo>
                        <a:pt x="2009" y="990"/>
                      </a:lnTo>
                      <a:lnTo>
                        <a:pt x="2014" y="985"/>
                      </a:lnTo>
                      <a:lnTo>
                        <a:pt x="2018" y="985"/>
                      </a:lnTo>
                      <a:lnTo>
                        <a:pt x="2020" y="994"/>
                      </a:lnTo>
                      <a:lnTo>
                        <a:pt x="2026" y="990"/>
                      </a:lnTo>
                      <a:lnTo>
                        <a:pt x="2026" y="999"/>
                      </a:lnTo>
                      <a:lnTo>
                        <a:pt x="2036" y="1004"/>
                      </a:lnTo>
                      <a:lnTo>
                        <a:pt x="2039" y="1012"/>
                      </a:lnTo>
                      <a:lnTo>
                        <a:pt x="2042" y="1010"/>
                      </a:lnTo>
                      <a:lnTo>
                        <a:pt x="2045" y="1010"/>
                      </a:lnTo>
                      <a:lnTo>
                        <a:pt x="2050" y="1018"/>
                      </a:lnTo>
                      <a:lnTo>
                        <a:pt x="2056" y="1018"/>
                      </a:lnTo>
                      <a:lnTo>
                        <a:pt x="2059" y="1018"/>
                      </a:lnTo>
                      <a:lnTo>
                        <a:pt x="2062" y="1023"/>
                      </a:lnTo>
                      <a:lnTo>
                        <a:pt x="2059" y="1032"/>
                      </a:lnTo>
                      <a:lnTo>
                        <a:pt x="2062" y="1043"/>
                      </a:lnTo>
                      <a:lnTo>
                        <a:pt x="2054" y="1048"/>
                      </a:lnTo>
                      <a:lnTo>
                        <a:pt x="2062" y="1053"/>
                      </a:lnTo>
                      <a:lnTo>
                        <a:pt x="2064" y="1053"/>
                      </a:lnTo>
                      <a:lnTo>
                        <a:pt x="2067" y="1059"/>
                      </a:lnTo>
                      <a:lnTo>
                        <a:pt x="2062" y="1063"/>
                      </a:lnTo>
                      <a:lnTo>
                        <a:pt x="2062" y="1065"/>
                      </a:lnTo>
                      <a:lnTo>
                        <a:pt x="2062" y="1071"/>
                      </a:lnTo>
                      <a:lnTo>
                        <a:pt x="2062" y="1073"/>
                      </a:lnTo>
                      <a:lnTo>
                        <a:pt x="2067" y="1076"/>
                      </a:lnTo>
                      <a:lnTo>
                        <a:pt x="2067" y="1081"/>
                      </a:lnTo>
                      <a:lnTo>
                        <a:pt x="2064" y="1089"/>
                      </a:lnTo>
                      <a:lnTo>
                        <a:pt x="2059" y="1092"/>
                      </a:lnTo>
                      <a:lnTo>
                        <a:pt x="2056" y="1101"/>
                      </a:lnTo>
                      <a:lnTo>
                        <a:pt x="2059" y="1104"/>
                      </a:lnTo>
                      <a:lnTo>
                        <a:pt x="2064" y="1112"/>
                      </a:lnTo>
                      <a:lnTo>
                        <a:pt x="2067" y="1117"/>
                      </a:lnTo>
                      <a:lnTo>
                        <a:pt x="2064" y="1120"/>
                      </a:lnTo>
                      <a:lnTo>
                        <a:pt x="2056" y="1120"/>
                      </a:lnTo>
                      <a:lnTo>
                        <a:pt x="2054" y="1122"/>
                      </a:lnTo>
                      <a:lnTo>
                        <a:pt x="2054" y="1125"/>
                      </a:lnTo>
                      <a:lnTo>
                        <a:pt x="2056" y="1132"/>
                      </a:lnTo>
                      <a:lnTo>
                        <a:pt x="2059" y="1134"/>
                      </a:lnTo>
                      <a:lnTo>
                        <a:pt x="2062" y="1137"/>
                      </a:lnTo>
                      <a:lnTo>
                        <a:pt x="2064" y="1142"/>
                      </a:lnTo>
                      <a:lnTo>
                        <a:pt x="2064" y="1145"/>
                      </a:lnTo>
                      <a:lnTo>
                        <a:pt x="2059" y="1150"/>
                      </a:lnTo>
                      <a:lnTo>
                        <a:pt x="2059" y="1153"/>
                      </a:lnTo>
                      <a:lnTo>
                        <a:pt x="2059" y="1156"/>
                      </a:lnTo>
                      <a:lnTo>
                        <a:pt x="2059" y="1158"/>
                      </a:lnTo>
                      <a:lnTo>
                        <a:pt x="2059" y="1164"/>
                      </a:lnTo>
                      <a:lnTo>
                        <a:pt x="2056" y="1167"/>
                      </a:lnTo>
                      <a:lnTo>
                        <a:pt x="2059" y="1173"/>
                      </a:lnTo>
                      <a:lnTo>
                        <a:pt x="2059" y="1178"/>
                      </a:lnTo>
                      <a:lnTo>
                        <a:pt x="2067" y="1183"/>
                      </a:lnTo>
                      <a:lnTo>
                        <a:pt x="2067" y="1194"/>
                      </a:lnTo>
                      <a:lnTo>
                        <a:pt x="2070" y="1201"/>
                      </a:lnTo>
                      <a:lnTo>
                        <a:pt x="2072" y="1206"/>
                      </a:lnTo>
                      <a:lnTo>
                        <a:pt x="2070" y="1217"/>
                      </a:lnTo>
                      <a:lnTo>
                        <a:pt x="2067" y="1222"/>
                      </a:lnTo>
                      <a:lnTo>
                        <a:pt x="2059" y="1225"/>
                      </a:lnTo>
                      <a:lnTo>
                        <a:pt x="2056" y="1227"/>
                      </a:lnTo>
                      <a:lnTo>
                        <a:pt x="2059" y="1233"/>
                      </a:lnTo>
                      <a:lnTo>
                        <a:pt x="2062" y="1244"/>
                      </a:lnTo>
                      <a:lnTo>
                        <a:pt x="2067" y="1252"/>
                      </a:lnTo>
                      <a:lnTo>
                        <a:pt x="2064" y="1258"/>
                      </a:lnTo>
                      <a:lnTo>
                        <a:pt x="2067" y="1269"/>
                      </a:lnTo>
                      <a:lnTo>
                        <a:pt x="2070" y="1280"/>
                      </a:lnTo>
                      <a:lnTo>
                        <a:pt x="2067" y="1294"/>
                      </a:lnTo>
                      <a:lnTo>
                        <a:pt x="2070" y="1302"/>
                      </a:lnTo>
                      <a:lnTo>
                        <a:pt x="2075" y="1316"/>
                      </a:lnTo>
                      <a:lnTo>
                        <a:pt x="2072" y="1324"/>
                      </a:lnTo>
                      <a:lnTo>
                        <a:pt x="2080" y="1332"/>
                      </a:lnTo>
                      <a:lnTo>
                        <a:pt x="2080" y="1355"/>
                      </a:lnTo>
                      <a:lnTo>
                        <a:pt x="2078" y="1363"/>
                      </a:lnTo>
                      <a:lnTo>
                        <a:pt x="2075" y="1365"/>
                      </a:lnTo>
                      <a:lnTo>
                        <a:pt x="2075" y="1368"/>
                      </a:lnTo>
                      <a:lnTo>
                        <a:pt x="2070" y="1373"/>
                      </a:lnTo>
                      <a:lnTo>
                        <a:pt x="2070" y="1382"/>
                      </a:lnTo>
                      <a:lnTo>
                        <a:pt x="2070" y="1385"/>
                      </a:lnTo>
                      <a:lnTo>
                        <a:pt x="2070" y="1388"/>
                      </a:lnTo>
                      <a:lnTo>
                        <a:pt x="2078" y="1385"/>
                      </a:lnTo>
                      <a:lnTo>
                        <a:pt x="2083" y="1390"/>
                      </a:lnTo>
                      <a:lnTo>
                        <a:pt x="2089" y="1410"/>
                      </a:lnTo>
                      <a:lnTo>
                        <a:pt x="2095" y="1421"/>
                      </a:lnTo>
                      <a:lnTo>
                        <a:pt x="2092" y="1429"/>
                      </a:lnTo>
                      <a:lnTo>
                        <a:pt x="2092" y="1434"/>
                      </a:lnTo>
                      <a:lnTo>
                        <a:pt x="2092" y="1437"/>
                      </a:lnTo>
                      <a:lnTo>
                        <a:pt x="2092" y="1440"/>
                      </a:lnTo>
                      <a:lnTo>
                        <a:pt x="2092" y="1451"/>
                      </a:lnTo>
                      <a:lnTo>
                        <a:pt x="2092" y="1459"/>
                      </a:lnTo>
                      <a:lnTo>
                        <a:pt x="2103" y="1473"/>
                      </a:lnTo>
                      <a:lnTo>
                        <a:pt x="2108" y="1487"/>
                      </a:lnTo>
                      <a:lnTo>
                        <a:pt x="2111" y="1490"/>
                      </a:lnTo>
                      <a:lnTo>
                        <a:pt x="2116" y="1493"/>
                      </a:lnTo>
                      <a:lnTo>
                        <a:pt x="2119" y="1495"/>
                      </a:lnTo>
                      <a:lnTo>
                        <a:pt x="2119" y="1501"/>
                      </a:lnTo>
                      <a:lnTo>
                        <a:pt x="2119" y="1506"/>
                      </a:lnTo>
                      <a:lnTo>
                        <a:pt x="2119" y="1509"/>
                      </a:lnTo>
                      <a:lnTo>
                        <a:pt x="2116" y="1523"/>
                      </a:lnTo>
                      <a:lnTo>
                        <a:pt x="2111" y="1526"/>
                      </a:lnTo>
                      <a:lnTo>
                        <a:pt x="2111" y="1531"/>
                      </a:lnTo>
                      <a:lnTo>
                        <a:pt x="2114" y="1545"/>
                      </a:lnTo>
                      <a:lnTo>
                        <a:pt x="2114" y="1559"/>
                      </a:lnTo>
                      <a:lnTo>
                        <a:pt x="2114" y="1564"/>
                      </a:lnTo>
                      <a:lnTo>
                        <a:pt x="2116" y="1575"/>
                      </a:lnTo>
                      <a:lnTo>
                        <a:pt x="2116" y="1580"/>
                      </a:lnTo>
                      <a:lnTo>
                        <a:pt x="2116" y="1587"/>
                      </a:lnTo>
                      <a:lnTo>
                        <a:pt x="2133" y="1603"/>
                      </a:lnTo>
                      <a:lnTo>
                        <a:pt x="2139" y="1616"/>
                      </a:lnTo>
                      <a:lnTo>
                        <a:pt x="2139" y="1620"/>
                      </a:lnTo>
                      <a:lnTo>
                        <a:pt x="2144" y="1625"/>
                      </a:lnTo>
                      <a:lnTo>
                        <a:pt x="2144" y="1628"/>
                      </a:lnTo>
                      <a:lnTo>
                        <a:pt x="2139" y="1639"/>
                      </a:lnTo>
                      <a:lnTo>
                        <a:pt x="2141" y="1641"/>
                      </a:lnTo>
                      <a:lnTo>
                        <a:pt x="2149" y="1649"/>
                      </a:lnTo>
                      <a:lnTo>
                        <a:pt x="2172" y="1649"/>
                      </a:lnTo>
                      <a:lnTo>
                        <a:pt x="2180" y="1658"/>
                      </a:lnTo>
                      <a:lnTo>
                        <a:pt x="2188" y="1664"/>
                      </a:lnTo>
                      <a:lnTo>
                        <a:pt x="2192" y="1666"/>
                      </a:lnTo>
                      <a:lnTo>
                        <a:pt x="2208" y="1669"/>
                      </a:lnTo>
                      <a:lnTo>
                        <a:pt x="2227" y="1672"/>
                      </a:lnTo>
                      <a:lnTo>
                        <a:pt x="2238" y="1672"/>
                      </a:lnTo>
                      <a:lnTo>
                        <a:pt x="2243" y="1674"/>
                      </a:lnTo>
                      <a:lnTo>
                        <a:pt x="2246" y="1677"/>
                      </a:lnTo>
                      <a:lnTo>
                        <a:pt x="2251" y="1682"/>
                      </a:lnTo>
                      <a:lnTo>
                        <a:pt x="2251" y="1685"/>
                      </a:lnTo>
                      <a:lnTo>
                        <a:pt x="2254" y="1694"/>
                      </a:lnTo>
                      <a:lnTo>
                        <a:pt x="2258" y="1697"/>
                      </a:lnTo>
                      <a:lnTo>
                        <a:pt x="2261" y="1705"/>
                      </a:lnTo>
                      <a:lnTo>
                        <a:pt x="2263" y="1708"/>
                      </a:lnTo>
                      <a:lnTo>
                        <a:pt x="2269" y="1708"/>
                      </a:lnTo>
                      <a:lnTo>
                        <a:pt x="2274" y="1702"/>
                      </a:lnTo>
                      <a:lnTo>
                        <a:pt x="2279" y="1700"/>
                      </a:lnTo>
                      <a:lnTo>
                        <a:pt x="2287" y="1702"/>
                      </a:lnTo>
                      <a:lnTo>
                        <a:pt x="2287" y="1705"/>
                      </a:lnTo>
                      <a:lnTo>
                        <a:pt x="2282" y="1710"/>
                      </a:lnTo>
                      <a:lnTo>
                        <a:pt x="2279" y="1713"/>
                      </a:lnTo>
                      <a:lnTo>
                        <a:pt x="2274" y="1718"/>
                      </a:lnTo>
                      <a:lnTo>
                        <a:pt x="2271" y="1725"/>
                      </a:lnTo>
                      <a:lnTo>
                        <a:pt x="2269" y="1725"/>
                      </a:lnTo>
                      <a:lnTo>
                        <a:pt x="2263" y="1727"/>
                      </a:lnTo>
                      <a:lnTo>
                        <a:pt x="2263" y="1738"/>
                      </a:lnTo>
                      <a:lnTo>
                        <a:pt x="2261" y="1744"/>
                      </a:lnTo>
                      <a:lnTo>
                        <a:pt x="2266" y="1757"/>
                      </a:lnTo>
                      <a:lnTo>
                        <a:pt x="2263" y="1763"/>
                      </a:lnTo>
                      <a:lnTo>
                        <a:pt x="2263" y="1782"/>
                      </a:lnTo>
                      <a:lnTo>
                        <a:pt x="2271" y="1785"/>
                      </a:lnTo>
                      <a:lnTo>
                        <a:pt x="2271" y="1787"/>
                      </a:lnTo>
                      <a:lnTo>
                        <a:pt x="2263" y="1790"/>
                      </a:lnTo>
                      <a:lnTo>
                        <a:pt x="2263" y="1794"/>
                      </a:lnTo>
                      <a:lnTo>
                        <a:pt x="2261" y="1790"/>
                      </a:lnTo>
                      <a:lnTo>
                        <a:pt x="2261" y="1796"/>
                      </a:lnTo>
                      <a:lnTo>
                        <a:pt x="2263" y="1796"/>
                      </a:lnTo>
                      <a:lnTo>
                        <a:pt x="2263" y="1799"/>
                      </a:lnTo>
                      <a:lnTo>
                        <a:pt x="2258" y="1804"/>
                      </a:lnTo>
                      <a:lnTo>
                        <a:pt x="2258" y="1807"/>
                      </a:lnTo>
                      <a:lnTo>
                        <a:pt x="2251" y="1818"/>
                      </a:lnTo>
                      <a:lnTo>
                        <a:pt x="2246" y="1821"/>
                      </a:lnTo>
                      <a:lnTo>
                        <a:pt x="2246" y="1823"/>
                      </a:lnTo>
                      <a:lnTo>
                        <a:pt x="2238" y="1835"/>
                      </a:lnTo>
                      <a:lnTo>
                        <a:pt x="2241" y="1840"/>
                      </a:lnTo>
                      <a:lnTo>
                        <a:pt x="2235" y="1856"/>
                      </a:lnTo>
                      <a:lnTo>
                        <a:pt x="2235" y="1862"/>
                      </a:lnTo>
                      <a:lnTo>
                        <a:pt x="2233" y="1865"/>
                      </a:lnTo>
                      <a:lnTo>
                        <a:pt x="2230" y="1879"/>
                      </a:lnTo>
                      <a:lnTo>
                        <a:pt x="2227" y="1901"/>
                      </a:lnTo>
                      <a:lnTo>
                        <a:pt x="2230" y="1912"/>
                      </a:lnTo>
                      <a:lnTo>
                        <a:pt x="2227" y="1917"/>
                      </a:lnTo>
                      <a:lnTo>
                        <a:pt x="2216" y="1923"/>
                      </a:lnTo>
                      <a:lnTo>
                        <a:pt x="2218" y="1928"/>
                      </a:lnTo>
                      <a:lnTo>
                        <a:pt x="2213" y="1950"/>
                      </a:lnTo>
                      <a:lnTo>
                        <a:pt x="2172" y="1967"/>
                      </a:lnTo>
                      <a:lnTo>
                        <a:pt x="2169" y="1973"/>
                      </a:lnTo>
                      <a:lnTo>
                        <a:pt x="2164" y="1976"/>
                      </a:lnTo>
                      <a:lnTo>
                        <a:pt x="2149" y="1978"/>
                      </a:lnTo>
                      <a:lnTo>
                        <a:pt x="2147" y="1984"/>
                      </a:lnTo>
                      <a:lnTo>
                        <a:pt x="2147" y="1989"/>
                      </a:lnTo>
                      <a:lnTo>
                        <a:pt x="2156" y="2011"/>
                      </a:lnTo>
                      <a:lnTo>
                        <a:pt x="2158" y="2014"/>
                      </a:lnTo>
                      <a:lnTo>
                        <a:pt x="2172" y="2030"/>
                      </a:lnTo>
                      <a:lnTo>
                        <a:pt x="2172" y="2033"/>
                      </a:lnTo>
                      <a:lnTo>
                        <a:pt x="2174" y="2036"/>
                      </a:lnTo>
                      <a:lnTo>
                        <a:pt x="2174" y="2039"/>
                      </a:lnTo>
                      <a:lnTo>
                        <a:pt x="2174" y="2045"/>
                      </a:lnTo>
                      <a:lnTo>
                        <a:pt x="2174" y="2053"/>
                      </a:lnTo>
                      <a:lnTo>
                        <a:pt x="2174" y="2055"/>
                      </a:lnTo>
                      <a:lnTo>
                        <a:pt x="2166" y="2071"/>
                      </a:lnTo>
                      <a:lnTo>
                        <a:pt x="2161" y="2088"/>
                      </a:lnTo>
                      <a:lnTo>
                        <a:pt x="2164" y="2105"/>
                      </a:lnTo>
                      <a:lnTo>
                        <a:pt x="2172" y="2114"/>
                      </a:lnTo>
                      <a:lnTo>
                        <a:pt x="2182" y="2116"/>
                      </a:lnTo>
                      <a:lnTo>
                        <a:pt x="2205" y="2124"/>
                      </a:lnTo>
                      <a:lnTo>
                        <a:pt x="2208" y="2124"/>
                      </a:lnTo>
                      <a:lnTo>
                        <a:pt x="2210" y="2127"/>
                      </a:lnTo>
                      <a:lnTo>
                        <a:pt x="2216" y="2132"/>
                      </a:lnTo>
                      <a:lnTo>
                        <a:pt x="2216" y="2135"/>
                      </a:lnTo>
                      <a:lnTo>
                        <a:pt x="2218" y="2144"/>
                      </a:lnTo>
                      <a:lnTo>
                        <a:pt x="2218" y="2149"/>
                      </a:lnTo>
                      <a:lnTo>
                        <a:pt x="2216" y="2183"/>
                      </a:lnTo>
                      <a:lnTo>
                        <a:pt x="2216" y="2185"/>
                      </a:lnTo>
                      <a:lnTo>
                        <a:pt x="2216" y="2191"/>
                      </a:lnTo>
                      <a:lnTo>
                        <a:pt x="2202" y="2216"/>
                      </a:lnTo>
                      <a:lnTo>
                        <a:pt x="2200" y="2224"/>
                      </a:lnTo>
                      <a:lnTo>
                        <a:pt x="2194" y="2237"/>
                      </a:lnTo>
                      <a:lnTo>
                        <a:pt x="2192" y="2249"/>
                      </a:lnTo>
                      <a:lnTo>
                        <a:pt x="2194" y="2254"/>
                      </a:lnTo>
                      <a:lnTo>
                        <a:pt x="2197" y="2257"/>
                      </a:lnTo>
                      <a:lnTo>
                        <a:pt x="2197" y="2262"/>
                      </a:lnTo>
                      <a:lnTo>
                        <a:pt x="2194" y="2265"/>
                      </a:lnTo>
                      <a:lnTo>
                        <a:pt x="2194" y="2268"/>
                      </a:lnTo>
                      <a:lnTo>
                        <a:pt x="2180" y="2262"/>
                      </a:lnTo>
                      <a:lnTo>
                        <a:pt x="2177" y="2265"/>
                      </a:lnTo>
                      <a:lnTo>
                        <a:pt x="2177" y="2268"/>
                      </a:lnTo>
                      <a:lnTo>
                        <a:pt x="2174" y="2270"/>
                      </a:lnTo>
                      <a:lnTo>
                        <a:pt x="2169" y="2270"/>
                      </a:lnTo>
                      <a:lnTo>
                        <a:pt x="2166" y="2273"/>
                      </a:lnTo>
                      <a:lnTo>
                        <a:pt x="2166" y="2278"/>
                      </a:lnTo>
                      <a:lnTo>
                        <a:pt x="2164" y="2281"/>
                      </a:lnTo>
                      <a:lnTo>
                        <a:pt x="2158" y="2281"/>
                      </a:lnTo>
                      <a:lnTo>
                        <a:pt x="2156" y="2287"/>
                      </a:lnTo>
                      <a:lnTo>
                        <a:pt x="2152" y="2290"/>
                      </a:lnTo>
                      <a:lnTo>
                        <a:pt x="2149" y="2295"/>
                      </a:lnTo>
                      <a:lnTo>
                        <a:pt x="2149" y="2298"/>
                      </a:lnTo>
                      <a:lnTo>
                        <a:pt x="2141" y="2298"/>
                      </a:lnTo>
                      <a:lnTo>
                        <a:pt x="2139" y="2301"/>
                      </a:lnTo>
                      <a:lnTo>
                        <a:pt x="2136" y="2304"/>
                      </a:lnTo>
                      <a:lnTo>
                        <a:pt x="2128" y="2306"/>
                      </a:lnTo>
                      <a:lnTo>
                        <a:pt x="2125" y="2309"/>
                      </a:lnTo>
                      <a:lnTo>
                        <a:pt x="2119" y="2312"/>
                      </a:lnTo>
                      <a:lnTo>
                        <a:pt x="2123" y="2323"/>
                      </a:lnTo>
                      <a:lnTo>
                        <a:pt x="2119" y="2326"/>
                      </a:lnTo>
                      <a:lnTo>
                        <a:pt x="2119" y="2329"/>
                      </a:lnTo>
                      <a:lnTo>
                        <a:pt x="2119" y="2331"/>
                      </a:lnTo>
                      <a:lnTo>
                        <a:pt x="2116" y="2331"/>
                      </a:lnTo>
                      <a:lnTo>
                        <a:pt x="2116" y="2337"/>
                      </a:lnTo>
                      <a:lnTo>
                        <a:pt x="2105" y="2339"/>
                      </a:lnTo>
                      <a:lnTo>
                        <a:pt x="2105" y="2342"/>
                      </a:lnTo>
                      <a:lnTo>
                        <a:pt x="2103" y="2345"/>
                      </a:lnTo>
                      <a:lnTo>
                        <a:pt x="2105" y="2356"/>
                      </a:lnTo>
                      <a:lnTo>
                        <a:pt x="2097" y="2364"/>
                      </a:lnTo>
                      <a:lnTo>
                        <a:pt x="2089" y="2364"/>
                      </a:lnTo>
                      <a:lnTo>
                        <a:pt x="2089" y="2362"/>
                      </a:lnTo>
                      <a:lnTo>
                        <a:pt x="2087" y="2356"/>
                      </a:lnTo>
                      <a:lnTo>
                        <a:pt x="2083" y="2354"/>
                      </a:lnTo>
                      <a:lnTo>
                        <a:pt x="2075" y="2354"/>
                      </a:lnTo>
                      <a:lnTo>
                        <a:pt x="2072" y="2359"/>
                      </a:lnTo>
                      <a:lnTo>
                        <a:pt x="2075" y="2359"/>
                      </a:lnTo>
                      <a:lnTo>
                        <a:pt x="2075" y="2367"/>
                      </a:lnTo>
                      <a:lnTo>
                        <a:pt x="2072" y="2367"/>
                      </a:lnTo>
                      <a:lnTo>
                        <a:pt x="2070" y="2370"/>
                      </a:lnTo>
                      <a:lnTo>
                        <a:pt x="2070" y="2375"/>
                      </a:lnTo>
                      <a:lnTo>
                        <a:pt x="2070" y="2381"/>
                      </a:lnTo>
                      <a:lnTo>
                        <a:pt x="2067" y="2387"/>
                      </a:lnTo>
                      <a:lnTo>
                        <a:pt x="2062" y="2392"/>
                      </a:lnTo>
                      <a:lnTo>
                        <a:pt x="2056" y="2387"/>
                      </a:lnTo>
                      <a:lnTo>
                        <a:pt x="2047" y="2381"/>
                      </a:lnTo>
                      <a:lnTo>
                        <a:pt x="2045" y="2378"/>
                      </a:lnTo>
                      <a:lnTo>
                        <a:pt x="2045" y="2375"/>
                      </a:lnTo>
                      <a:lnTo>
                        <a:pt x="2039" y="2370"/>
                      </a:lnTo>
                      <a:lnTo>
                        <a:pt x="2034" y="2373"/>
                      </a:lnTo>
                      <a:lnTo>
                        <a:pt x="2031" y="2373"/>
                      </a:lnTo>
                      <a:lnTo>
                        <a:pt x="2028" y="2381"/>
                      </a:lnTo>
                      <a:lnTo>
                        <a:pt x="2014" y="2383"/>
                      </a:lnTo>
                      <a:lnTo>
                        <a:pt x="2011" y="2392"/>
                      </a:lnTo>
                      <a:lnTo>
                        <a:pt x="2009" y="2406"/>
                      </a:lnTo>
                      <a:lnTo>
                        <a:pt x="1998" y="2403"/>
                      </a:lnTo>
                      <a:lnTo>
                        <a:pt x="1998" y="2411"/>
                      </a:lnTo>
                      <a:lnTo>
                        <a:pt x="1995" y="2419"/>
                      </a:lnTo>
                      <a:lnTo>
                        <a:pt x="1993" y="2423"/>
                      </a:lnTo>
                      <a:lnTo>
                        <a:pt x="1990" y="2423"/>
                      </a:lnTo>
                      <a:lnTo>
                        <a:pt x="1987" y="2428"/>
                      </a:lnTo>
                      <a:lnTo>
                        <a:pt x="1981" y="2431"/>
                      </a:lnTo>
                      <a:lnTo>
                        <a:pt x="1978" y="2431"/>
                      </a:lnTo>
                      <a:lnTo>
                        <a:pt x="1976" y="2428"/>
                      </a:lnTo>
                      <a:lnTo>
                        <a:pt x="1970" y="2428"/>
                      </a:lnTo>
                      <a:lnTo>
                        <a:pt x="1970" y="2433"/>
                      </a:lnTo>
                      <a:lnTo>
                        <a:pt x="1965" y="2444"/>
                      </a:lnTo>
                      <a:lnTo>
                        <a:pt x="1962" y="2447"/>
                      </a:lnTo>
                      <a:lnTo>
                        <a:pt x="1959" y="2450"/>
                      </a:lnTo>
                      <a:lnTo>
                        <a:pt x="1957" y="2452"/>
                      </a:lnTo>
                      <a:lnTo>
                        <a:pt x="1951" y="2452"/>
                      </a:lnTo>
                      <a:lnTo>
                        <a:pt x="1949" y="2455"/>
                      </a:lnTo>
                      <a:lnTo>
                        <a:pt x="1945" y="2455"/>
                      </a:lnTo>
                      <a:lnTo>
                        <a:pt x="1945" y="2461"/>
                      </a:lnTo>
                      <a:lnTo>
                        <a:pt x="1949" y="2469"/>
                      </a:lnTo>
                      <a:lnTo>
                        <a:pt x="1942" y="2475"/>
                      </a:lnTo>
                      <a:lnTo>
                        <a:pt x="1937" y="2475"/>
                      </a:lnTo>
                      <a:lnTo>
                        <a:pt x="1934" y="2477"/>
                      </a:lnTo>
                      <a:lnTo>
                        <a:pt x="1929" y="2480"/>
                      </a:lnTo>
                      <a:lnTo>
                        <a:pt x="1916" y="2480"/>
                      </a:lnTo>
                      <a:lnTo>
                        <a:pt x="1907" y="2492"/>
                      </a:lnTo>
                      <a:lnTo>
                        <a:pt x="1904" y="2494"/>
                      </a:lnTo>
                      <a:lnTo>
                        <a:pt x="1893" y="2500"/>
                      </a:lnTo>
                      <a:lnTo>
                        <a:pt x="1885" y="2500"/>
                      </a:lnTo>
                      <a:lnTo>
                        <a:pt x="1882" y="2500"/>
                      </a:lnTo>
                      <a:lnTo>
                        <a:pt x="1876" y="2500"/>
                      </a:lnTo>
                      <a:lnTo>
                        <a:pt x="1876" y="2502"/>
                      </a:lnTo>
                      <a:lnTo>
                        <a:pt x="1871" y="2508"/>
                      </a:lnTo>
                      <a:lnTo>
                        <a:pt x="1868" y="2516"/>
                      </a:lnTo>
                      <a:lnTo>
                        <a:pt x="1863" y="2528"/>
                      </a:lnTo>
                      <a:lnTo>
                        <a:pt x="1857" y="2541"/>
                      </a:lnTo>
                      <a:lnTo>
                        <a:pt x="1855" y="2538"/>
                      </a:lnTo>
                      <a:lnTo>
                        <a:pt x="1843" y="2552"/>
                      </a:lnTo>
                      <a:lnTo>
                        <a:pt x="1837" y="2557"/>
                      </a:lnTo>
                      <a:lnTo>
                        <a:pt x="1832" y="2557"/>
                      </a:lnTo>
                      <a:lnTo>
                        <a:pt x="1829" y="2566"/>
                      </a:lnTo>
                      <a:lnTo>
                        <a:pt x="1827" y="2566"/>
                      </a:lnTo>
                      <a:lnTo>
                        <a:pt x="1827" y="2569"/>
                      </a:lnTo>
                      <a:lnTo>
                        <a:pt x="1824" y="2571"/>
                      </a:lnTo>
                      <a:lnTo>
                        <a:pt x="1824" y="2577"/>
                      </a:lnTo>
                      <a:lnTo>
                        <a:pt x="1821" y="2582"/>
                      </a:lnTo>
                      <a:lnTo>
                        <a:pt x="1819" y="2582"/>
                      </a:lnTo>
                      <a:lnTo>
                        <a:pt x="1816" y="2593"/>
                      </a:lnTo>
                      <a:lnTo>
                        <a:pt x="1810" y="2597"/>
                      </a:lnTo>
                      <a:lnTo>
                        <a:pt x="1810" y="2607"/>
                      </a:lnTo>
                      <a:lnTo>
                        <a:pt x="1802" y="2610"/>
                      </a:lnTo>
                      <a:lnTo>
                        <a:pt x="1799" y="2605"/>
                      </a:lnTo>
                      <a:lnTo>
                        <a:pt x="1794" y="2605"/>
                      </a:lnTo>
                      <a:lnTo>
                        <a:pt x="1791" y="2605"/>
                      </a:lnTo>
                      <a:lnTo>
                        <a:pt x="1788" y="2605"/>
                      </a:lnTo>
                      <a:lnTo>
                        <a:pt x="1786" y="2605"/>
                      </a:lnTo>
                      <a:lnTo>
                        <a:pt x="1783" y="2610"/>
                      </a:lnTo>
                      <a:lnTo>
                        <a:pt x="1778" y="2610"/>
                      </a:lnTo>
                      <a:lnTo>
                        <a:pt x="1778" y="2615"/>
                      </a:lnTo>
                      <a:lnTo>
                        <a:pt x="1774" y="2615"/>
                      </a:lnTo>
                      <a:lnTo>
                        <a:pt x="1758" y="2618"/>
                      </a:lnTo>
                      <a:lnTo>
                        <a:pt x="1758" y="2623"/>
                      </a:lnTo>
                      <a:lnTo>
                        <a:pt x="1755" y="2629"/>
                      </a:lnTo>
                      <a:lnTo>
                        <a:pt x="1735" y="2629"/>
                      </a:lnTo>
                      <a:lnTo>
                        <a:pt x="1735" y="2632"/>
                      </a:lnTo>
                      <a:lnTo>
                        <a:pt x="1733" y="2643"/>
                      </a:lnTo>
                      <a:lnTo>
                        <a:pt x="1733" y="2651"/>
                      </a:lnTo>
                      <a:lnTo>
                        <a:pt x="1733" y="2662"/>
                      </a:lnTo>
                      <a:lnTo>
                        <a:pt x="1722" y="2671"/>
                      </a:lnTo>
                      <a:lnTo>
                        <a:pt x="1717" y="2676"/>
                      </a:lnTo>
                      <a:lnTo>
                        <a:pt x="1714" y="2676"/>
                      </a:lnTo>
                      <a:lnTo>
                        <a:pt x="1705" y="2684"/>
                      </a:lnTo>
                      <a:lnTo>
                        <a:pt x="1705" y="2692"/>
                      </a:lnTo>
                      <a:lnTo>
                        <a:pt x="1697" y="2700"/>
                      </a:lnTo>
                      <a:lnTo>
                        <a:pt x="1691" y="2726"/>
                      </a:lnTo>
                      <a:lnTo>
                        <a:pt x="1686" y="2726"/>
                      </a:lnTo>
                      <a:lnTo>
                        <a:pt x="1681" y="2723"/>
                      </a:lnTo>
                      <a:lnTo>
                        <a:pt x="1678" y="2723"/>
                      </a:lnTo>
                      <a:lnTo>
                        <a:pt x="1672" y="2728"/>
                      </a:lnTo>
                      <a:lnTo>
                        <a:pt x="1664" y="2731"/>
                      </a:lnTo>
                      <a:lnTo>
                        <a:pt x="1661" y="2737"/>
                      </a:lnTo>
                      <a:lnTo>
                        <a:pt x="1658" y="2740"/>
                      </a:lnTo>
                      <a:lnTo>
                        <a:pt x="1656" y="2740"/>
                      </a:lnTo>
                      <a:lnTo>
                        <a:pt x="1650" y="2734"/>
                      </a:lnTo>
                      <a:lnTo>
                        <a:pt x="1645" y="2734"/>
                      </a:lnTo>
                      <a:lnTo>
                        <a:pt x="1642" y="2734"/>
                      </a:lnTo>
                      <a:lnTo>
                        <a:pt x="1636" y="2726"/>
                      </a:lnTo>
                      <a:lnTo>
                        <a:pt x="1625" y="2734"/>
                      </a:lnTo>
                      <a:lnTo>
                        <a:pt x="1614" y="2728"/>
                      </a:lnTo>
                      <a:lnTo>
                        <a:pt x="1609" y="2731"/>
                      </a:lnTo>
                      <a:lnTo>
                        <a:pt x="1603" y="2731"/>
                      </a:lnTo>
                      <a:lnTo>
                        <a:pt x="1597" y="2731"/>
                      </a:lnTo>
                      <a:lnTo>
                        <a:pt x="1584" y="2740"/>
                      </a:lnTo>
                      <a:lnTo>
                        <a:pt x="1576" y="2743"/>
                      </a:lnTo>
                      <a:lnTo>
                        <a:pt x="1567" y="2743"/>
                      </a:lnTo>
                      <a:lnTo>
                        <a:pt x="1551" y="2743"/>
                      </a:lnTo>
                      <a:lnTo>
                        <a:pt x="1545" y="2745"/>
                      </a:lnTo>
                      <a:lnTo>
                        <a:pt x="1540" y="2745"/>
                      </a:lnTo>
                      <a:lnTo>
                        <a:pt x="1534" y="2743"/>
                      </a:lnTo>
                      <a:lnTo>
                        <a:pt x="1531" y="2743"/>
                      </a:lnTo>
                      <a:lnTo>
                        <a:pt x="1526" y="2745"/>
                      </a:lnTo>
                      <a:lnTo>
                        <a:pt x="1518" y="2751"/>
                      </a:lnTo>
                      <a:lnTo>
                        <a:pt x="1515" y="2753"/>
                      </a:lnTo>
                      <a:lnTo>
                        <a:pt x="1507" y="2753"/>
                      </a:lnTo>
                      <a:lnTo>
                        <a:pt x="1498" y="2756"/>
                      </a:lnTo>
                      <a:lnTo>
                        <a:pt x="1495" y="2756"/>
                      </a:lnTo>
                      <a:lnTo>
                        <a:pt x="1493" y="2761"/>
                      </a:lnTo>
                      <a:lnTo>
                        <a:pt x="1479" y="2769"/>
                      </a:lnTo>
                      <a:lnTo>
                        <a:pt x="1479" y="2781"/>
                      </a:lnTo>
                      <a:lnTo>
                        <a:pt x="1476" y="2781"/>
                      </a:lnTo>
                      <a:lnTo>
                        <a:pt x="1474" y="2784"/>
                      </a:lnTo>
                      <a:lnTo>
                        <a:pt x="1462" y="2789"/>
                      </a:lnTo>
                      <a:lnTo>
                        <a:pt x="1454" y="2795"/>
                      </a:lnTo>
                      <a:lnTo>
                        <a:pt x="1451" y="2797"/>
                      </a:lnTo>
                      <a:lnTo>
                        <a:pt x="1451" y="2809"/>
                      </a:lnTo>
                      <a:lnTo>
                        <a:pt x="1449" y="2812"/>
                      </a:lnTo>
                      <a:lnTo>
                        <a:pt x="1443" y="2814"/>
                      </a:lnTo>
                      <a:lnTo>
                        <a:pt x="1441" y="2817"/>
                      </a:lnTo>
                      <a:lnTo>
                        <a:pt x="1432" y="2814"/>
                      </a:lnTo>
                      <a:lnTo>
                        <a:pt x="1426" y="2817"/>
                      </a:lnTo>
                      <a:lnTo>
                        <a:pt x="1423" y="2820"/>
                      </a:lnTo>
                      <a:lnTo>
                        <a:pt x="1426" y="2825"/>
                      </a:lnTo>
                      <a:lnTo>
                        <a:pt x="1423" y="2830"/>
                      </a:lnTo>
                      <a:lnTo>
                        <a:pt x="1413" y="2833"/>
                      </a:lnTo>
                      <a:lnTo>
                        <a:pt x="1402" y="2830"/>
                      </a:lnTo>
                      <a:lnTo>
                        <a:pt x="1393" y="2833"/>
                      </a:lnTo>
                      <a:lnTo>
                        <a:pt x="1385" y="2830"/>
                      </a:lnTo>
                      <a:lnTo>
                        <a:pt x="1382" y="2833"/>
                      </a:lnTo>
                      <a:lnTo>
                        <a:pt x="1380" y="2838"/>
                      </a:lnTo>
                      <a:lnTo>
                        <a:pt x="1372" y="2850"/>
                      </a:lnTo>
                      <a:lnTo>
                        <a:pt x="1369" y="2847"/>
                      </a:lnTo>
                      <a:lnTo>
                        <a:pt x="1363" y="2850"/>
                      </a:lnTo>
                      <a:lnTo>
                        <a:pt x="1357" y="2850"/>
                      </a:lnTo>
                      <a:lnTo>
                        <a:pt x="1349" y="2853"/>
                      </a:lnTo>
                      <a:lnTo>
                        <a:pt x="1344" y="2853"/>
                      </a:lnTo>
                      <a:lnTo>
                        <a:pt x="1344" y="2850"/>
                      </a:lnTo>
                      <a:lnTo>
                        <a:pt x="1336" y="2847"/>
                      </a:lnTo>
                      <a:lnTo>
                        <a:pt x="1333" y="2845"/>
                      </a:lnTo>
                      <a:lnTo>
                        <a:pt x="1333" y="2847"/>
                      </a:lnTo>
                      <a:lnTo>
                        <a:pt x="1333" y="2856"/>
                      </a:lnTo>
                      <a:lnTo>
                        <a:pt x="1327" y="2861"/>
                      </a:lnTo>
                      <a:lnTo>
                        <a:pt x="1321" y="2866"/>
                      </a:lnTo>
                      <a:lnTo>
                        <a:pt x="1316" y="2869"/>
                      </a:lnTo>
                      <a:lnTo>
                        <a:pt x="1316" y="2878"/>
                      </a:lnTo>
                      <a:lnTo>
                        <a:pt x="1313" y="2881"/>
                      </a:lnTo>
                      <a:lnTo>
                        <a:pt x="1297" y="2883"/>
                      </a:lnTo>
                      <a:lnTo>
                        <a:pt x="1291" y="2883"/>
                      </a:lnTo>
                      <a:lnTo>
                        <a:pt x="1291" y="2874"/>
                      </a:lnTo>
                      <a:lnTo>
                        <a:pt x="1285" y="2866"/>
                      </a:lnTo>
                      <a:lnTo>
                        <a:pt x="1285" y="2858"/>
                      </a:lnTo>
                      <a:lnTo>
                        <a:pt x="1283" y="2853"/>
                      </a:lnTo>
                      <a:lnTo>
                        <a:pt x="1280" y="2853"/>
                      </a:lnTo>
                      <a:lnTo>
                        <a:pt x="1275" y="2858"/>
                      </a:lnTo>
                      <a:lnTo>
                        <a:pt x="1272" y="2858"/>
                      </a:lnTo>
                      <a:lnTo>
                        <a:pt x="1269" y="2858"/>
                      </a:lnTo>
                      <a:lnTo>
                        <a:pt x="1260" y="2847"/>
                      </a:lnTo>
                      <a:lnTo>
                        <a:pt x="1255" y="2845"/>
                      </a:lnTo>
                      <a:lnTo>
                        <a:pt x="1247" y="2845"/>
                      </a:lnTo>
                      <a:lnTo>
                        <a:pt x="1239" y="2838"/>
                      </a:lnTo>
                      <a:lnTo>
                        <a:pt x="1239" y="2836"/>
                      </a:lnTo>
                      <a:lnTo>
                        <a:pt x="1236" y="2830"/>
                      </a:lnTo>
                      <a:lnTo>
                        <a:pt x="1234" y="2820"/>
                      </a:lnTo>
                      <a:lnTo>
                        <a:pt x="1234" y="2814"/>
                      </a:lnTo>
                      <a:lnTo>
                        <a:pt x="1236" y="2806"/>
                      </a:lnTo>
                      <a:lnTo>
                        <a:pt x="1234" y="2803"/>
                      </a:lnTo>
                      <a:lnTo>
                        <a:pt x="1234" y="2800"/>
                      </a:lnTo>
                      <a:lnTo>
                        <a:pt x="1228" y="2795"/>
                      </a:lnTo>
                      <a:lnTo>
                        <a:pt x="1222" y="2792"/>
                      </a:lnTo>
                      <a:lnTo>
                        <a:pt x="1214" y="2795"/>
                      </a:lnTo>
                      <a:lnTo>
                        <a:pt x="1211" y="2795"/>
                      </a:lnTo>
                      <a:lnTo>
                        <a:pt x="1195" y="2797"/>
                      </a:lnTo>
                      <a:lnTo>
                        <a:pt x="1195" y="2789"/>
                      </a:lnTo>
                      <a:lnTo>
                        <a:pt x="1191" y="2789"/>
                      </a:lnTo>
                      <a:lnTo>
                        <a:pt x="1186" y="2789"/>
                      </a:lnTo>
                      <a:lnTo>
                        <a:pt x="1183" y="2789"/>
                      </a:lnTo>
                      <a:lnTo>
                        <a:pt x="1183" y="2787"/>
                      </a:lnTo>
                      <a:lnTo>
                        <a:pt x="1178" y="2784"/>
                      </a:lnTo>
                      <a:lnTo>
                        <a:pt x="1175" y="2784"/>
                      </a:lnTo>
                      <a:lnTo>
                        <a:pt x="1175" y="2781"/>
                      </a:lnTo>
                      <a:lnTo>
                        <a:pt x="1173" y="2781"/>
                      </a:lnTo>
                      <a:lnTo>
                        <a:pt x="1170" y="2778"/>
                      </a:lnTo>
                      <a:lnTo>
                        <a:pt x="1167" y="2781"/>
                      </a:lnTo>
                      <a:lnTo>
                        <a:pt x="1165" y="2781"/>
                      </a:lnTo>
                      <a:lnTo>
                        <a:pt x="1165" y="2787"/>
                      </a:lnTo>
                      <a:lnTo>
                        <a:pt x="1159" y="2781"/>
                      </a:lnTo>
                      <a:lnTo>
                        <a:pt x="1153" y="2781"/>
                      </a:lnTo>
                      <a:lnTo>
                        <a:pt x="1148" y="2795"/>
                      </a:lnTo>
                      <a:lnTo>
                        <a:pt x="1139" y="2800"/>
                      </a:lnTo>
                      <a:lnTo>
                        <a:pt x="1137" y="2797"/>
                      </a:lnTo>
                      <a:lnTo>
                        <a:pt x="1134" y="2792"/>
                      </a:lnTo>
                      <a:lnTo>
                        <a:pt x="1129" y="2792"/>
                      </a:lnTo>
                      <a:lnTo>
                        <a:pt x="1126" y="2792"/>
                      </a:lnTo>
                      <a:lnTo>
                        <a:pt x="1120" y="2795"/>
                      </a:lnTo>
                      <a:lnTo>
                        <a:pt x="1109" y="2795"/>
                      </a:lnTo>
                      <a:lnTo>
                        <a:pt x="1106" y="2800"/>
                      </a:lnTo>
                      <a:lnTo>
                        <a:pt x="1104" y="2800"/>
                      </a:lnTo>
                      <a:lnTo>
                        <a:pt x="1101" y="2800"/>
                      </a:lnTo>
                      <a:lnTo>
                        <a:pt x="1098" y="2789"/>
                      </a:lnTo>
                      <a:lnTo>
                        <a:pt x="1096" y="2789"/>
                      </a:lnTo>
                      <a:lnTo>
                        <a:pt x="1090" y="2787"/>
                      </a:lnTo>
                      <a:lnTo>
                        <a:pt x="1084" y="2778"/>
                      </a:lnTo>
                      <a:lnTo>
                        <a:pt x="1081" y="2778"/>
                      </a:lnTo>
                      <a:lnTo>
                        <a:pt x="1073" y="2778"/>
                      </a:lnTo>
                      <a:lnTo>
                        <a:pt x="1065" y="2769"/>
                      </a:lnTo>
                      <a:lnTo>
                        <a:pt x="1057" y="2756"/>
                      </a:lnTo>
                      <a:lnTo>
                        <a:pt x="1053" y="2751"/>
                      </a:lnTo>
                      <a:lnTo>
                        <a:pt x="1043" y="2737"/>
                      </a:lnTo>
                      <a:lnTo>
                        <a:pt x="1037" y="2734"/>
                      </a:lnTo>
                      <a:lnTo>
                        <a:pt x="1035" y="2734"/>
                      </a:lnTo>
                      <a:lnTo>
                        <a:pt x="1029" y="2731"/>
                      </a:lnTo>
                      <a:lnTo>
                        <a:pt x="1021" y="2734"/>
                      </a:lnTo>
                      <a:lnTo>
                        <a:pt x="1015" y="2737"/>
                      </a:lnTo>
                      <a:lnTo>
                        <a:pt x="1004" y="2748"/>
                      </a:lnTo>
                      <a:lnTo>
                        <a:pt x="999" y="2753"/>
                      </a:lnTo>
                      <a:lnTo>
                        <a:pt x="996" y="2753"/>
                      </a:lnTo>
                      <a:lnTo>
                        <a:pt x="988" y="2756"/>
                      </a:lnTo>
                      <a:lnTo>
                        <a:pt x="984" y="2756"/>
                      </a:lnTo>
                      <a:lnTo>
                        <a:pt x="976" y="2764"/>
                      </a:lnTo>
                      <a:lnTo>
                        <a:pt x="968" y="2776"/>
                      </a:lnTo>
                      <a:lnTo>
                        <a:pt x="963" y="2778"/>
                      </a:lnTo>
                      <a:lnTo>
                        <a:pt x="946" y="2792"/>
                      </a:lnTo>
                      <a:lnTo>
                        <a:pt x="938" y="2797"/>
                      </a:lnTo>
                      <a:lnTo>
                        <a:pt x="913" y="2806"/>
                      </a:lnTo>
                      <a:lnTo>
                        <a:pt x="905" y="2809"/>
                      </a:lnTo>
                      <a:lnTo>
                        <a:pt x="899" y="2814"/>
                      </a:lnTo>
                      <a:lnTo>
                        <a:pt x="894" y="2825"/>
                      </a:lnTo>
                      <a:lnTo>
                        <a:pt x="886" y="2830"/>
                      </a:lnTo>
                      <a:lnTo>
                        <a:pt x="872" y="2853"/>
                      </a:lnTo>
                      <a:lnTo>
                        <a:pt x="872" y="2858"/>
                      </a:lnTo>
                      <a:lnTo>
                        <a:pt x="874" y="2869"/>
                      </a:lnTo>
                      <a:lnTo>
                        <a:pt x="874" y="2881"/>
                      </a:lnTo>
                      <a:lnTo>
                        <a:pt x="880" y="2883"/>
                      </a:lnTo>
                      <a:lnTo>
                        <a:pt x="877" y="2883"/>
                      </a:lnTo>
                      <a:lnTo>
                        <a:pt x="877" y="2886"/>
                      </a:lnTo>
                      <a:lnTo>
                        <a:pt x="874" y="2891"/>
                      </a:lnTo>
                      <a:lnTo>
                        <a:pt x="882" y="2894"/>
                      </a:lnTo>
                      <a:lnTo>
                        <a:pt x="894" y="2914"/>
                      </a:lnTo>
                      <a:lnTo>
                        <a:pt x="894" y="2919"/>
                      </a:lnTo>
                      <a:lnTo>
                        <a:pt x="894" y="2922"/>
                      </a:lnTo>
                      <a:lnTo>
                        <a:pt x="894" y="2927"/>
                      </a:lnTo>
                      <a:lnTo>
                        <a:pt x="899" y="2943"/>
                      </a:lnTo>
                      <a:lnTo>
                        <a:pt x="905" y="2947"/>
                      </a:lnTo>
                      <a:lnTo>
                        <a:pt x="907" y="2950"/>
                      </a:lnTo>
                      <a:lnTo>
                        <a:pt x="924" y="2955"/>
                      </a:lnTo>
                      <a:lnTo>
                        <a:pt x="927" y="2960"/>
                      </a:lnTo>
                      <a:lnTo>
                        <a:pt x="930" y="2960"/>
                      </a:lnTo>
                      <a:lnTo>
                        <a:pt x="935" y="2960"/>
                      </a:lnTo>
                      <a:lnTo>
                        <a:pt x="940" y="2966"/>
                      </a:lnTo>
                      <a:lnTo>
                        <a:pt x="946" y="2968"/>
                      </a:lnTo>
                      <a:lnTo>
                        <a:pt x="951" y="2974"/>
                      </a:lnTo>
                      <a:lnTo>
                        <a:pt x="951" y="2976"/>
                      </a:lnTo>
                      <a:lnTo>
                        <a:pt x="946" y="2983"/>
                      </a:lnTo>
                      <a:lnTo>
                        <a:pt x="946" y="2988"/>
                      </a:lnTo>
                      <a:lnTo>
                        <a:pt x="943" y="2993"/>
                      </a:lnTo>
                      <a:lnTo>
                        <a:pt x="935" y="2996"/>
                      </a:lnTo>
                      <a:lnTo>
                        <a:pt x="935" y="3002"/>
                      </a:lnTo>
                      <a:lnTo>
                        <a:pt x="930" y="3002"/>
                      </a:lnTo>
                      <a:lnTo>
                        <a:pt x="930" y="3004"/>
                      </a:lnTo>
                      <a:lnTo>
                        <a:pt x="930" y="3010"/>
                      </a:lnTo>
                      <a:lnTo>
                        <a:pt x="935" y="3010"/>
                      </a:lnTo>
                      <a:lnTo>
                        <a:pt x="938" y="3012"/>
                      </a:lnTo>
                      <a:lnTo>
                        <a:pt x="938" y="3016"/>
                      </a:lnTo>
                      <a:lnTo>
                        <a:pt x="932" y="3027"/>
                      </a:lnTo>
                      <a:lnTo>
                        <a:pt x="940" y="3035"/>
                      </a:lnTo>
                      <a:lnTo>
                        <a:pt x="946" y="3037"/>
                      </a:lnTo>
                      <a:lnTo>
                        <a:pt x="949" y="3043"/>
                      </a:lnTo>
                      <a:lnTo>
                        <a:pt x="946" y="3054"/>
                      </a:lnTo>
                      <a:lnTo>
                        <a:pt x="938" y="3060"/>
                      </a:lnTo>
                      <a:lnTo>
                        <a:pt x="935" y="3068"/>
                      </a:lnTo>
                      <a:lnTo>
                        <a:pt x="935" y="3073"/>
                      </a:lnTo>
                      <a:lnTo>
                        <a:pt x="922" y="3073"/>
                      </a:lnTo>
                      <a:lnTo>
                        <a:pt x="910" y="3073"/>
                      </a:lnTo>
                      <a:lnTo>
                        <a:pt x="907" y="3076"/>
                      </a:lnTo>
                      <a:lnTo>
                        <a:pt x="902" y="3085"/>
                      </a:lnTo>
                      <a:lnTo>
                        <a:pt x="905" y="3090"/>
                      </a:lnTo>
                      <a:lnTo>
                        <a:pt x="905" y="3098"/>
                      </a:lnTo>
                      <a:lnTo>
                        <a:pt x="902" y="3117"/>
                      </a:lnTo>
                      <a:lnTo>
                        <a:pt x="894" y="3129"/>
                      </a:lnTo>
                      <a:lnTo>
                        <a:pt x="877" y="3145"/>
                      </a:lnTo>
                      <a:lnTo>
                        <a:pt x="877" y="3148"/>
                      </a:lnTo>
                      <a:lnTo>
                        <a:pt x="877" y="3150"/>
                      </a:lnTo>
                      <a:lnTo>
                        <a:pt x="877" y="3153"/>
                      </a:lnTo>
                      <a:lnTo>
                        <a:pt x="877" y="3159"/>
                      </a:lnTo>
                      <a:lnTo>
                        <a:pt x="877" y="3170"/>
                      </a:lnTo>
                      <a:lnTo>
                        <a:pt x="872" y="3175"/>
                      </a:lnTo>
                      <a:lnTo>
                        <a:pt x="863" y="3181"/>
                      </a:lnTo>
                      <a:lnTo>
                        <a:pt x="858" y="3186"/>
                      </a:lnTo>
                      <a:lnTo>
                        <a:pt x="855" y="3190"/>
                      </a:lnTo>
                      <a:lnTo>
                        <a:pt x="853" y="3198"/>
                      </a:lnTo>
                      <a:lnTo>
                        <a:pt x="846" y="3203"/>
                      </a:lnTo>
                      <a:lnTo>
                        <a:pt x="844" y="3217"/>
                      </a:lnTo>
                      <a:lnTo>
                        <a:pt x="844" y="3219"/>
                      </a:lnTo>
                      <a:lnTo>
                        <a:pt x="836" y="3219"/>
                      </a:lnTo>
                      <a:lnTo>
                        <a:pt x="825" y="3219"/>
                      </a:lnTo>
                      <a:lnTo>
                        <a:pt x="813" y="3214"/>
                      </a:lnTo>
                      <a:lnTo>
                        <a:pt x="808" y="3211"/>
                      </a:lnTo>
                      <a:lnTo>
                        <a:pt x="803" y="3211"/>
                      </a:lnTo>
                      <a:lnTo>
                        <a:pt x="800" y="3217"/>
                      </a:lnTo>
                      <a:lnTo>
                        <a:pt x="797" y="3228"/>
                      </a:lnTo>
                      <a:lnTo>
                        <a:pt x="800" y="3242"/>
                      </a:lnTo>
                      <a:lnTo>
                        <a:pt x="800" y="3244"/>
                      </a:lnTo>
                      <a:lnTo>
                        <a:pt x="794" y="3250"/>
                      </a:lnTo>
                      <a:lnTo>
                        <a:pt x="792" y="3252"/>
                      </a:lnTo>
                      <a:lnTo>
                        <a:pt x="784" y="3280"/>
                      </a:lnTo>
                      <a:lnTo>
                        <a:pt x="781" y="3286"/>
                      </a:lnTo>
                      <a:lnTo>
                        <a:pt x="777" y="3288"/>
                      </a:lnTo>
                      <a:lnTo>
                        <a:pt x="769" y="3288"/>
                      </a:lnTo>
                      <a:lnTo>
                        <a:pt x="767" y="3291"/>
                      </a:lnTo>
                      <a:lnTo>
                        <a:pt x="761" y="3303"/>
                      </a:lnTo>
                      <a:lnTo>
                        <a:pt x="759" y="3308"/>
                      </a:lnTo>
                      <a:lnTo>
                        <a:pt x="756" y="3308"/>
                      </a:lnTo>
                      <a:lnTo>
                        <a:pt x="751" y="3311"/>
                      </a:lnTo>
                      <a:lnTo>
                        <a:pt x="748" y="3311"/>
                      </a:lnTo>
                      <a:lnTo>
                        <a:pt x="744" y="3311"/>
                      </a:lnTo>
                      <a:lnTo>
                        <a:pt x="739" y="3308"/>
                      </a:lnTo>
                      <a:lnTo>
                        <a:pt x="734" y="3305"/>
                      </a:lnTo>
                      <a:lnTo>
                        <a:pt x="725" y="3300"/>
                      </a:lnTo>
                      <a:lnTo>
                        <a:pt x="723" y="3300"/>
                      </a:lnTo>
                      <a:lnTo>
                        <a:pt x="715" y="3305"/>
                      </a:lnTo>
                      <a:lnTo>
                        <a:pt x="712" y="3305"/>
                      </a:lnTo>
                      <a:lnTo>
                        <a:pt x="703" y="3303"/>
                      </a:lnTo>
                      <a:lnTo>
                        <a:pt x="695" y="3297"/>
                      </a:lnTo>
                      <a:lnTo>
                        <a:pt x="687" y="3280"/>
                      </a:lnTo>
                      <a:lnTo>
                        <a:pt x="684" y="3278"/>
                      </a:lnTo>
                      <a:lnTo>
                        <a:pt x="682" y="3275"/>
                      </a:lnTo>
                      <a:lnTo>
                        <a:pt x="675" y="3272"/>
                      </a:lnTo>
                      <a:lnTo>
                        <a:pt x="670" y="3272"/>
                      </a:lnTo>
                      <a:lnTo>
                        <a:pt x="667" y="3275"/>
                      </a:lnTo>
                      <a:lnTo>
                        <a:pt x="651" y="3295"/>
                      </a:lnTo>
                      <a:lnTo>
                        <a:pt x="648" y="3297"/>
                      </a:lnTo>
                      <a:lnTo>
                        <a:pt x="639" y="3300"/>
                      </a:lnTo>
                      <a:lnTo>
                        <a:pt x="629" y="3297"/>
                      </a:lnTo>
                      <a:lnTo>
                        <a:pt x="626" y="3297"/>
                      </a:lnTo>
                      <a:lnTo>
                        <a:pt x="623" y="3300"/>
                      </a:lnTo>
                      <a:lnTo>
                        <a:pt x="621" y="3305"/>
                      </a:lnTo>
                      <a:lnTo>
                        <a:pt x="615" y="3311"/>
                      </a:lnTo>
                      <a:lnTo>
                        <a:pt x="606" y="3313"/>
                      </a:lnTo>
                      <a:lnTo>
                        <a:pt x="604" y="3313"/>
                      </a:lnTo>
                      <a:lnTo>
                        <a:pt x="601" y="3313"/>
                      </a:lnTo>
                      <a:lnTo>
                        <a:pt x="598" y="3313"/>
                      </a:lnTo>
                      <a:lnTo>
                        <a:pt x="588" y="3305"/>
                      </a:lnTo>
                      <a:lnTo>
                        <a:pt x="577" y="3305"/>
                      </a:lnTo>
                      <a:lnTo>
                        <a:pt x="570" y="3308"/>
                      </a:lnTo>
                      <a:lnTo>
                        <a:pt x="565" y="3319"/>
                      </a:lnTo>
                      <a:lnTo>
                        <a:pt x="562" y="3321"/>
                      </a:lnTo>
                      <a:lnTo>
                        <a:pt x="557" y="3324"/>
                      </a:lnTo>
                      <a:lnTo>
                        <a:pt x="552" y="3324"/>
                      </a:lnTo>
                      <a:lnTo>
                        <a:pt x="549" y="3324"/>
                      </a:lnTo>
                      <a:lnTo>
                        <a:pt x="544" y="3327"/>
                      </a:lnTo>
                      <a:lnTo>
                        <a:pt x="541" y="3330"/>
                      </a:lnTo>
                      <a:lnTo>
                        <a:pt x="541" y="3333"/>
                      </a:lnTo>
                      <a:lnTo>
                        <a:pt x="537" y="3333"/>
                      </a:lnTo>
                      <a:lnTo>
                        <a:pt x="544" y="3349"/>
                      </a:lnTo>
                      <a:lnTo>
                        <a:pt x="541" y="3357"/>
                      </a:lnTo>
                      <a:lnTo>
                        <a:pt x="541" y="3360"/>
                      </a:lnTo>
                      <a:lnTo>
                        <a:pt x="532" y="3363"/>
                      </a:lnTo>
                      <a:lnTo>
                        <a:pt x="521" y="3360"/>
                      </a:lnTo>
                      <a:lnTo>
                        <a:pt x="516" y="3363"/>
                      </a:lnTo>
                      <a:lnTo>
                        <a:pt x="513" y="3366"/>
                      </a:lnTo>
                      <a:lnTo>
                        <a:pt x="504" y="3369"/>
                      </a:lnTo>
                      <a:lnTo>
                        <a:pt x="501" y="3372"/>
                      </a:lnTo>
                      <a:lnTo>
                        <a:pt x="501" y="3380"/>
                      </a:lnTo>
                      <a:lnTo>
                        <a:pt x="493" y="3380"/>
                      </a:lnTo>
                      <a:lnTo>
                        <a:pt x="491" y="3380"/>
                      </a:lnTo>
                      <a:lnTo>
                        <a:pt x="483" y="3396"/>
                      </a:lnTo>
                      <a:lnTo>
                        <a:pt x="483" y="3405"/>
                      </a:lnTo>
                      <a:lnTo>
                        <a:pt x="480" y="3407"/>
                      </a:lnTo>
                      <a:lnTo>
                        <a:pt x="477" y="3410"/>
                      </a:lnTo>
                      <a:lnTo>
                        <a:pt x="466" y="3418"/>
                      </a:lnTo>
                      <a:lnTo>
                        <a:pt x="463" y="3413"/>
                      </a:lnTo>
                      <a:lnTo>
                        <a:pt x="460" y="3413"/>
                      </a:lnTo>
                      <a:lnTo>
                        <a:pt x="452" y="3421"/>
                      </a:lnTo>
                      <a:lnTo>
                        <a:pt x="447" y="3421"/>
                      </a:lnTo>
                      <a:lnTo>
                        <a:pt x="444" y="3424"/>
                      </a:lnTo>
                      <a:lnTo>
                        <a:pt x="441" y="3424"/>
                      </a:lnTo>
                      <a:lnTo>
                        <a:pt x="432" y="3432"/>
                      </a:lnTo>
                      <a:lnTo>
                        <a:pt x="416" y="3418"/>
                      </a:lnTo>
                      <a:lnTo>
                        <a:pt x="416" y="3416"/>
                      </a:lnTo>
                      <a:lnTo>
                        <a:pt x="414" y="3416"/>
                      </a:lnTo>
                      <a:lnTo>
                        <a:pt x="406" y="3413"/>
                      </a:lnTo>
                      <a:lnTo>
                        <a:pt x="403" y="3413"/>
                      </a:lnTo>
                      <a:lnTo>
                        <a:pt x="397" y="3413"/>
                      </a:lnTo>
                      <a:lnTo>
                        <a:pt x="391" y="3405"/>
                      </a:lnTo>
                      <a:lnTo>
                        <a:pt x="386" y="3402"/>
                      </a:lnTo>
                      <a:lnTo>
                        <a:pt x="383" y="3398"/>
                      </a:lnTo>
                      <a:lnTo>
                        <a:pt x="378" y="3396"/>
                      </a:lnTo>
                      <a:lnTo>
                        <a:pt x="375" y="3393"/>
                      </a:lnTo>
                      <a:lnTo>
                        <a:pt x="370" y="3393"/>
                      </a:lnTo>
                      <a:lnTo>
                        <a:pt x="361" y="3396"/>
                      </a:lnTo>
                      <a:lnTo>
                        <a:pt x="358" y="3393"/>
                      </a:lnTo>
                      <a:lnTo>
                        <a:pt x="350" y="3393"/>
                      </a:lnTo>
                      <a:lnTo>
                        <a:pt x="342" y="3393"/>
                      </a:lnTo>
                      <a:lnTo>
                        <a:pt x="320" y="3390"/>
                      </a:lnTo>
                      <a:lnTo>
                        <a:pt x="317" y="3390"/>
                      </a:lnTo>
                      <a:lnTo>
                        <a:pt x="317" y="3388"/>
                      </a:lnTo>
                      <a:lnTo>
                        <a:pt x="314" y="3385"/>
                      </a:lnTo>
                      <a:lnTo>
                        <a:pt x="303" y="3385"/>
                      </a:lnTo>
                      <a:lnTo>
                        <a:pt x="301" y="3382"/>
                      </a:lnTo>
                      <a:lnTo>
                        <a:pt x="294" y="3369"/>
                      </a:lnTo>
                      <a:lnTo>
                        <a:pt x="294" y="3366"/>
                      </a:lnTo>
                      <a:lnTo>
                        <a:pt x="286" y="3363"/>
                      </a:lnTo>
                      <a:lnTo>
                        <a:pt x="273" y="3360"/>
                      </a:lnTo>
                      <a:lnTo>
                        <a:pt x="259" y="3349"/>
                      </a:lnTo>
                      <a:lnTo>
                        <a:pt x="253" y="3324"/>
                      </a:lnTo>
                      <a:lnTo>
                        <a:pt x="253" y="3321"/>
                      </a:lnTo>
                      <a:lnTo>
                        <a:pt x="251" y="3319"/>
                      </a:lnTo>
                      <a:lnTo>
                        <a:pt x="248" y="3313"/>
                      </a:lnTo>
                      <a:lnTo>
                        <a:pt x="243" y="3313"/>
                      </a:lnTo>
                      <a:lnTo>
                        <a:pt x="237" y="3311"/>
                      </a:lnTo>
                      <a:lnTo>
                        <a:pt x="234" y="3311"/>
                      </a:lnTo>
                      <a:lnTo>
                        <a:pt x="232" y="3308"/>
                      </a:lnTo>
                      <a:lnTo>
                        <a:pt x="228" y="3305"/>
                      </a:lnTo>
                      <a:lnTo>
                        <a:pt x="228" y="3303"/>
                      </a:lnTo>
                      <a:lnTo>
                        <a:pt x="225" y="3283"/>
                      </a:lnTo>
                      <a:lnTo>
                        <a:pt x="223" y="3275"/>
                      </a:lnTo>
                      <a:lnTo>
                        <a:pt x="225" y="3269"/>
                      </a:lnTo>
                      <a:lnTo>
                        <a:pt x="225" y="3261"/>
                      </a:lnTo>
                      <a:lnTo>
                        <a:pt x="223" y="3255"/>
                      </a:lnTo>
                      <a:lnTo>
                        <a:pt x="228" y="3247"/>
                      </a:lnTo>
                      <a:lnTo>
                        <a:pt x="240" y="3236"/>
                      </a:lnTo>
                      <a:lnTo>
                        <a:pt x="243" y="3234"/>
                      </a:lnTo>
                      <a:lnTo>
                        <a:pt x="243" y="3228"/>
                      </a:lnTo>
                      <a:lnTo>
                        <a:pt x="232" y="3219"/>
                      </a:lnTo>
                      <a:lnTo>
                        <a:pt x="228" y="3211"/>
                      </a:lnTo>
                      <a:lnTo>
                        <a:pt x="232" y="3198"/>
                      </a:lnTo>
                      <a:lnTo>
                        <a:pt x="228" y="3192"/>
                      </a:lnTo>
                      <a:lnTo>
                        <a:pt x="217" y="3183"/>
                      </a:lnTo>
                      <a:lnTo>
                        <a:pt x="212" y="3173"/>
                      </a:lnTo>
                      <a:lnTo>
                        <a:pt x="207" y="3170"/>
                      </a:lnTo>
                      <a:lnTo>
                        <a:pt x="204" y="3167"/>
                      </a:lnTo>
                      <a:lnTo>
                        <a:pt x="195" y="3162"/>
                      </a:lnTo>
                      <a:lnTo>
                        <a:pt x="192" y="3159"/>
                      </a:lnTo>
                      <a:lnTo>
                        <a:pt x="192" y="3145"/>
                      </a:lnTo>
                      <a:lnTo>
                        <a:pt x="190" y="3142"/>
                      </a:lnTo>
                      <a:lnTo>
                        <a:pt x="179" y="3134"/>
                      </a:lnTo>
                      <a:lnTo>
                        <a:pt x="174" y="3126"/>
                      </a:lnTo>
                      <a:lnTo>
                        <a:pt x="174" y="3121"/>
                      </a:lnTo>
                      <a:lnTo>
                        <a:pt x="174" y="3109"/>
                      </a:lnTo>
                      <a:lnTo>
                        <a:pt x="174" y="3101"/>
                      </a:lnTo>
                      <a:lnTo>
                        <a:pt x="168" y="3093"/>
                      </a:lnTo>
                      <a:lnTo>
                        <a:pt x="163" y="3088"/>
                      </a:lnTo>
                      <a:lnTo>
                        <a:pt x="159" y="3088"/>
                      </a:lnTo>
                      <a:lnTo>
                        <a:pt x="146" y="3096"/>
                      </a:lnTo>
                      <a:lnTo>
                        <a:pt x="140" y="3096"/>
                      </a:lnTo>
                      <a:lnTo>
                        <a:pt x="132" y="3104"/>
                      </a:lnTo>
                      <a:lnTo>
                        <a:pt x="126" y="3106"/>
                      </a:lnTo>
                      <a:lnTo>
                        <a:pt x="118" y="3106"/>
                      </a:lnTo>
                      <a:lnTo>
                        <a:pt x="113" y="3106"/>
                      </a:lnTo>
                      <a:lnTo>
                        <a:pt x="110" y="3106"/>
                      </a:lnTo>
                      <a:lnTo>
                        <a:pt x="105" y="3114"/>
                      </a:lnTo>
                      <a:lnTo>
                        <a:pt x="107" y="3121"/>
                      </a:lnTo>
                      <a:lnTo>
                        <a:pt x="110" y="3129"/>
                      </a:lnTo>
                      <a:lnTo>
                        <a:pt x="107" y="3137"/>
                      </a:lnTo>
                      <a:lnTo>
                        <a:pt x="102" y="3142"/>
                      </a:lnTo>
                      <a:lnTo>
                        <a:pt x="82" y="3153"/>
                      </a:lnTo>
                      <a:lnTo>
                        <a:pt x="63" y="3150"/>
                      </a:lnTo>
                      <a:lnTo>
                        <a:pt x="46" y="3142"/>
                      </a:lnTo>
                      <a:lnTo>
                        <a:pt x="28" y="3148"/>
                      </a:lnTo>
                      <a:lnTo>
                        <a:pt x="18" y="3150"/>
                      </a:lnTo>
                      <a:close/>
                    </a:path>
                  </a:pathLst>
                </a:custGeom>
                <a:grpFill/>
                <a:ln w="12700" cap="flat" cmpd="sng" algn="ctr">
                  <a:solidFill>
                    <a:schemeClr val="bg1">
                      <a:lumMod val="85000"/>
                    </a:schemeClr>
                  </a:solidFill>
                  <a:prstDash val="solid"/>
                  <a:round/>
                  <a:headEnd type="none" w="med" len="med"/>
                  <a:tailEnd type="none" w="med" len="med"/>
                </a:ln>
              </p:spPr>
            </p:sp>
            <p:graphicFrame>
              <p:nvGraphicFramePr>
                <p:cNvPr id="67" name="ee4pMapWizardDataSheet"/>
                <p:cNvGraphicFramePr>
                  <a:graphicFrameLocks noChangeAspect="1"/>
                </p:cNvGraphicFramePr>
                <p:nvPr/>
              </p:nvGraphicFramePr>
              <p:xfrm>
                <a:off x="4572000" y="3835105"/>
                <a:ext cx="0" cy="0"/>
              </p:xfrm>
              <a:graphic>
                <a:graphicData uri="http://schemas.openxmlformats.org/presentationml/2006/ole">
                  <mc:AlternateContent xmlns:mc="http://schemas.openxmlformats.org/markup-compatibility/2006">
                    <mc:Choice xmlns:v="urn:schemas-microsoft-com:vml" Requires="v">
                      <p:oleObj spid="_x0000_s17428" name="Worksheet" showAsIcon="1" r:id="rId75" imgW="914400" imgH="771480" progId="Excel.Sheet.12">
                        <p:embed/>
                      </p:oleObj>
                    </mc:Choice>
                    <mc:Fallback>
                      <p:oleObj name="Worksheet" showAsIcon="1" r:id="rId75" imgW="914400" imgH="771480" progId="Excel.Sheet.12">
                        <p:embed/>
                        <p:pic>
                          <p:nvPicPr>
                            <p:cNvPr id="0" name="Picture 2"/>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4572000" y="3835105"/>
                              <a:ext cx="0" cy="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pic>
            <p:nvPicPr>
              <p:cNvPr id="74" name="Grafik 73"/>
              <p:cNvPicPr>
                <a:picLocks noChangeAspect="1"/>
              </p:cNvPicPr>
              <p:nvPr/>
            </p:nvPicPr>
            <p:blipFill>
              <a:blip r:embed="rId77" cstate="email">
                <a:extLst>
                  <a:ext uri="{28A0092B-C50C-407E-A947-70E740481C1C}">
                    <a14:useLocalDpi xmlns:a14="http://schemas.microsoft.com/office/drawing/2010/main"/>
                  </a:ext>
                </a:extLst>
              </a:blip>
              <a:stretch>
                <a:fillRect/>
              </a:stretch>
            </p:blipFill>
            <p:spPr>
              <a:xfrm>
                <a:off x="3680345" y="4964538"/>
                <a:ext cx="424320" cy="478258"/>
              </a:xfrm>
              <a:prstGeom prst="rect">
                <a:avLst/>
              </a:prstGeom>
            </p:spPr>
          </p:pic>
          <p:pic>
            <p:nvPicPr>
              <p:cNvPr id="78" name="Grafik 77"/>
              <p:cNvPicPr>
                <a:picLocks noChangeAspect="1"/>
              </p:cNvPicPr>
              <p:nvPr/>
            </p:nvPicPr>
            <p:blipFill rotWithShape="1">
              <a:blip r:embed="rId78" cstate="email">
                <a:extLst>
                  <a:ext uri="{28A0092B-C50C-407E-A947-70E740481C1C}">
                    <a14:useLocalDpi xmlns:a14="http://schemas.microsoft.com/office/drawing/2010/main"/>
                  </a:ext>
                </a:extLst>
              </a:blip>
              <a:srcRect/>
              <a:stretch/>
            </p:blipFill>
            <p:spPr>
              <a:xfrm>
                <a:off x="2757242" y="5463972"/>
                <a:ext cx="791333" cy="395668"/>
              </a:xfrm>
              <a:prstGeom prst="rect">
                <a:avLst/>
              </a:prstGeom>
            </p:spPr>
          </p:pic>
          <p:pic>
            <p:nvPicPr>
              <p:cNvPr id="79" name="Grafik 78"/>
              <p:cNvPicPr>
                <a:picLocks noChangeAspect="1"/>
              </p:cNvPicPr>
              <p:nvPr/>
            </p:nvPicPr>
            <p:blipFill>
              <a:blip r:embed="rId79" cstate="email">
                <a:extLst>
                  <a:ext uri="{28A0092B-C50C-407E-A947-70E740481C1C}">
                    <a14:useLocalDpi xmlns:a14="http://schemas.microsoft.com/office/drawing/2010/main"/>
                  </a:ext>
                </a:extLst>
              </a:blip>
              <a:stretch>
                <a:fillRect/>
              </a:stretch>
            </p:blipFill>
            <p:spPr>
              <a:xfrm>
                <a:off x="1028832" y="4157435"/>
                <a:ext cx="890735" cy="536489"/>
              </a:xfrm>
              <a:prstGeom prst="rect">
                <a:avLst/>
              </a:prstGeom>
            </p:spPr>
          </p:pic>
          <p:cxnSp>
            <p:nvCxnSpPr>
              <p:cNvPr id="174" name="Gerader Verbinder 173"/>
              <p:cNvCxnSpPr/>
              <p:nvPr/>
            </p:nvCxnSpPr>
            <p:spPr bwMode="auto">
              <a:xfrm>
                <a:off x="2482788" y="3864991"/>
                <a:ext cx="948846" cy="33770"/>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5" name="Gerader Verbinder 174"/>
              <p:cNvCxnSpPr/>
              <p:nvPr/>
            </p:nvCxnSpPr>
            <p:spPr bwMode="auto">
              <a:xfrm flipV="1">
                <a:off x="1920220" y="3861461"/>
                <a:ext cx="591475" cy="314200"/>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1" name="Gerader Verbinder 200"/>
              <p:cNvCxnSpPr/>
              <p:nvPr/>
            </p:nvCxnSpPr>
            <p:spPr bwMode="auto">
              <a:xfrm flipV="1">
                <a:off x="2010056" y="3949673"/>
                <a:ext cx="1442667" cy="864098"/>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3" name="Gerader Verbinder 202"/>
              <p:cNvCxnSpPr>
                <a:stCxn id="78" idx="0"/>
              </p:cNvCxnSpPr>
              <p:nvPr/>
            </p:nvCxnSpPr>
            <p:spPr bwMode="auto">
              <a:xfrm flipV="1">
                <a:off x="3152909" y="4553624"/>
                <a:ext cx="312649" cy="910348"/>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5" name="Gerader Verbinder 204"/>
              <p:cNvCxnSpPr/>
              <p:nvPr/>
            </p:nvCxnSpPr>
            <p:spPr bwMode="auto">
              <a:xfrm flipH="1" flipV="1">
                <a:off x="3506791" y="4530004"/>
                <a:ext cx="240757" cy="412108"/>
              </a:xfrm>
              <a:prstGeom prst="line">
                <a:avLst/>
              </a:prstGeom>
              <a:solidFill>
                <a:schemeClr val="accent1"/>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22" name="Grafik 121"/>
              <p:cNvPicPr>
                <a:picLocks noChangeAspect="1"/>
              </p:cNvPicPr>
              <p:nvPr/>
            </p:nvPicPr>
            <p:blipFill>
              <a:blip r:embed="rId80" cstate="email">
                <a:extLst>
                  <a:ext uri="{28A0092B-C50C-407E-A947-70E740481C1C}">
                    <a14:useLocalDpi xmlns:a14="http://schemas.microsoft.com/office/drawing/2010/main"/>
                  </a:ext>
                </a:extLst>
              </a:blip>
              <a:stretch>
                <a:fillRect/>
              </a:stretch>
            </p:blipFill>
            <p:spPr>
              <a:xfrm>
                <a:off x="1233951" y="4916106"/>
                <a:ext cx="1169586" cy="353305"/>
              </a:xfrm>
              <a:prstGeom prst="rect">
                <a:avLst/>
              </a:prstGeom>
            </p:spPr>
          </p:pic>
          <p:sp>
            <p:nvSpPr>
              <p:cNvPr id="2" name="Textfeld 1"/>
              <p:cNvSpPr txBox="1"/>
              <p:nvPr/>
            </p:nvSpPr>
            <p:spPr>
              <a:xfrm>
                <a:off x="2489045" y="3231032"/>
                <a:ext cx="1484509" cy="461665"/>
              </a:xfrm>
              <a:prstGeom prst="rect">
                <a:avLst/>
              </a:prstGeom>
              <a:noFill/>
            </p:spPr>
            <p:txBody>
              <a:bodyPr wrap="none" rtlCol="0">
                <a:spAutoFit/>
              </a:bodyPr>
              <a:lstStyle/>
              <a:p>
                <a:r>
                  <a:rPr lang="de-DE" sz="2400" b="1" dirty="0">
                    <a:solidFill>
                      <a:schemeClr val="accent3">
                        <a:lumMod val="75000"/>
                      </a:schemeClr>
                    </a:solidFill>
                    <a:latin typeface="Calibri" panose="020F0502020204030204" pitchFamily="34" charset="0"/>
                    <a:cs typeface="Calibri" panose="020F0502020204030204" pitchFamily="34" charset="0"/>
                  </a:rPr>
                  <a:t>4 Partners</a:t>
                </a:r>
              </a:p>
            </p:txBody>
          </p:sp>
        </p:grpSp>
        <p:sp>
          <p:nvSpPr>
            <p:cNvPr id="229" name="Ellipse 179"/>
            <p:cNvSpPr/>
            <p:nvPr/>
          </p:nvSpPr>
          <p:spPr bwMode="auto">
            <a:xfrm flipH="1">
              <a:off x="2942103" y="4090304"/>
              <a:ext cx="174660" cy="176330"/>
            </a:xfrm>
            <a:prstGeom prst="ellipse">
              <a:avLst/>
            </a:prstGeom>
            <a:solidFill>
              <a:schemeClr val="accent1">
                <a:lumMod val="75000"/>
              </a:schemeClr>
            </a:solidFill>
            <a:ln w="2857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a:latin typeface="Calibri" panose="020F0502020204030204" pitchFamily="34" charset="0"/>
                <a:cs typeface="Calibri" panose="020F0502020204030204" pitchFamily="34" charset="0"/>
              </a:endParaRPr>
            </a:p>
          </p:txBody>
        </p:sp>
        <p:sp>
          <p:nvSpPr>
            <p:cNvPr id="230" name="Ellipse 179"/>
            <p:cNvSpPr/>
            <p:nvPr/>
          </p:nvSpPr>
          <p:spPr bwMode="auto">
            <a:xfrm flipH="1">
              <a:off x="3016201" y="4705816"/>
              <a:ext cx="174660" cy="176330"/>
            </a:xfrm>
            <a:prstGeom prst="ellipse">
              <a:avLst/>
            </a:prstGeom>
            <a:solidFill>
              <a:schemeClr val="accent1">
                <a:lumMod val="75000"/>
              </a:schemeClr>
            </a:solidFill>
            <a:ln w="2857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a:latin typeface="Calibri" panose="020F0502020204030204" pitchFamily="34" charset="0"/>
                <a:cs typeface="Calibri" panose="020F0502020204030204" pitchFamily="34" charset="0"/>
              </a:endParaRPr>
            </a:p>
          </p:txBody>
        </p:sp>
      </p:grpSp>
      <p:sp>
        <p:nvSpPr>
          <p:cNvPr id="238" name="Text Placeholder 3"/>
          <p:cNvSpPr txBox="1">
            <a:spLocks/>
          </p:cNvSpPr>
          <p:nvPr/>
        </p:nvSpPr>
        <p:spPr>
          <a:xfrm>
            <a:off x="714812" y="785697"/>
            <a:ext cx="3558672" cy="1972658"/>
          </a:xfrm>
          <a:prstGeom prst="rect">
            <a:avLst/>
          </a:prstGeom>
          <a:solidFill>
            <a:schemeClr val="bg1"/>
          </a:solidFill>
          <a:ln w="19050">
            <a:solidFill>
              <a:srgbClr val="E7E6E6"/>
            </a:solidFill>
          </a:ln>
        </p:spPr>
        <p:txBody>
          <a:bodyPr vert="horz" lIns="180000" tIns="180000" rIns="180000" bIns="180000" rtlCol="0">
            <a:noAutofit/>
          </a:bodyPr>
          <a:lstStyle/>
          <a:p>
            <a:pPr lvl="0">
              <a:spcAft>
                <a:spcPts val="600"/>
              </a:spcAft>
            </a:pPr>
            <a:r>
              <a:rPr lang="en-GB" sz="1600" b="1" dirty="0">
                <a:solidFill>
                  <a:srgbClr val="465B88"/>
                </a:solidFill>
                <a:latin typeface="Calibri" panose="020F0502020204030204" pitchFamily="34" charset="0"/>
                <a:cs typeface="Calibri" panose="020F0502020204030204" pitchFamily="34" charset="0"/>
              </a:rPr>
              <a:t>BALANCED INSTITUTIONAL DIVERSITY</a:t>
            </a:r>
          </a:p>
          <a:p>
            <a:pPr marL="360363" lvl="0" indent="-360363">
              <a:buFont typeface="Wingdings" pitchFamily="2" charset="2"/>
              <a:buChar char="§"/>
            </a:pPr>
            <a:r>
              <a:rPr lang="en-GB" sz="1400" dirty="0">
                <a:solidFill>
                  <a:srgbClr val="465B88"/>
                </a:solidFill>
                <a:latin typeface="Calibri" panose="020F0502020204030204" pitchFamily="34" charset="0"/>
                <a:cs typeface="Calibri" panose="020F0502020204030204" pitchFamily="34" charset="0"/>
              </a:rPr>
              <a:t>Companies (</a:t>
            </a:r>
            <a:r>
              <a:rPr lang="en-GB" sz="1400" dirty="0" err="1">
                <a:solidFill>
                  <a:srgbClr val="465B88"/>
                </a:solidFill>
                <a:latin typeface="Calibri" panose="020F0502020204030204" pitchFamily="34" charset="0"/>
                <a:cs typeface="Calibri" panose="020F0502020204030204" pitchFamily="34" charset="0"/>
              </a:rPr>
              <a:t>SPI</a:t>
            </a:r>
            <a:r>
              <a:rPr lang="en-GB" sz="1400" dirty="0">
                <a:solidFill>
                  <a:srgbClr val="465B88"/>
                </a:solidFill>
                <a:latin typeface="Calibri" panose="020F0502020204030204" pitchFamily="34" charset="0"/>
                <a:cs typeface="Calibri" panose="020F0502020204030204" pitchFamily="34" charset="0"/>
              </a:rPr>
              <a:t>, </a:t>
            </a:r>
            <a:r>
              <a:rPr lang="en-GB" sz="1400" dirty="0" err="1">
                <a:solidFill>
                  <a:srgbClr val="465B88"/>
                </a:solidFill>
                <a:latin typeface="Calibri" panose="020F0502020204030204" pitchFamily="34" charset="0"/>
                <a:cs typeface="Calibri" panose="020F0502020204030204" pitchFamily="34" charset="0"/>
              </a:rPr>
              <a:t>RCISD</a:t>
            </a:r>
            <a:r>
              <a:rPr lang="en-GB" sz="1400" dirty="0">
                <a:solidFill>
                  <a:srgbClr val="465B88"/>
                </a:solidFill>
                <a:latin typeface="Calibri" panose="020F0502020204030204" pitchFamily="34" charset="0"/>
                <a:cs typeface="Calibri" panose="020F0502020204030204" pitchFamily="34" charset="0"/>
              </a:rPr>
              <a:t>)</a:t>
            </a:r>
          </a:p>
          <a:p>
            <a:pPr marL="360363" lvl="0" indent="-360363">
              <a:buFont typeface="Wingdings" pitchFamily="2" charset="2"/>
              <a:buChar char="§"/>
            </a:pPr>
            <a:r>
              <a:rPr lang="en-GB" sz="1400" dirty="0">
                <a:solidFill>
                  <a:srgbClr val="465B88"/>
                </a:solidFill>
                <a:latin typeface="Calibri" panose="020F0502020204030204" pitchFamily="34" charset="0"/>
                <a:cs typeface="Calibri" panose="020F0502020204030204" pitchFamily="34" charset="0"/>
              </a:rPr>
              <a:t>Universities (</a:t>
            </a:r>
            <a:r>
              <a:rPr lang="en-GB" sz="1400" dirty="0" err="1">
                <a:solidFill>
                  <a:srgbClr val="465B88"/>
                </a:solidFill>
                <a:latin typeface="Calibri" panose="020F0502020204030204" pitchFamily="34" charset="0"/>
                <a:cs typeface="Calibri" panose="020F0502020204030204" pitchFamily="34" charset="0"/>
              </a:rPr>
              <a:t>UNICAMP</a:t>
            </a:r>
            <a:r>
              <a:rPr lang="en-GB" sz="1400" dirty="0">
                <a:solidFill>
                  <a:srgbClr val="465B88"/>
                </a:solidFill>
                <a:latin typeface="Calibri" panose="020F0502020204030204" pitchFamily="34" charset="0"/>
                <a:cs typeface="Calibri" panose="020F0502020204030204" pitchFamily="34" charset="0"/>
              </a:rPr>
              <a:t>, SU)</a:t>
            </a:r>
          </a:p>
          <a:p>
            <a:pPr marL="360363" lvl="0" indent="-360363">
              <a:buFont typeface="Wingdings" pitchFamily="2" charset="2"/>
              <a:buChar char="§"/>
            </a:pPr>
            <a:r>
              <a:rPr lang="en-GB" sz="1400" dirty="0">
                <a:solidFill>
                  <a:srgbClr val="465B88"/>
                </a:solidFill>
                <a:latin typeface="Calibri" panose="020F0502020204030204" pitchFamily="34" charset="0"/>
                <a:cs typeface="Calibri" panose="020F0502020204030204" pitchFamily="34" charset="0"/>
              </a:rPr>
              <a:t>Funding agencies (</a:t>
            </a:r>
            <a:r>
              <a:rPr lang="en-GB" sz="1400" dirty="0" err="1">
                <a:solidFill>
                  <a:srgbClr val="465B88"/>
                </a:solidFill>
                <a:latin typeface="Calibri" panose="020F0502020204030204" pitchFamily="34" charset="0"/>
                <a:cs typeface="Calibri" panose="020F0502020204030204" pitchFamily="34" charset="0"/>
              </a:rPr>
              <a:t>FFG</a:t>
            </a:r>
            <a:r>
              <a:rPr lang="en-GB" sz="1400" dirty="0">
                <a:solidFill>
                  <a:srgbClr val="465B88"/>
                </a:solidFill>
                <a:latin typeface="Calibri" panose="020F0502020204030204" pitchFamily="34" charset="0"/>
                <a:cs typeface="Calibri" panose="020F0502020204030204" pitchFamily="34" charset="0"/>
              </a:rPr>
              <a:t>) </a:t>
            </a:r>
          </a:p>
          <a:p>
            <a:pPr marL="360363" lvl="0" indent="-360363">
              <a:buFont typeface="Wingdings" pitchFamily="2" charset="2"/>
              <a:buChar char="§"/>
            </a:pPr>
            <a:r>
              <a:rPr lang="en-GB" sz="1400" dirty="0" err="1">
                <a:solidFill>
                  <a:srgbClr val="465B88"/>
                </a:solidFill>
                <a:latin typeface="Calibri" panose="020F0502020204030204" pitchFamily="34" charset="0"/>
                <a:cs typeface="Calibri" panose="020F0502020204030204" pitchFamily="34" charset="0"/>
              </a:rPr>
              <a:t>R&amp;I</a:t>
            </a:r>
            <a:r>
              <a:rPr lang="en-GB" sz="1400" dirty="0">
                <a:solidFill>
                  <a:srgbClr val="465B88"/>
                </a:solidFill>
                <a:latin typeface="Calibri" panose="020F0502020204030204" pitchFamily="34" charset="0"/>
                <a:cs typeface="Calibri" panose="020F0502020204030204" pitchFamily="34" charset="0"/>
              </a:rPr>
              <a:t> organizations (</a:t>
            </a:r>
            <a:r>
              <a:rPr lang="en-GB" sz="1400" dirty="0" err="1">
                <a:solidFill>
                  <a:srgbClr val="465B88"/>
                </a:solidFill>
                <a:latin typeface="Calibri" panose="020F0502020204030204" pitchFamily="34" charset="0"/>
                <a:cs typeface="Calibri" panose="020F0502020204030204" pitchFamily="34" charset="0"/>
              </a:rPr>
              <a:t>FHG</a:t>
            </a:r>
            <a:r>
              <a:rPr lang="en-GB" sz="1400" dirty="0">
                <a:solidFill>
                  <a:srgbClr val="465B88"/>
                </a:solidFill>
                <a:latin typeface="Calibri" panose="020F0502020204030204" pitchFamily="34" charset="0"/>
                <a:cs typeface="Calibri" panose="020F0502020204030204" pitchFamily="34" charset="0"/>
              </a:rPr>
              <a:t>, </a:t>
            </a:r>
            <a:r>
              <a:rPr lang="en-GB" sz="1400" dirty="0" err="1">
                <a:solidFill>
                  <a:srgbClr val="465B88"/>
                </a:solidFill>
                <a:latin typeface="Calibri" panose="020F0502020204030204" pitchFamily="34" charset="0"/>
                <a:cs typeface="Calibri" panose="020F0502020204030204" pitchFamily="34" charset="0"/>
              </a:rPr>
              <a:t>DLR</a:t>
            </a:r>
            <a:r>
              <a:rPr lang="en-GB" sz="1400" dirty="0">
                <a:solidFill>
                  <a:srgbClr val="465B88"/>
                </a:solidFill>
                <a:latin typeface="Calibri" panose="020F0502020204030204" pitchFamily="34" charset="0"/>
                <a:cs typeface="Calibri" panose="020F0502020204030204" pitchFamily="34" charset="0"/>
              </a:rPr>
              <a:t>) </a:t>
            </a:r>
          </a:p>
          <a:p>
            <a:pPr marL="360363" lvl="0" indent="-360363">
              <a:buFont typeface="Wingdings" pitchFamily="2" charset="2"/>
              <a:buChar char="§"/>
            </a:pPr>
            <a:r>
              <a:rPr lang="en-GB" sz="1400" dirty="0">
                <a:solidFill>
                  <a:srgbClr val="465B88"/>
                </a:solidFill>
                <a:latin typeface="Calibri" panose="020F0502020204030204" pitchFamily="34" charset="0"/>
                <a:cs typeface="Calibri" panose="020F0502020204030204" pitchFamily="34" charset="0"/>
              </a:rPr>
              <a:t>Not-for-profit organisations </a:t>
            </a:r>
          </a:p>
          <a:p>
            <a:pPr marL="360363" lvl="0" indent="-360363">
              <a:buFont typeface="Wingdings" pitchFamily="2" charset="2"/>
              <a:buChar char="§"/>
            </a:pPr>
            <a:r>
              <a:rPr lang="en-GB" sz="1400" dirty="0">
                <a:solidFill>
                  <a:srgbClr val="465B88"/>
                </a:solidFill>
                <a:latin typeface="Calibri" panose="020F0502020204030204" pitchFamily="34" charset="0"/>
                <a:cs typeface="Calibri" panose="020F0502020204030204" pitchFamily="34" charset="0"/>
              </a:rPr>
              <a:t> (</a:t>
            </a:r>
            <a:r>
              <a:rPr lang="en-GB" sz="1400" dirty="0" err="1">
                <a:solidFill>
                  <a:srgbClr val="465B88"/>
                </a:solidFill>
                <a:latin typeface="Calibri" panose="020F0502020204030204" pitchFamily="34" charset="0"/>
                <a:cs typeface="Calibri" panose="020F0502020204030204" pitchFamily="34" charset="0"/>
              </a:rPr>
              <a:t>ANPEI</a:t>
            </a:r>
            <a:r>
              <a:rPr lang="en-GB" sz="1400" dirty="0">
                <a:solidFill>
                  <a:srgbClr val="465B88"/>
                </a:solidFill>
                <a:latin typeface="Calibri" panose="020F0502020204030204" pitchFamily="34" charset="0"/>
                <a:cs typeface="Calibri" panose="020F0502020204030204" pitchFamily="34" charset="0"/>
              </a:rPr>
              <a:t>, </a:t>
            </a:r>
            <a:r>
              <a:rPr lang="en-GB" sz="1400" dirty="0" err="1">
                <a:solidFill>
                  <a:srgbClr val="465B88"/>
                </a:solidFill>
                <a:latin typeface="Calibri" panose="020F0502020204030204" pitchFamily="34" charset="0"/>
                <a:cs typeface="Calibri" panose="020F0502020204030204" pitchFamily="34" charset="0"/>
              </a:rPr>
              <a:t>CONFAP</a:t>
            </a:r>
            <a:r>
              <a:rPr lang="en-GB" sz="1400" dirty="0">
                <a:solidFill>
                  <a:srgbClr val="465B88"/>
                </a:solidFill>
                <a:latin typeface="Calibri" panose="020F0502020204030204" pitchFamily="34" charset="0"/>
                <a:cs typeface="Calibri" panose="020F0502020204030204" pitchFamily="34" charset="0"/>
              </a:rPr>
              <a:t>, </a:t>
            </a:r>
            <a:r>
              <a:rPr lang="en-GB" sz="1400" dirty="0" err="1">
                <a:solidFill>
                  <a:srgbClr val="465B88"/>
                </a:solidFill>
                <a:latin typeface="Calibri" panose="020F0502020204030204" pitchFamily="34" charset="0"/>
                <a:cs typeface="Calibri" panose="020F0502020204030204" pitchFamily="34" charset="0"/>
              </a:rPr>
              <a:t>CNI</a:t>
            </a:r>
            <a:r>
              <a:rPr lang="en-GB" sz="1400" dirty="0">
                <a:solidFill>
                  <a:srgbClr val="465B88"/>
                </a:solidFill>
                <a:latin typeface="Calibri" panose="020F0502020204030204" pitchFamily="34" charset="0"/>
                <a:cs typeface="Calibri" panose="020F0502020204030204" pitchFamily="34" charset="0"/>
              </a:rPr>
              <a:t>, </a:t>
            </a:r>
            <a:r>
              <a:rPr lang="en-GB" sz="1400" dirty="0" err="1">
                <a:solidFill>
                  <a:srgbClr val="465B88"/>
                </a:solidFill>
                <a:latin typeface="Calibri" panose="020F0502020204030204" pitchFamily="34" charset="0"/>
                <a:cs typeface="Calibri" panose="020F0502020204030204" pitchFamily="34" charset="0"/>
              </a:rPr>
              <a:t>EBN</a:t>
            </a:r>
            <a:r>
              <a:rPr lang="en-GB" sz="1400" dirty="0">
                <a:solidFill>
                  <a:srgbClr val="465B88"/>
                </a:solidFill>
                <a:latin typeface="Calibri" panose="020F0502020204030204" pitchFamily="34" charset="0"/>
                <a:cs typeface="Calibri" panose="020F0502020204030204" pitchFamily="34" charset="0"/>
              </a:rPr>
              <a:t>, </a:t>
            </a:r>
            <a:r>
              <a:rPr lang="en-GB" sz="1400" dirty="0" err="1">
                <a:solidFill>
                  <a:srgbClr val="465B88"/>
                </a:solidFill>
                <a:latin typeface="Calibri" panose="020F0502020204030204" pitchFamily="34" charset="0"/>
                <a:cs typeface="Calibri" panose="020F0502020204030204" pitchFamily="34" charset="0"/>
              </a:rPr>
              <a:t>IASP</a:t>
            </a:r>
            <a:r>
              <a:rPr lang="en-GB" sz="1400" dirty="0">
                <a:solidFill>
                  <a:srgbClr val="465B88"/>
                </a:solidFill>
                <a:latin typeface="Calibri" panose="020F0502020204030204" pitchFamily="34" charset="0"/>
                <a:cs typeface="Calibri" panose="020F0502020204030204" pitchFamily="34" charset="0"/>
              </a:rPr>
              <a:t>)</a:t>
            </a:r>
          </a:p>
        </p:txBody>
      </p:sp>
      <p:sp>
        <p:nvSpPr>
          <p:cNvPr id="126" name="Titel 1"/>
          <p:cNvSpPr txBox="1">
            <a:spLocks/>
          </p:cNvSpPr>
          <p:nvPr/>
        </p:nvSpPr>
        <p:spPr bwMode="auto">
          <a:xfrm>
            <a:off x="1" y="39900"/>
            <a:ext cx="9922196" cy="461665"/>
          </a:xfrm>
          <a:prstGeom prst="rect">
            <a:avLst/>
          </a:prstGeom>
          <a:noFill/>
          <a:ln>
            <a:noFill/>
          </a:ln>
        </p:spPr>
        <p:txBody>
          <a:bodyPr wrap="square" rtlCol="0">
            <a:spAutoFit/>
          </a:bodyPr>
          <a:lstStyle>
            <a:defPPr>
              <a:defRPr lang="es-ES_tradnl"/>
            </a:defPPr>
            <a:lvl1pPr>
              <a:defRPr sz="2400" b="1">
                <a:solidFill>
                  <a:schemeClr val="bg1"/>
                </a:solidFill>
                <a:latin typeface="Calibri" panose="020F0502020204030204" pitchFamily="34" charset="0"/>
                <a:cs typeface="Calibri" panose="020F0502020204030204" pitchFamily="34" charset="0"/>
              </a:defRPr>
            </a:lvl1pPr>
          </a:lstStyle>
          <a:p>
            <a:pPr algn="ctr"/>
            <a:r>
              <a:rPr lang="en-GB" dirty="0">
                <a:solidFill>
                  <a:schemeClr val="accent1">
                    <a:lumMod val="75000"/>
                  </a:schemeClr>
                </a:solidFill>
              </a:rPr>
              <a:t>CEBRABIC Consortium: 12 Partner Organisations </a:t>
            </a:r>
            <a:r>
              <a:rPr lang="en-GB" sz="1400" dirty="0">
                <a:solidFill>
                  <a:schemeClr val="accent1">
                    <a:lumMod val="75000"/>
                  </a:schemeClr>
                </a:solidFill>
              </a:rPr>
              <a:t>(Brazil &amp; Europe)</a:t>
            </a:r>
            <a:endParaRPr lang="en-GB" sz="1200" dirty="0">
              <a:solidFill>
                <a:schemeClr val="accent1">
                  <a:lumMod val="75000"/>
                </a:schemeClr>
              </a:solidFill>
            </a:endParaRPr>
          </a:p>
        </p:txBody>
      </p:sp>
      <p:sp>
        <p:nvSpPr>
          <p:cNvPr id="123" name="Rechteck 122"/>
          <p:cNvSpPr/>
          <p:nvPr/>
        </p:nvSpPr>
        <p:spPr>
          <a:xfrm rot="19103707">
            <a:off x="-193035" y="177974"/>
            <a:ext cx="1292370" cy="483579"/>
          </a:xfrm>
          <a:prstGeom prst="rect">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latin typeface="Calibri" panose="020F0502020204030204" pitchFamily="34" charset="0"/>
                <a:cs typeface="Calibri" panose="020F0502020204030204" pitchFamily="34" charset="0"/>
              </a:rPr>
              <a:t>Who </a:t>
            </a:r>
          </a:p>
          <a:p>
            <a:pPr algn="ctr"/>
            <a:r>
              <a:rPr lang="de-DE" sz="1600" b="1" dirty="0" err="1">
                <a:solidFill>
                  <a:schemeClr val="bg1"/>
                </a:solidFill>
                <a:latin typeface="Calibri" panose="020F0502020204030204" pitchFamily="34" charset="0"/>
                <a:cs typeface="Calibri" panose="020F0502020204030204" pitchFamily="34" charset="0"/>
              </a:rPr>
              <a:t>we</a:t>
            </a:r>
            <a:r>
              <a:rPr lang="de-DE" sz="1600" b="1" dirty="0">
                <a:solidFill>
                  <a:schemeClr val="bg1"/>
                </a:solidFill>
                <a:latin typeface="Calibri" panose="020F0502020204030204" pitchFamily="34" charset="0"/>
                <a:cs typeface="Calibri" panose="020F0502020204030204" pitchFamily="34" charset="0"/>
              </a:rPr>
              <a:t> </a:t>
            </a:r>
            <a:r>
              <a:rPr lang="de-DE" sz="1600" b="1" dirty="0" err="1">
                <a:solidFill>
                  <a:schemeClr val="bg1"/>
                </a:solidFill>
                <a:latin typeface="Calibri" panose="020F0502020204030204" pitchFamily="34" charset="0"/>
                <a:cs typeface="Calibri" panose="020F0502020204030204" pitchFamily="34" charset="0"/>
              </a:rPr>
              <a:t>are</a:t>
            </a:r>
            <a:r>
              <a:rPr lang="de-DE" sz="1600" b="1" dirty="0">
                <a:solidFill>
                  <a:schemeClr val="bg1"/>
                </a:solidFill>
                <a:latin typeface="Calibri" panose="020F0502020204030204" pitchFamily="34" charset="0"/>
                <a:cs typeface="Calibri" panose="020F0502020204030204" pitchFamily="34" charset="0"/>
              </a:rPr>
              <a:t>!</a:t>
            </a:r>
          </a:p>
        </p:txBody>
      </p:sp>
      <p:cxnSp>
        <p:nvCxnSpPr>
          <p:cNvPr id="129" name="Straight Connector 21"/>
          <p:cNvCxnSpPr/>
          <p:nvPr/>
        </p:nvCxnSpPr>
        <p:spPr>
          <a:xfrm>
            <a:off x="741408" y="565065"/>
            <a:ext cx="9156077" cy="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0" name="Straight Connector 21"/>
          <p:cNvCxnSpPr/>
          <p:nvPr/>
        </p:nvCxnSpPr>
        <p:spPr>
          <a:xfrm>
            <a:off x="630195" y="658301"/>
            <a:ext cx="9272165"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43873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bwMode="auto">
          <a:xfrm>
            <a:off x="1056815" y="4704537"/>
            <a:ext cx="7534275" cy="113848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sz="1600" b="1">
              <a:latin typeface="Calibri" panose="020F0502020204030204" pitchFamily="34" charset="0"/>
              <a:cs typeface="Calibri" panose="020F0502020204030204" pitchFamily="34" charset="0"/>
            </a:endParaRPr>
          </a:p>
        </p:txBody>
      </p:sp>
      <p:sp>
        <p:nvSpPr>
          <p:cNvPr id="6" name="Textfeld 5"/>
          <p:cNvSpPr txBox="1"/>
          <p:nvPr/>
        </p:nvSpPr>
        <p:spPr>
          <a:xfrm>
            <a:off x="7652254" y="4643480"/>
            <a:ext cx="698681" cy="276999"/>
          </a:xfrm>
          <a:prstGeom prst="rect">
            <a:avLst/>
          </a:prstGeom>
          <a:noFill/>
        </p:spPr>
        <p:txBody>
          <a:bodyPr wrap="square" rtlCol="0">
            <a:spAutoFit/>
          </a:bodyPr>
          <a:lstStyle/>
          <a:p>
            <a:pPr algn="ctr"/>
            <a:r>
              <a:rPr lang="de-DE" sz="1200" dirty="0">
                <a:latin typeface="Calibri" panose="020F0502020204030204" pitchFamily="34" charset="0"/>
                <a:cs typeface="Calibri" panose="020F0502020204030204" pitchFamily="34" charset="0"/>
              </a:rPr>
              <a:t>M48</a:t>
            </a:r>
          </a:p>
        </p:txBody>
      </p:sp>
      <p:cxnSp>
        <p:nvCxnSpPr>
          <p:cNvPr id="7" name="Gerader Verbinder 6"/>
          <p:cNvCxnSpPr/>
          <p:nvPr/>
        </p:nvCxnSpPr>
        <p:spPr bwMode="auto">
          <a:xfrm>
            <a:off x="8018069" y="4886346"/>
            <a:ext cx="0" cy="708823"/>
          </a:xfrm>
          <a:prstGeom prst="line">
            <a:avLst/>
          </a:prstGeom>
          <a:ln w="9525">
            <a:solidFill>
              <a:schemeClr val="tx1"/>
            </a:solidFill>
            <a:prstDash val="dash"/>
            <a:headEnd type="none" w="med" len="med"/>
            <a:tailEnd type="none" w="med" len="med"/>
          </a:ln>
        </p:spPr>
        <p:style>
          <a:lnRef idx="2">
            <a:schemeClr val="accent2"/>
          </a:lnRef>
          <a:fillRef idx="0">
            <a:schemeClr val="accent2"/>
          </a:fillRef>
          <a:effectRef idx="1">
            <a:schemeClr val="accent2"/>
          </a:effectRef>
          <a:fontRef idx="minor">
            <a:schemeClr val="tx1"/>
          </a:fontRef>
        </p:style>
      </p:cxnSp>
      <p:sp>
        <p:nvSpPr>
          <p:cNvPr id="8" name="Richtungspfeil 7"/>
          <p:cNvSpPr/>
          <p:nvPr/>
        </p:nvSpPr>
        <p:spPr bwMode="auto">
          <a:xfrm>
            <a:off x="1149732" y="4878182"/>
            <a:ext cx="1944365" cy="708823"/>
          </a:xfrm>
          <a:prstGeom prst="homePlate">
            <a:avLst/>
          </a:prstGeom>
          <a:solidFill>
            <a:schemeClr val="bg2">
              <a:lumMod val="10000"/>
              <a:alpha val="69804"/>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sz="1600" b="1">
              <a:solidFill>
                <a:schemeClr val="bg1"/>
              </a:solidFill>
              <a:latin typeface="Calibri" panose="020F0502020204030204" pitchFamily="34" charset="0"/>
              <a:cs typeface="Calibri" panose="020F0502020204030204" pitchFamily="34" charset="0"/>
            </a:endParaRPr>
          </a:p>
        </p:txBody>
      </p:sp>
      <p:sp>
        <p:nvSpPr>
          <p:cNvPr id="9" name="Eingekerbter Richtungspfeil 8"/>
          <p:cNvSpPr/>
          <p:nvPr/>
        </p:nvSpPr>
        <p:spPr bwMode="auto">
          <a:xfrm>
            <a:off x="2848359" y="4878182"/>
            <a:ext cx="2096944" cy="708823"/>
          </a:xfrm>
          <a:prstGeom prst="chevron">
            <a:avLst/>
          </a:prstGeom>
          <a:solidFill>
            <a:schemeClr val="bg2">
              <a:lumMod val="25000"/>
              <a:alpha val="50196"/>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sz="1600" b="1">
              <a:latin typeface="Calibri" panose="020F0502020204030204" pitchFamily="34" charset="0"/>
              <a:cs typeface="Calibri" panose="020F0502020204030204" pitchFamily="34" charset="0"/>
            </a:endParaRPr>
          </a:p>
        </p:txBody>
      </p:sp>
      <p:sp>
        <p:nvSpPr>
          <p:cNvPr id="10" name="Eingekerbter Richtungspfeil 9"/>
          <p:cNvSpPr/>
          <p:nvPr/>
        </p:nvSpPr>
        <p:spPr bwMode="auto">
          <a:xfrm>
            <a:off x="4705547" y="4878182"/>
            <a:ext cx="3277603" cy="708823"/>
          </a:xfrm>
          <a:prstGeom prst="chevron">
            <a:avLst/>
          </a:prstGeom>
          <a:solidFill>
            <a:schemeClr val="bg2">
              <a:lumMod val="25000"/>
              <a:alpha val="2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sz="1600" b="1">
              <a:latin typeface="Calibri" panose="020F0502020204030204" pitchFamily="34" charset="0"/>
              <a:cs typeface="Calibri" panose="020F0502020204030204" pitchFamily="34" charset="0"/>
            </a:endParaRPr>
          </a:p>
        </p:txBody>
      </p:sp>
      <p:sp>
        <p:nvSpPr>
          <p:cNvPr id="11" name="Textfeld 10"/>
          <p:cNvSpPr txBox="1"/>
          <p:nvPr/>
        </p:nvSpPr>
        <p:spPr>
          <a:xfrm>
            <a:off x="4958332" y="5050324"/>
            <a:ext cx="2833807" cy="338554"/>
          </a:xfrm>
          <a:prstGeom prst="rect">
            <a:avLst/>
          </a:prstGeom>
          <a:noFill/>
        </p:spPr>
        <p:txBody>
          <a:bodyPr wrap="square" rtlCol="0">
            <a:spAutoFit/>
          </a:bodyPr>
          <a:lstStyle/>
          <a:p>
            <a:pPr algn="ctr"/>
            <a:r>
              <a:rPr lang="de-DE" sz="1600" b="1" dirty="0" err="1">
                <a:latin typeface="Calibri" panose="020F0502020204030204" pitchFamily="34" charset="0"/>
                <a:cs typeface="Calibri" panose="020F0502020204030204" pitchFamily="34" charset="0"/>
              </a:rPr>
              <a:t>Full</a:t>
            </a:r>
            <a:r>
              <a:rPr lang="de-DE" sz="1600" b="1" dirty="0">
                <a:latin typeface="Calibri" panose="020F0502020204030204" pitchFamily="34" charset="0"/>
                <a:cs typeface="Calibri" panose="020F0502020204030204" pitchFamily="34" charset="0"/>
              </a:rPr>
              <a:t> Implementation Phase</a:t>
            </a:r>
          </a:p>
        </p:txBody>
      </p:sp>
      <p:sp>
        <p:nvSpPr>
          <p:cNvPr id="12" name="Textfeld 11"/>
          <p:cNvSpPr txBox="1"/>
          <p:nvPr/>
        </p:nvSpPr>
        <p:spPr>
          <a:xfrm>
            <a:off x="2939679" y="5050324"/>
            <a:ext cx="1970704" cy="338554"/>
          </a:xfrm>
          <a:prstGeom prst="rect">
            <a:avLst/>
          </a:prstGeom>
          <a:noFill/>
        </p:spPr>
        <p:txBody>
          <a:bodyPr wrap="square" rtlCol="0">
            <a:spAutoFit/>
          </a:bodyPr>
          <a:lstStyle/>
          <a:p>
            <a:pPr algn="ctr"/>
            <a:r>
              <a:rPr lang="de-DE" sz="1600" b="1" dirty="0" err="1">
                <a:latin typeface="Calibri" panose="020F0502020204030204" pitchFamily="34" charset="0"/>
                <a:cs typeface="Calibri" panose="020F0502020204030204" pitchFamily="34" charset="0"/>
              </a:rPr>
              <a:t>Piloting</a:t>
            </a:r>
            <a:r>
              <a:rPr lang="de-DE" sz="1600" b="1" dirty="0">
                <a:latin typeface="Calibri" panose="020F0502020204030204" pitchFamily="34" charset="0"/>
                <a:cs typeface="Calibri" panose="020F0502020204030204" pitchFamily="34" charset="0"/>
              </a:rPr>
              <a:t> Phase</a:t>
            </a:r>
          </a:p>
        </p:txBody>
      </p:sp>
      <p:sp>
        <p:nvSpPr>
          <p:cNvPr id="13" name="Textfeld 12"/>
          <p:cNvSpPr txBox="1"/>
          <p:nvPr/>
        </p:nvSpPr>
        <p:spPr>
          <a:xfrm>
            <a:off x="916163" y="5050324"/>
            <a:ext cx="1825681" cy="338554"/>
          </a:xfrm>
          <a:prstGeom prst="rect">
            <a:avLst/>
          </a:prstGeom>
          <a:noFill/>
        </p:spPr>
        <p:txBody>
          <a:bodyPr wrap="square" rtlCol="0">
            <a:spAutoFit/>
          </a:bodyPr>
          <a:lstStyle/>
          <a:p>
            <a:pPr algn="ctr"/>
            <a:r>
              <a:rPr lang="de-DE" sz="1600" b="1" dirty="0" err="1">
                <a:solidFill>
                  <a:schemeClr val="bg1"/>
                </a:solidFill>
                <a:latin typeface="Calibri" panose="020F0502020204030204" pitchFamily="34" charset="0"/>
                <a:cs typeface="Calibri" panose="020F0502020204030204" pitchFamily="34" charset="0"/>
              </a:rPr>
              <a:t>Planning</a:t>
            </a:r>
            <a:r>
              <a:rPr lang="de-DE" sz="1600" b="1" dirty="0">
                <a:solidFill>
                  <a:schemeClr val="bg1"/>
                </a:solidFill>
                <a:latin typeface="Calibri" panose="020F0502020204030204" pitchFamily="34" charset="0"/>
                <a:cs typeface="Calibri" panose="020F0502020204030204" pitchFamily="34" charset="0"/>
              </a:rPr>
              <a:t> Phase</a:t>
            </a:r>
          </a:p>
        </p:txBody>
      </p:sp>
      <p:sp>
        <p:nvSpPr>
          <p:cNvPr id="14" name="Textfeld 13"/>
          <p:cNvSpPr txBox="1"/>
          <p:nvPr/>
        </p:nvSpPr>
        <p:spPr>
          <a:xfrm>
            <a:off x="3080389" y="4862586"/>
            <a:ext cx="506174" cy="276999"/>
          </a:xfrm>
          <a:prstGeom prst="rect">
            <a:avLst/>
          </a:prstGeom>
          <a:noFill/>
        </p:spPr>
        <p:txBody>
          <a:bodyPr wrap="square" rtlCol="0">
            <a:spAutoFit/>
          </a:bodyPr>
          <a:lstStyle/>
          <a:p>
            <a:pPr algn="ctr"/>
            <a:r>
              <a:rPr lang="de-DE" sz="1200" dirty="0">
                <a:solidFill>
                  <a:schemeClr val="bg1"/>
                </a:solidFill>
                <a:latin typeface="Calibri" panose="020F0502020204030204" pitchFamily="34" charset="0"/>
                <a:cs typeface="Calibri" panose="020F0502020204030204" pitchFamily="34" charset="0"/>
              </a:rPr>
              <a:t>M13</a:t>
            </a:r>
          </a:p>
        </p:txBody>
      </p:sp>
      <p:sp>
        <p:nvSpPr>
          <p:cNvPr id="15" name="Textfeld 14"/>
          <p:cNvSpPr txBox="1"/>
          <p:nvPr/>
        </p:nvSpPr>
        <p:spPr>
          <a:xfrm>
            <a:off x="4826316" y="4862586"/>
            <a:ext cx="517001" cy="276999"/>
          </a:xfrm>
          <a:prstGeom prst="rect">
            <a:avLst/>
          </a:prstGeom>
          <a:noFill/>
        </p:spPr>
        <p:txBody>
          <a:bodyPr wrap="square" rtlCol="0">
            <a:spAutoFit/>
          </a:bodyPr>
          <a:lstStyle/>
          <a:p>
            <a:pPr algn="ctr"/>
            <a:r>
              <a:rPr lang="de-DE" sz="1200" dirty="0">
                <a:solidFill>
                  <a:schemeClr val="bg1"/>
                </a:solidFill>
                <a:latin typeface="Calibri" panose="020F0502020204030204" pitchFamily="34" charset="0"/>
                <a:cs typeface="Calibri" panose="020F0502020204030204" pitchFamily="34" charset="0"/>
              </a:rPr>
              <a:t>M25</a:t>
            </a:r>
          </a:p>
        </p:txBody>
      </p:sp>
      <p:sp>
        <p:nvSpPr>
          <p:cNvPr id="16" name="Textfeld 15"/>
          <p:cNvSpPr txBox="1"/>
          <p:nvPr/>
        </p:nvSpPr>
        <p:spPr>
          <a:xfrm>
            <a:off x="1051852" y="4862586"/>
            <a:ext cx="597923" cy="276999"/>
          </a:xfrm>
          <a:prstGeom prst="rect">
            <a:avLst/>
          </a:prstGeom>
          <a:noFill/>
        </p:spPr>
        <p:txBody>
          <a:bodyPr wrap="square" rtlCol="0">
            <a:spAutoFit/>
          </a:bodyPr>
          <a:lstStyle/>
          <a:p>
            <a:pPr algn="ctr"/>
            <a:r>
              <a:rPr lang="de-DE" sz="1200" dirty="0">
                <a:solidFill>
                  <a:schemeClr val="bg1"/>
                </a:solidFill>
                <a:latin typeface="Calibri" panose="020F0502020204030204" pitchFamily="34" charset="0"/>
                <a:cs typeface="Calibri" panose="020F0502020204030204" pitchFamily="34" charset="0"/>
              </a:rPr>
              <a:t>M1</a:t>
            </a:r>
          </a:p>
        </p:txBody>
      </p:sp>
      <p:sp>
        <p:nvSpPr>
          <p:cNvPr id="17" name="Textfeld 16"/>
          <p:cNvSpPr txBox="1"/>
          <p:nvPr/>
        </p:nvSpPr>
        <p:spPr>
          <a:xfrm>
            <a:off x="8124585" y="5009925"/>
            <a:ext cx="1135558" cy="461665"/>
          </a:xfrm>
          <a:prstGeom prst="rect">
            <a:avLst/>
          </a:prstGeom>
          <a:solidFill>
            <a:schemeClr val="tx1">
              <a:lumMod val="95000"/>
              <a:lumOff val="5000"/>
              <a:alpha val="10196"/>
            </a:schemeClr>
          </a:solidFill>
        </p:spPr>
        <p:txBody>
          <a:bodyPr wrap="square" rtlCol="0" anchor="ctr">
            <a:spAutoFit/>
          </a:bodyPr>
          <a:lstStyle/>
          <a:p>
            <a:pPr algn="ctr"/>
            <a:r>
              <a:rPr lang="de-DE" sz="1200" b="1" dirty="0">
                <a:latin typeface="Calibri" panose="020F0502020204030204" pitchFamily="34" charset="0"/>
                <a:cs typeface="Calibri" panose="020F0502020204030204" pitchFamily="34" charset="0"/>
              </a:rPr>
              <a:t>Post </a:t>
            </a:r>
          </a:p>
          <a:p>
            <a:pPr algn="ctr"/>
            <a:r>
              <a:rPr lang="de-DE" sz="1200" b="1" dirty="0">
                <a:latin typeface="Calibri" panose="020F0502020204030204" pitchFamily="34" charset="0"/>
                <a:cs typeface="Calibri" panose="020F0502020204030204" pitchFamily="34" charset="0"/>
              </a:rPr>
              <a:t>Project </a:t>
            </a:r>
          </a:p>
        </p:txBody>
      </p:sp>
      <p:sp>
        <p:nvSpPr>
          <p:cNvPr id="18" name="Textfeld 17"/>
          <p:cNvSpPr txBox="1"/>
          <p:nvPr/>
        </p:nvSpPr>
        <p:spPr>
          <a:xfrm>
            <a:off x="1137415" y="5626859"/>
            <a:ext cx="1759168" cy="230832"/>
          </a:xfrm>
          <a:prstGeom prst="rect">
            <a:avLst/>
          </a:prstGeom>
          <a:noFill/>
        </p:spPr>
        <p:txBody>
          <a:bodyPr wrap="square" rtlCol="0">
            <a:spAutoFit/>
          </a:bodyPr>
          <a:lstStyle/>
          <a:p>
            <a:r>
              <a:rPr lang="de-DE" sz="900" dirty="0">
                <a:latin typeface="Calibri" panose="020F0502020204030204" pitchFamily="34" charset="0"/>
                <a:cs typeface="Calibri" panose="020F0502020204030204" pitchFamily="34" charset="0"/>
              </a:rPr>
              <a:t>CEBRABIC Project </a:t>
            </a:r>
            <a:r>
              <a:rPr lang="de-DE" sz="900" dirty="0" err="1">
                <a:latin typeface="Calibri" panose="020F0502020204030204" pitchFamily="34" charset="0"/>
                <a:cs typeface="Calibri" panose="020F0502020204030204" pitchFamily="34" charset="0"/>
              </a:rPr>
              <a:t>Phases</a:t>
            </a:r>
            <a:endParaRPr lang="de-DE" sz="900" dirty="0">
              <a:latin typeface="Calibri" panose="020F0502020204030204" pitchFamily="34" charset="0"/>
              <a:cs typeface="Calibri" panose="020F0502020204030204" pitchFamily="34" charset="0"/>
            </a:endParaRPr>
          </a:p>
        </p:txBody>
      </p:sp>
      <p:pic>
        <p:nvPicPr>
          <p:cNvPr id="2" name="Grafik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49733" y="652997"/>
            <a:ext cx="7348441" cy="3874341"/>
          </a:xfrm>
          <a:prstGeom prst="rect">
            <a:avLst/>
          </a:prstGeom>
          <a:ln w="38100">
            <a:solidFill>
              <a:srgbClr val="FFC000"/>
            </a:solidFill>
          </a:ln>
        </p:spPr>
      </p:pic>
      <p:cxnSp>
        <p:nvCxnSpPr>
          <p:cNvPr id="20" name="Gerade Verbindung mit Pfeil 19"/>
          <p:cNvCxnSpPr/>
          <p:nvPr/>
        </p:nvCxnSpPr>
        <p:spPr bwMode="auto">
          <a:xfrm>
            <a:off x="3806099" y="4383536"/>
            <a:ext cx="0" cy="626389"/>
          </a:xfrm>
          <a:prstGeom prst="straightConnector1">
            <a:avLst/>
          </a:prstGeom>
          <a:solidFill>
            <a:schemeClr val="accent1"/>
          </a:solidFill>
          <a:ln w="76200" cap="flat" cmpd="sng" algn="ctr">
            <a:solidFill>
              <a:srgbClr val="FFC000"/>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Titel 1"/>
          <p:cNvSpPr txBox="1">
            <a:spLocks/>
          </p:cNvSpPr>
          <p:nvPr/>
        </p:nvSpPr>
        <p:spPr bwMode="auto">
          <a:xfrm>
            <a:off x="0" y="0"/>
            <a:ext cx="9906000" cy="461665"/>
          </a:xfrm>
          <a:prstGeom prst="rect">
            <a:avLst/>
          </a:prstGeom>
          <a:solidFill>
            <a:schemeClr val="bg2">
              <a:lumMod val="50000"/>
            </a:schemeClr>
          </a:solidFill>
        </p:spPr>
        <p:txBody>
          <a:bodyPr wrap="square" rtlCol="0">
            <a:spAutoFit/>
          </a:bodyPr>
          <a:lstStyle>
            <a:defPPr>
              <a:defRPr lang="es-ES_tradnl"/>
            </a:defPPr>
            <a:lvl1pPr>
              <a:defRPr sz="3600" b="1">
                <a:solidFill>
                  <a:schemeClr val="bg1"/>
                </a:solidFill>
                <a:latin typeface="Calibri" panose="020F0502020204030204" pitchFamily="34" charset="0"/>
                <a:cs typeface="Calibri" panose="020F0502020204030204" pitchFamily="34" charset="0"/>
              </a:defRPr>
            </a:lvl1pPr>
          </a:lstStyle>
          <a:p>
            <a:r>
              <a:rPr lang="en-GB" sz="2400" dirty="0"/>
              <a:t>‘ENRICH in Brazil’ Official Opening in Brasília – 29th November 2017 </a:t>
            </a:r>
          </a:p>
        </p:txBody>
      </p:sp>
      <p:pic>
        <p:nvPicPr>
          <p:cNvPr id="22" name="Picture 2" descr="Regional Centre for Information and Scientific Development Lt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8603" y="6214860"/>
            <a:ext cx="2081287" cy="53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4782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6">
            <a:extLst>
              <a:ext uri="{FF2B5EF4-FFF2-40B4-BE49-F238E27FC236}">
                <a16:creationId xmlns:a16="http://schemas.microsoft.com/office/drawing/2014/main" id="{ABF83D81-B447-488D-AC02-1A7F85C1B28F}"/>
              </a:ext>
            </a:extLst>
          </p:cNvPr>
          <p:cNvSpPr txBox="1"/>
          <p:nvPr/>
        </p:nvSpPr>
        <p:spPr>
          <a:xfrm>
            <a:off x="533400" y="1062336"/>
            <a:ext cx="7086600" cy="461665"/>
          </a:xfrm>
          <a:prstGeom prst="rect">
            <a:avLst/>
          </a:prstGeom>
          <a:noFill/>
        </p:spPr>
        <p:txBody>
          <a:bodyPr wrap="square" rtlCol="0">
            <a:spAutoFit/>
          </a:bodyPr>
          <a:lstStyle/>
          <a:p>
            <a:r>
              <a:rPr lang="pt-PT" sz="2400" dirty="0">
                <a:solidFill>
                  <a:prstClr val="white"/>
                </a:solidFill>
                <a:latin typeface="Century Gothic" panose="020B0502020202020204" pitchFamily="34" charset="0"/>
              </a:rPr>
              <a:t>Inauguration Event: Brasília, November 2017</a:t>
            </a:r>
            <a:endParaRPr lang="pt-PT" sz="2000" dirty="0">
              <a:solidFill>
                <a:prstClr val="white"/>
              </a:solidFill>
              <a:latin typeface="Century Gothic" panose="020B0502020202020204" pitchFamily="34" charset="0"/>
            </a:endParaRPr>
          </a:p>
        </p:txBody>
      </p:sp>
      <p:pic>
        <p:nvPicPr>
          <p:cNvPr id="2" name="Picture 1"/>
          <p:cNvPicPr>
            <a:picLocks noChangeAspect="1"/>
          </p:cNvPicPr>
          <p:nvPr/>
        </p:nvPicPr>
        <p:blipFill rotWithShape="1">
          <a:blip r:embed="rId3"/>
          <a:srcRect l="6666" t="22001" r="9167" b="48585"/>
          <a:stretch/>
        </p:blipFill>
        <p:spPr>
          <a:xfrm>
            <a:off x="599094" y="1062336"/>
            <a:ext cx="8721966" cy="1905000"/>
          </a:xfrm>
          <a:prstGeom prst="rect">
            <a:avLst/>
          </a:prstGeom>
        </p:spPr>
      </p:pic>
      <p:pic>
        <p:nvPicPr>
          <p:cNvPr id="5" name="Picture 4"/>
          <p:cNvPicPr>
            <a:picLocks noChangeAspect="1"/>
          </p:cNvPicPr>
          <p:nvPr/>
        </p:nvPicPr>
        <p:blipFill rotWithShape="1">
          <a:blip r:embed="rId4"/>
          <a:srcRect l="17500" t="16667" r="17500" b="19333"/>
          <a:stretch/>
        </p:blipFill>
        <p:spPr>
          <a:xfrm>
            <a:off x="4960077" y="3129225"/>
            <a:ext cx="4256484" cy="2619375"/>
          </a:xfrm>
          <a:prstGeom prst="rect">
            <a:avLst/>
          </a:prstGeom>
        </p:spPr>
      </p:pic>
      <p:pic>
        <p:nvPicPr>
          <p:cNvPr id="7" name="Picture 6"/>
          <p:cNvPicPr>
            <a:picLocks noChangeAspect="1"/>
          </p:cNvPicPr>
          <p:nvPr/>
        </p:nvPicPr>
        <p:blipFill rotWithShape="1">
          <a:blip r:embed="rId3"/>
          <a:srcRect l="34722" t="61279" r="37222" b="7860"/>
          <a:stretch/>
        </p:blipFill>
        <p:spPr>
          <a:xfrm>
            <a:off x="845277" y="3129225"/>
            <a:ext cx="3810000" cy="2619375"/>
          </a:xfrm>
          <a:prstGeom prst="rect">
            <a:avLst/>
          </a:prstGeom>
        </p:spPr>
      </p:pic>
      <p:sp>
        <p:nvSpPr>
          <p:cNvPr id="6" name="Titel 1"/>
          <p:cNvSpPr txBox="1">
            <a:spLocks/>
          </p:cNvSpPr>
          <p:nvPr/>
        </p:nvSpPr>
        <p:spPr bwMode="auto">
          <a:xfrm>
            <a:off x="0" y="0"/>
            <a:ext cx="9906000" cy="461665"/>
          </a:xfrm>
          <a:prstGeom prst="rect">
            <a:avLst/>
          </a:prstGeom>
          <a:solidFill>
            <a:schemeClr val="bg2">
              <a:lumMod val="50000"/>
            </a:schemeClr>
          </a:solidFill>
        </p:spPr>
        <p:txBody>
          <a:bodyPr wrap="square" rtlCol="0">
            <a:spAutoFit/>
          </a:bodyPr>
          <a:lstStyle>
            <a:defPPr>
              <a:defRPr lang="es-ES_tradnl"/>
            </a:defPPr>
            <a:lvl1pPr>
              <a:defRPr sz="3600" b="1">
                <a:solidFill>
                  <a:schemeClr val="bg1"/>
                </a:solidFill>
                <a:latin typeface="Calibri" panose="020F0502020204030204" pitchFamily="34" charset="0"/>
                <a:cs typeface="Calibri" panose="020F0502020204030204" pitchFamily="34" charset="0"/>
              </a:defRPr>
            </a:lvl1pPr>
          </a:lstStyle>
          <a:p>
            <a:r>
              <a:rPr lang="en-GB" sz="2400" dirty="0"/>
              <a:t>‘ENRICH in Brazil’ Official Opening in Brasília – 29th November 2017 </a:t>
            </a:r>
          </a:p>
        </p:txBody>
      </p:sp>
      <p:pic>
        <p:nvPicPr>
          <p:cNvPr id="10" name="Picture 2" descr="Regional Centre for Information and Scientific Development Lt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8603" y="6214860"/>
            <a:ext cx="2081287" cy="53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8979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44">
            <a:extLst>
              <a:ext uri="{FF2B5EF4-FFF2-40B4-BE49-F238E27FC236}">
                <a16:creationId xmlns:a16="http://schemas.microsoft.com/office/drawing/2014/main" id="{A4C99CE1-1531-4E1B-B96E-5DF9665206BD}"/>
              </a:ext>
            </a:extLst>
          </p:cNvPr>
          <p:cNvSpPr txBox="1"/>
          <p:nvPr/>
        </p:nvSpPr>
        <p:spPr>
          <a:xfrm>
            <a:off x="1050324" y="867409"/>
            <a:ext cx="7847016" cy="923330"/>
          </a:xfrm>
          <a:prstGeom prst="rect">
            <a:avLst/>
          </a:prstGeom>
          <a:noFill/>
        </p:spPr>
        <p:txBody>
          <a:bodyPr wrap="square" lIns="0" rtlCol="0">
            <a:spAutoFit/>
          </a:bodyPr>
          <a:lstStyle/>
          <a:p>
            <a:pPr algn="ctr"/>
            <a:r>
              <a:rPr lang="en-US" u="dotted" cap="small" dirty="0">
                <a:solidFill>
                  <a:srgbClr val="465B88"/>
                </a:solidFill>
                <a:latin typeface="Calibri" panose="020F0502020204030204" pitchFamily="34" charset="0"/>
                <a:cs typeface="Calibri" panose="020F0502020204030204" pitchFamily="34" charset="0"/>
              </a:rPr>
              <a:t>European Network of Research and Innovation </a:t>
            </a:r>
            <a:r>
              <a:rPr lang="en-US" u="dotted" cap="small" dirty="0" err="1">
                <a:solidFill>
                  <a:srgbClr val="465B88"/>
                </a:solidFill>
                <a:latin typeface="Calibri" panose="020F0502020204030204" pitchFamily="34" charset="0"/>
                <a:cs typeface="Calibri" panose="020F0502020204030204" pitchFamily="34" charset="0"/>
              </a:rPr>
              <a:t>Centres</a:t>
            </a:r>
            <a:r>
              <a:rPr lang="en-US" u="dotted" cap="small" dirty="0">
                <a:solidFill>
                  <a:srgbClr val="465B88"/>
                </a:solidFill>
                <a:latin typeface="Calibri" panose="020F0502020204030204" pitchFamily="34" charset="0"/>
                <a:cs typeface="Calibri" panose="020F0502020204030204" pitchFamily="34" charset="0"/>
              </a:rPr>
              <a:t> and Hubs, Brazil </a:t>
            </a:r>
          </a:p>
          <a:p>
            <a:pPr algn="ctr"/>
            <a:r>
              <a:rPr lang="en-US" b="1" dirty="0">
                <a:solidFill>
                  <a:srgbClr val="465B88"/>
                </a:solidFill>
                <a:latin typeface="Calibri" panose="020F0502020204030204" pitchFamily="34" charset="0"/>
                <a:cs typeface="Calibri" panose="020F0502020204030204" pitchFamily="34" charset="0"/>
              </a:rPr>
              <a:t>BECOMING THE MAIN HUB &amp; CONTACT POINT FOR EUROPEAN &amp; </a:t>
            </a:r>
          </a:p>
          <a:p>
            <a:pPr algn="ctr"/>
            <a:r>
              <a:rPr lang="en-US" b="1" dirty="0">
                <a:solidFill>
                  <a:srgbClr val="465B88"/>
                </a:solidFill>
                <a:latin typeface="Calibri" panose="020F0502020204030204" pitchFamily="34" charset="0"/>
                <a:cs typeface="Calibri" panose="020F0502020204030204" pitchFamily="34" charset="0"/>
              </a:rPr>
              <a:t>BRAZILIAN SCIENCE, TECHNOLOGY &amp; INNOVATION ACTORS </a:t>
            </a:r>
          </a:p>
        </p:txBody>
      </p:sp>
      <p:pic>
        <p:nvPicPr>
          <p:cNvPr id="11" name="Picture 2" descr="https://static.pexels.com/photos/42379/pexels-photo-42379.jpeg">
            <a:extLst>
              <a:ext uri="{FF2B5EF4-FFF2-40B4-BE49-F238E27FC236}">
                <a16:creationId xmlns:a16="http://schemas.microsoft.com/office/drawing/2014/main" id="{23BA7DCA-62B0-4C74-A1B1-1D2479240443}"/>
              </a:ext>
            </a:extLst>
          </p:cNvPr>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t="48901" r="11245"/>
          <a:stretch/>
        </p:blipFill>
        <p:spPr bwMode="auto">
          <a:xfrm>
            <a:off x="1096876" y="2361817"/>
            <a:ext cx="7842030" cy="3635934"/>
          </a:xfrm>
          <a:prstGeom prst="rect">
            <a:avLst/>
          </a:prstGeom>
          <a:noFill/>
          <a:ln w="25400">
            <a:solidFill>
              <a:schemeClr val="bg1"/>
            </a:solidFill>
          </a:ln>
          <a:extLst>
            <a:ext uri="{909E8E84-426E-40DD-AFC4-6F175D3DCCD1}">
              <a14:hiddenFill xmlns:a14="http://schemas.microsoft.com/office/drawing/2010/main">
                <a:solidFill>
                  <a:srgbClr val="FFFFFF"/>
                </a:solidFill>
              </a14:hiddenFill>
            </a:ext>
          </a:extLst>
        </p:spPr>
      </p:pic>
      <p:sp>
        <p:nvSpPr>
          <p:cNvPr id="13" name="Rechteck 48">
            <a:extLst>
              <a:ext uri="{FF2B5EF4-FFF2-40B4-BE49-F238E27FC236}">
                <a16:creationId xmlns:a16="http://schemas.microsoft.com/office/drawing/2014/main" id="{8132F309-3C29-4B31-9715-2112C4A6C66B}"/>
              </a:ext>
            </a:extLst>
          </p:cNvPr>
          <p:cNvSpPr/>
          <p:nvPr/>
        </p:nvSpPr>
        <p:spPr bwMode="auto">
          <a:xfrm>
            <a:off x="1096876" y="2375672"/>
            <a:ext cx="2592000" cy="3634826"/>
          </a:xfrm>
          <a:prstGeom prst="rect">
            <a:avLst/>
          </a:prstGeom>
          <a:solidFill>
            <a:schemeClr val="accent5">
              <a:lumMod val="60000"/>
              <a:lumOff val="40000"/>
              <a:alpha val="58000"/>
            </a:schemeClr>
          </a:solidFill>
          <a:ln w="254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sp>
        <p:nvSpPr>
          <p:cNvPr id="14" name="Rechteck 49">
            <a:extLst>
              <a:ext uri="{FF2B5EF4-FFF2-40B4-BE49-F238E27FC236}">
                <a16:creationId xmlns:a16="http://schemas.microsoft.com/office/drawing/2014/main" id="{E40F903C-BB5B-494C-9ABC-585A99CFDA1D}"/>
              </a:ext>
            </a:extLst>
          </p:cNvPr>
          <p:cNvSpPr/>
          <p:nvPr/>
        </p:nvSpPr>
        <p:spPr bwMode="auto">
          <a:xfrm>
            <a:off x="6333050" y="2375672"/>
            <a:ext cx="2592000" cy="3634826"/>
          </a:xfrm>
          <a:prstGeom prst="rect">
            <a:avLst/>
          </a:prstGeom>
          <a:solidFill>
            <a:schemeClr val="accent5">
              <a:lumMod val="75000"/>
              <a:alpha val="56000"/>
            </a:schemeClr>
          </a:solidFill>
          <a:ln w="254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sp>
        <p:nvSpPr>
          <p:cNvPr id="15" name="Rechteck 50">
            <a:extLst>
              <a:ext uri="{FF2B5EF4-FFF2-40B4-BE49-F238E27FC236}">
                <a16:creationId xmlns:a16="http://schemas.microsoft.com/office/drawing/2014/main" id="{995D490C-6A2F-48CF-A42C-CD179BA77701}"/>
              </a:ext>
            </a:extLst>
          </p:cNvPr>
          <p:cNvSpPr/>
          <p:nvPr/>
        </p:nvSpPr>
        <p:spPr bwMode="auto">
          <a:xfrm>
            <a:off x="3710257" y="2375203"/>
            <a:ext cx="2592000" cy="3634826"/>
          </a:xfrm>
          <a:prstGeom prst="rect">
            <a:avLst/>
          </a:prstGeom>
          <a:solidFill>
            <a:schemeClr val="accent1">
              <a:lumMod val="75000"/>
              <a:alpha val="49000"/>
            </a:schemeClr>
          </a:solidFill>
          <a:ln w="254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sp>
        <p:nvSpPr>
          <p:cNvPr id="17" name="Textfeld 52">
            <a:extLst>
              <a:ext uri="{FF2B5EF4-FFF2-40B4-BE49-F238E27FC236}">
                <a16:creationId xmlns:a16="http://schemas.microsoft.com/office/drawing/2014/main" id="{ADF587D4-86BD-445A-849F-4B68694E333E}"/>
              </a:ext>
            </a:extLst>
          </p:cNvPr>
          <p:cNvSpPr txBox="1"/>
          <p:nvPr/>
        </p:nvSpPr>
        <p:spPr>
          <a:xfrm>
            <a:off x="6338075" y="1970910"/>
            <a:ext cx="2592000" cy="307777"/>
          </a:xfrm>
          <a:prstGeom prst="rect">
            <a:avLst/>
          </a:prstGeom>
          <a:solidFill>
            <a:schemeClr val="accent4"/>
          </a:solidFill>
          <a:ln>
            <a:noFill/>
          </a:ln>
        </p:spPr>
        <p:txBody>
          <a:bodyPr wrap="square" lIns="0" rtlCol="0">
            <a:spAutoFit/>
          </a:bodyPr>
          <a:lstStyle/>
          <a:p>
            <a:pPr algn="ctr"/>
            <a:r>
              <a:rPr lang="en-US" sz="1400" b="1" dirty="0">
                <a:solidFill>
                  <a:schemeClr val="bg1"/>
                </a:solidFill>
                <a:latin typeface="Franklin Gothic Book" panose="020B0503020102020204" pitchFamily="34" charset="0"/>
              </a:rPr>
              <a:t>OBJECTIVES</a:t>
            </a:r>
          </a:p>
        </p:txBody>
      </p:sp>
      <p:sp>
        <p:nvSpPr>
          <p:cNvPr id="18" name="Textfeld 53">
            <a:extLst>
              <a:ext uri="{FF2B5EF4-FFF2-40B4-BE49-F238E27FC236}">
                <a16:creationId xmlns:a16="http://schemas.microsoft.com/office/drawing/2014/main" id="{FEF12AC7-032F-4F4E-8680-45F5331B0341}"/>
              </a:ext>
            </a:extLst>
          </p:cNvPr>
          <p:cNvSpPr txBox="1"/>
          <p:nvPr/>
        </p:nvSpPr>
        <p:spPr>
          <a:xfrm>
            <a:off x="3723334" y="1970910"/>
            <a:ext cx="2592000" cy="307777"/>
          </a:xfrm>
          <a:prstGeom prst="rect">
            <a:avLst/>
          </a:prstGeom>
          <a:solidFill>
            <a:schemeClr val="accent1">
              <a:lumMod val="75000"/>
            </a:schemeClr>
          </a:solidFill>
        </p:spPr>
        <p:txBody>
          <a:bodyPr wrap="square" lIns="0" rtlCol="0">
            <a:spAutoFit/>
          </a:bodyPr>
          <a:lstStyle/>
          <a:p>
            <a:pPr algn="ctr"/>
            <a:r>
              <a:rPr lang="en-US" sz="1400" b="1" dirty="0">
                <a:solidFill>
                  <a:schemeClr val="bg1"/>
                </a:solidFill>
                <a:latin typeface="Franklin Gothic Book" panose="020B0503020102020204" pitchFamily="34" charset="0"/>
              </a:rPr>
              <a:t>VISION</a:t>
            </a:r>
          </a:p>
        </p:txBody>
      </p:sp>
      <p:sp>
        <p:nvSpPr>
          <p:cNvPr id="19" name="Textfeld 54">
            <a:extLst>
              <a:ext uri="{FF2B5EF4-FFF2-40B4-BE49-F238E27FC236}">
                <a16:creationId xmlns:a16="http://schemas.microsoft.com/office/drawing/2014/main" id="{A8C14C84-B43E-4725-B4E7-EE8243F280B1}"/>
              </a:ext>
            </a:extLst>
          </p:cNvPr>
          <p:cNvSpPr txBox="1"/>
          <p:nvPr/>
        </p:nvSpPr>
        <p:spPr>
          <a:xfrm>
            <a:off x="1096876" y="1970910"/>
            <a:ext cx="2592000" cy="307777"/>
          </a:xfrm>
          <a:prstGeom prst="rect">
            <a:avLst/>
          </a:prstGeom>
          <a:solidFill>
            <a:srgbClr val="00B050"/>
          </a:solidFill>
        </p:spPr>
        <p:txBody>
          <a:bodyPr wrap="square" lIns="0" rtlCol="0">
            <a:spAutoFit/>
          </a:bodyPr>
          <a:lstStyle/>
          <a:p>
            <a:pPr algn="ctr"/>
            <a:r>
              <a:rPr lang="en-US" sz="1400" b="1" dirty="0">
                <a:solidFill>
                  <a:schemeClr val="bg1"/>
                </a:solidFill>
                <a:latin typeface="Franklin Gothic Book" panose="020B0503020102020204" pitchFamily="34" charset="0"/>
              </a:rPr>
              <a:t>MISSION</a:t>
            </a:r>
          </a:p>
        </p:txBody>
      </p:sp>
      <p:sp>
        <p:nvSpPr>
          <p:cNvPr id="20" name="Textfeld 29"/>
          <p:cNvSpPr txBox="1"/>
          <p:nvPr/>
        </p:nvSpPr>
        <p:spPr>
          <a:xfrm>
            <a:off x="1129877" y="2618506"/>
            <a:ext cx="2435663" cy="2031325"/>
          </a:xfrm>
          <a:prstGeom prst="rect">
            <a:avLst/>
          </a:prstGeom>
          <a:noFill/>
        </p:spPr>
        <p:txBody>
          <a:bodyPr wrap="square" rtlCol="0">
            <a:spAutoFit/>
          </a:bodyPr>
          <a:lstStyle/>
          <a:p>
            <a:pPr marL="71997">
              <a:buClr>
                <a:srgbClr val="C47748"/>
              </a:buClr>
            </a:pPr>
            <a:r>
              <a:rPr lang="en-US" sz="1400" dirty="0">
                <a:solidFill>
                  <a:schemeClr val="bg1"/>
                </a:solidFill>
                <a:latin typeface="Calibri" panose="020F0502020204030204" pitchFamily="34" charset="0"/>
                <a:cs typeface="Calibri" panose="020F0502020204030204" pitchFamily="34" charset="0"/>
              </a:rPr>
              <a:t>We encourage &amp; facilitate the cooperation in research, technology and entrepreneurship between Europe and Brazil by supporting and empowering all innovation actors (public &amp; private) along the innovation (value) chain</a:t>
            </a:r>
          </a:p>
        </p:txBody>
      </p:sp>
      <p:sp>
        <p:nvSpPr>
          <p:cNvPr id="21" name="Textfeld 29"/>
          <p:cNvSpPr txBox="1"/>
          <p:nvPr/>
        </p:nvSpPr>
        <p:spPr>
          <a:xfrm>
            <a:off x="3797319" y="2646216"/>
            <a:ext cx="2435663" cy="1600438"/>
          </a:xfrm>
          <a:prstGeom prst="rect">
            <a:avLst/>
          </a:prstGeom>
          <a:noFill/>
        </p:spPr>
        <p:txBody>
          <a:bodyPr wrap="square" rtlCol="0">
            <a:spAutoFit/>
          </a:bodyPr>
          <a:lstStyle/>
          <a:p>
            <a:pPr marL="71997">
              <a:buClr>
                <a:srgbClr val="C47748"/>
              </a:buClr>
            </a:pPr>
            <a:r>
              <a:rPr lang="en-US" sz="1400" dirty="0">
                <a:solidFill>
                  <a:schemeClr val="bg1"/>
                </a:solidFill>
                <a:latin typeface="Calibri" panose="020F0502020204030204" pitchFamily="34" charset="0"/>
                <a:cs typeface="Calibri" panose="020F0502020204030204" pitchFamily="34" charset="0"/>
              </a:rPr>
              <a:t>In 2021, 'ENRICH in Brazil' will be a main hub &amp; contact point for European and Brazilian Science, Technology and Innovation (</a:t>
            </a:r>
            <a:r>
              <a:rPr lang="en-US" sz="1400" dirty="0" err="1">
                <a:solidFill>
                  <a:schemeClr val="bg1"/>
                </a:solidFill>
                <a:latin typeface="Calibri" panose="020F0502020204030204" pitchFamily="34" charset="0"/>
                <a:cs typeface="Calibri" panose="020F0502020204030204" pitchFamily="34" charset="0"/>
              </a:rPr>
              <a:t>STI</a:t>
            </a:r>
            <a:r>
              <a:rPr lang="en-US" sz="1400" dirty="0">
                <a:solidFill>
                  <a:schemeClr val="bg1"/>
                </a:solidFill>
                <a:latin typeface="Calibri" panose="020F0502020204030204" pitchFamily="34" charset="0"/>
                <a:cs typeface="Calibri" panose="020F0502020204030204" pitchFamily="34" charset="0"/>
              </a:rPr>
              <a:t>) actors </a:t>
            </a:r>
            <a:r>
              <a:rPr lang="en-US" sz="1400" b="1" dirty="0">
                <a:solidFill>
                  <a:schemeClr val="bg1"/>
                </a:solidFill>
                <a:latin typeface="Calibri" panose="020F0502020204030204" pitchFamily="34" charset="0"/>
                <a:cs typeface="Calibri" panose="020F0502020204030204" pitchFamily="34" charset="0"/>
              </a:rPr>
              <a:t>aiming at bilateral cooperation </a:t>
            </a:r>
          </a:p>
        </p:txBody>
      </p:sp>
      <p:sp>
        <p:nvSpPr>
          <p:cNvPr id="22" name="Textfeld 29"/>
          <p:cNvSpPr txBox="1"/>
          <p:nvPr/>
        </p:nvSpPr>
        <p:spPr>
          <a:xfrm>
            <a:off x="6335234" y="2458321"/>
            <a:ext cx="2562106" cy="3539430"/>
          </a:xfrm>
          <a:prstGeom prst="rect">
            <a:avLst/>
          </a:prstGeom>
          <a:noFill/>
        </p:spPr>
        <p:txBody>
          <a:bodyPr wrap="square" rtlCol="0">
            <a:spAutoFit/>
          </a:bodyPr>
          <a:lstStyle/>
          <a:p>
            <a:pPr marL="179388" indent="-179388">
              <a:buClr>
                <a:schemeClr val="bg1"/>
              </a:buClr>
              <a:buFont typeface="Wingdings" pitchFamily="2" charset="2"/>
              <a:buChar char="§"/>
            </a:pPr>
            <a:r>
              <a:rPr lang="en-US" sz="1400" dirty="0">
                <a:solidFill>
                  <a:schemeClr val="bg1"/>
                </a:solidFill>
                <a:latin typeface="Calibri" panose="020F0502020204030204" pitchFamily="34" charset="0"/>
                <a:cs typeface="Calibri" panose="020F0502020204030204" pitchFamily="34" charset="0"/>
              </a:rPr>
              <a:t>Promotion of excellence in </a:t>
            </a:r>
            <a:r>
              <a:rPr lang="en-US" sz="1400" dirty="0" err="1">
                <a:solidFill>
                  <a:schemeClr val="bg1"/>
                </a:solidFill>
                <a:latin typeface="Calibri" panose="020F0502020204030204" pitchFamily="34" charset="0"/>
                <a:cs typeface="Calibri" panose="020F0502020204030204" pitchFamily="34" charset="0"/>
              </a:rPr>
              <a:t>B&amp;R&amp;I</a:t>
            </a:r>
            <a:endParaRPr lang="en-US" sz="1400" dirty="0">
              <a:solidFill>
                <a:schemeClr val="bg1"/>
              </a:solidFill>
              <a:latin typeface="Calibri" panose="020F0502020204030204" pitchFamily="34" charset="0"/>
              <a:cs typeface="Calibri" panose="020F0502020204030204" pitchFamily="34" charset="0"/>
            </a:endParaRPr>
          </a:p>
          <a:p>
            <a:pPr marL="179388" indent="-179388">
              <a:buClr>
                <a:schemeClr val="bg1"/>
              </a:buClr>
              <a:buFont typeface="Wingdings" pitchFamily="2" charset="2"/>
              <a:buChar char="§"/>
            </a:pPr>
            <a:r>
              <a:rPr lang="en-US" sz="1400" dirty="0">
                <a:solidFill>
                  <a:schemeClr val="bg1"/>
                </a:solidFill>
                <a:latin typeface="Calibri" panose="020F0502020204030204" pitchFamily="34" charset="0"/>
                <a:cs typeface="Calibri" panose="020F0502020204030204" pitchFamily="34" charset="0"/>
              </a:rPr>
              <a:t>Financial sustainability of the Centre</a:t>
            </a:r>
          </a:p>
          <a:p>
            <a:pPr marL="179388" indent="-179388">
              <a:buClr>
                <a:schemeClr val="bg1"/>
              </a:buClr>
              <a:buFont typeface="Wingdings" pitchFamily="2" charset="2"/>
              <a:buChar char="§"/>
            </a:pPr>
            <a:r>
              <a:rPr lang="en-US" sz="1400" dirty="0">
                <a:solidFill>
                  <a:schemeClr val="bg1"/>
                </a:solidFill>
                <a:latin typeface="Calibri" panose="020F0502020204030204" pitchFamily="34" charset="0"/>
                <a:cs typeface="Calibri" panose="020F0502020204030204" pitchFamily="34" charset="0"/>
              </a:rPr>
              <a:t>Creation of a win-win situation for BR &amp; EU in </a:t>
            </a:r>
            <a:r>
              <a:rPr lang="en-US" sz="1400" dirty="0" err="1">
                <a:solidFill>
                  <a:schemeClr val="bg1"/>
                </a:solidFill>
                <a:latin typeface="Calibri" panose="020F0502020204030204" pitchFamily="34" charset="0"/>
                <a:cs typeface="Calibri" panose="020F0502020204030204" pitchFamily="34" charset="0"/>
              </a:rPr>
              <a:t>STI</a:t>
            </a:r>
            <a:r>
              <a:rPr lang="en-US" sz="1400" dirty="0">
                <a:solidFill>
                  <a:schemeClr val="bg1"/>
                </a:solidFill>
                <a:latin typeface="Calibri" panose="020F0502020204030204" pitchFamily="34" charset="0"/>
                <a:cs typeface="Calibri" panose="020F0502020204030204" pitchFamily="34" charset="0"/>
              </a:rPr>
              <a:t> fields</a:t>
            </a:r>
          </a:p>
          <a:p>
            <a:pPr marL="179388" indent="-179388">
              <a:buClr>
                <a:schemeClr val="bg1"/>
              </a:buClr>
              <a:buFont typeface="Wingdings" pitchFamily="2" charset="2"/>
              <a:buChar char="§"/>
            </a:pPr>
            <a:r>
              <a:rPr lang="en-US" sz="1400" dirty="0">
                <a:solidFill>
                  <a:schemeClr val="bg1"/>
                </a:solidFill>
                <a:latin typeface="Calibri" panose="020F0502020204030204" pitchFamily="34" charset="0"/>
                <a:cs typeface="Calibri" panose="020F0502020204030204" pitchFamily="34" charset="0"/>
              </a:rPr>
              <a:t>Connect EU researchers &amp; entrepreneurs in BR market</a:t>
            </a:r>
          </a:p>
          <a:p>
            <a:pPr marL="179388" indent="-179388">
              <a:buClr>
                <a:schemeClr val="bg1"/>
              </a:buClr>
              <a:buFont typeface="Wingdings" pitchFamily="2" charset="2"/>
              <a:buChar char="§"/>
            </a:pPr>
            <a:r>
              <a:rPr lang="en-US" sz="1400" dirty="0">
                <a:solidFill>
                  <a:schemeClr val="bg1"/>
                </a:solidFill>
                <a:latin typeface="Calibri" panose="020F0502020204030204" pitchFamily="34" charset="0"/>
                <a:cs typeface="Calibri" panose="020F0502020204030204" pitchFamily="34" charset="0"/>
              </a:rPr>
              <a:t>Connect BR researchers &amp; entrepreneurs in EU market</a:t>
            </a:r>
          </a:p>
          <a:p>
            <a:pPr marL="179388" indent="-179388">
              <a:buClr>
                <a:schemeClr val="bg1"/>
              </a:buClr>
              <a:buFont typeface="Wingdings" pitchFamily="2" charset="2"/>
              <a:buChar char="§"/>
            </a:pPr>
            <a:r>
              <a:rPr lang="en-US" sz="1400" dirty="0">
                <a:solidFill>
                  <a:schemeClr val="bg1"/>
                </a:solidFill>
                <a:latin typeface="Calibri" panose="020F0502020204030204" pitchFamily="34" charset="0"/>
                <a:cs typeface="Calibri" panose="020F0502020204030204" pitchFamily="34" charset="0"/>
              </a:rPr>
              <a:t>Offer Services to BR &amp; EU clients</a:t>
            </a:r>
          </a:p>
          <a:p>
            <a:pPr marL="179388" indent="-179388">
              <a:buClr>
                <a:schemeClr val="bg1"/>
              </a:buClr>
              <a:buFont typeface="Wingdings" pitchFamily="2" charset="2"/>
              <a:buChar char="§"/>
            </a:pPr>
            <a:r>
              <a:rPr lang="en-US" sz="1400" dirty="0">
                <a:solidFill>
                  <a:schemeClr val="bg1"/>
                </a:solidFill>
                <a:latin typeface="Calibri" panose="020F0502020204030204" pitchFamily="34" charset="0"/>
                <a:cs typeface="Calibri" panose="020F0502020204030204" pitchFamily="34" charset="0"/>
              </a:rPr>
              <a:t>Integrate existing EU &amp; BR initiatives, projects and networks </a:t>
            </a:r>
          </a:p>
        </p:txBody>
      </p:sp>
      <p:grpSp>
        <p:nvGrpSpPr>
          <p:cNvPr id="2" name="Group 22"/>
          <p:cNvGrpSpPr/>
          <p:nvPr/>
        </p:nvGrpSpPr>
        <p:grpSpPr>
          <a:xfrm>
            <a:off x="1" y="39900"/>
            <a:ext cx="9922196" cy="618401"/>
            <a:chOff x="-21" y="39900"/>
            <a:chExt cx="9906022" cy="618401"/>
          </a:xfrm>
        </p:grpSpPr>
        <p:sp>
          <p:nvSpPr>
            <p:cNvPr id="28" name="Titel 1"/>
            <p:cNvSpPr txBox="1">
              <a:spLocks/>
            </p:cNvSpPr>
            <p:nvPr/>
          </p:nvSpPr>
          <p:spPr bwMode="auto">
            <a:xfrm>
              <a:off x="-21" y="39900"/>
              <a:ext cx="9906022" cy="461665"/>
            </a:xfrm>
            <a:prstGeom prst="rect">
              <a:avLst/>
            </a:prstGeom>
            <a:noFill/>
            <a:ln>
              <a:noFill/>
            </a:ln>
          </p:spPr>
          <p:txBody>
            <a:bodyPr wrap="square" rtlCol="0">
              <a:spAutoFit/>
            </a:bodyPr>
            <a:lstStyle>
              <a:defPPr>
                <a:defRPr lang="es-ES_tradnl"/>
              </a:defPPr>
              <a:lvl1pPr>
                <a:defRPr sz="2400" b="1">
                  <a:solidFill>
                    <a:schemeClr val="bg1"/>
                  </a:solidFill>
                  <a:latin typeface="Calibri" panose="020F0502020204030204" pitchFamily="34" charset="0"/>
                  <a:cs typeface="Calibri" panose="020F0502020204030204" pitchFamily="34" charset="0"/>
                </a:defRPr>
              </a:lvl1pPr>
            </a:lstStyle>
            <a:p>
              <a:pPr algn="ctr"/>
              <a:r>
                <a:rPr lang="en-US" dirty="0">
                  <a:solidFill>
                    <a:schemeClr val="accent1">
                      <a:lumMod val="75000"/>
                    </a:schemeClr>
                  </a:solidFill>
                </a:rPr>
                <a:t>ENRICH in Brazil: Our Promise to the Market!</a:t>
              </a:r>
            </a:p>
          </p:txBody>
        </p:sp>
        <p:cxnSp>
          <p:nvCxnSpPr>
            <p:cNvPr id="30" name="Straight Connector 21"/>
            <p:cNvCxnSpPr/>
            <p:nvPr/>
          </p:nvCxnSpPr>
          <p:spPr>
            <a:xfrm>
              <a:off x="234378" y="658301"/>
              <a:ext cx="9416625"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21"/>
            <p:cNvCxnSpPr/>
            <p:nvPr/>
          </p:nvCxnSpPr>
          <p:spPr>
            <a:xfrm>
              <a:off x="382419" y="565065"/>
              <a:ext cx="9141152" cy="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grpSp>
      <p:pic>
        <p:nvPicPr>
          <p:cNvPr id="23" name="Picture 2" descr="Regional Centre for Information and Scientific Development Lt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8603" y="6214860"/>
            <a:ext cx="2081287" cy="53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12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Pfeil nach links und rechts 33"/>
          <p:cNvSpPr/>
          <p:nvPr/>
        </p:nvSpPr>
        <p:spPr>
          <a:xfrm>
            <a:off x="3210101" y="2650616"/>
            <a:ext cx="3720610" cy="241300"/>
          </a:xfrm>
          <a:prstGeom prst="lef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cs typeface="Calibri" panose="020F0502020204030204" pitchFamily="34" charset="0"/>
            </a:endParaRPr>
          </a:p>
        </p:txBody>
      </p:sp>
      <p:sp>
        <p:nvSpPr>
          <p:cNvPr id="5" name="Gleichschenkliges Dreieck 4"/>
          <p:cNvSpPr/>
          <p:nvPr/>
        </p:nvSpPr>
        <p:spPr>
          <a:xfrm>
            <a:off x="2267779" y="585027"/>
            <a:ext cx="5575301" cy="1170216"/>
          </a:xfrm>
          <a:prstGeom prst="triangle">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Calibri" panose="020F0502020204030204" pitchFamily="34" charset="0"/>
              <a:cs typeface="Calibri" panose="020F0502020204030204" pitchFamily="34" charset="0"/>
            </a:endParaRPr>
          </a:p>
        </p:txBody>
      </p:sp>
      <p:grpSp>
        <p:nvGrpSpPr>
          <p:cNvPr id="2" name="Gruppieren 6"/>
          <p:cNvGrpSpPr/>
          <p:nvPr/>
        </p:nvGrpSpPr>
        <p:grpSpPr bwMode="gray">
          <a:xfrm>
            <a:off x="1934498" y="1873641"/>
            <a:ext cx="1566603" cy="3479947"/>
            <a:chOff x="2129656" y="1981200"/>
            <a:chExt cx="1938288" cy="4190836"/>
          </a:xfrm>
          <a:solidFill>
            <a:srgbClr val="00B050"/>
          </a:solidFill>
        </p:grpSpPr>
        <p:sp>
          <p:nvSpPr>
            <p:cNvPr id="8" name="Rechteck 7"/>
            <p:cNvSpPr/>
            <p:nvPr/>
          </p:nvSpPr>
          <p:spPr bwMode="gray">
            <a:xfrm>
              <a:off x="2339752" y="1981200"/>
              <a:ext cx="1518096" cy="215900"/>
            </a:xfrm>
            <a:prstGeom prst="rect">
              <a:avLst/>
            </a:prstGeom>
            <a:grpFill/>
            <a:ln w="12700">
              <a:noFill/>
              <a:round/>
              <a:headEnd/>
              <a:tailEnd/>
            </a:ln>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sp>
          <p:nvSpPr>
            <p:cNvPr id="9" name="Rechteck 8"/>
            <p:cNvSpPr/>
            <p:nvPr/>
          </p:nvSpPr>
          <p:spPr bwMode="gray">
            <a:xfrm>
              <a:off x="2489696" y="2276748"/>
              <a:ext cx="1218208" cy="144140"/>
            </a:xfrm>
            <a:prstGeom prst="rect">
              <a:avLst/>
            </a:prstGeom>
            <a:grpFill/>
            <a:ln w="12700">
              <a:noFill/>
              <a:round/>
              <a:headEnd/>
              <a:tailEnd/>
            </a:ln>
            <a:effectLst/>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sp>
          <p:nvSpPr>
            <p:cNvPr id="10" name="Trapezoid 9"/>
            <p:cNvSpPr/>
            <p:nvPr/>
          </p:nvSpPr>
          <p:spPr bwMode="gray">
            <a:xfrm>
              <a:off x="2489696" y="2509407"/>
              <a:ext cx="1218208" cy="3149544"/>
            </a:xfrm>
            <a:prstGeom prst="trapezoid">
              <a:avLst>
                <a:gd name="adj" fmla="val 9907"/>
              </a:avLst>
            </a:prstGeom>
            <a:grpFill/>
            <a:ln w="12700">
              <a:noFill/>
              <a:round/>
              <a:headEnd/>
              <a:tailEnd/>
            </a:ln>
            <a:effectLst/>
          </p:spPr>
          <p:txBody>
            <a:bodyPr vert="vert270"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r>
                <a:rPr lang="de-DE" sz="2400" b="1" dirty="0">
                  <a:solidFill>
                    <a:schemeClr val="bg1"/>
                  </a:solidFill>
                  <a:latin typeface="Calibri" panose="020F0502020204030204" pitchFamily="34" charset="0"/>
                  <a:cs typeface="Calibri" panose="020F0502020204030204" pitchFamily="34" charset="0"/>
                </a:rPr>
                <a:t>   Services</a:t>
              </a:r>
            </a:p>
          </p:txBody>
        </p:sp>
        <p:sp>
          <p:nvSpPr>
            <p:cNvPr id="11" name="Rechteck 10"/>
            <p:cNvSpPr/>
            <p:nvPr/>
          </p:nvSpPr>
          <p:spPr bwMode="gray">
            <a:xfrm>
              <a:off x="2129656" y="5956136"/>
              <a:ext cx="1938288" cy="215900"/>
            </a:xfrm>
            <a:prstGeom prst="rect">
              <a:avLst/>
            </a:prstGeom>
            <a:grpFill/>
            <a:ln w="12700">
              <a:noFill/>
              <a:round/>
              <a:headEnd/>
              <a:tailEnd/>
            </a:ln>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sp>
          <p:nvSpPr>
            <p:cNvPr id="12" name="Rechteck 11"/>
            <p:cNvSpPr/>
            <p:nvPr/>
          </p:nvSpPr>
          <p:spPr bwMode="gray">
            <a:xfrm>
              <a:off x="2345680" y="5739080"/>
              <a:ext cx="1506240" cy="144140"/>
            </a:xfrm>
            <a:prstGeom prst="rect">
              <a:avLst/>
            </a:prstGeom>
            <a:grpFill/>
            <a:ln w="12700">
              <a:noFill/>
              <a:round/>
              <a:headEnd/>
              <a:tailEnd/>
            </a:ln>
            <a:effectLst/>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grpSp>
      <p:grpSp>
        <p:nvGrpSpPr>
          <p:cNvPr id="3" name="Gruppieren 12"/>
          <p:cNvGrpSpPr/>
          <p:nvPr/>
        </p:nvGrpSpPr>
        <p:grpSpPr bwMode="gray">
          <a:xfrm>
            <a:off x="6639713" y="1879919"/>
            <a:ext cx="1566603" cy="3479947"/>
            <a:chOff x="2129656" y="1981200"/>
            <a:chExt cx="1938288" cy="4190836"/>
          </a:xfrm>
          <a:solidFill>
            <a:srgbClr val="FFC000"/>
          </a:solidFill>
        </p:grpSpPr>
        <p:sp>
          <p:nvSpPr>
            <p:cNvPr id="14" name="Rechteck 13"/>
            <p:cNvSpPr/>
            <p:nvPr/>
          </p:nvSpPr>
          <p:spPr bwMode="gray">
            <a:xfrm>
              <a:off x="2339752" y="1981200"/>
              <a:ext cx="1518096" cy="215900"/>
            </a:xfrm>
            <a:prstGeom prst="rect">
              <a:avLst/>
            </a:prstGeom>
            <a:grpFill/>
            <a:ln w="12700">
              <a:noFill/>
              <a:round/>
              <a:headEnd/>
              <a:tailEnd/>
            </a:ln>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sp>
          <p:nvSpPr>
            <p:cNvPr id="15" name="Rechteck 14"/>
            <p:cNvSpPr/>
            <p:nvPr/>
          </p:nvSpPr>
          <p:spPr bwMode="gray">
            <a:xfrm>
              <a:off x="2489696" y="2276748"/>
              <a:ext cx="1218208" cy="144140"/>
            </a:xfrm>
            <a:prstGeom prst="rect">
              <a:avLst/>
            </a:prstGeom>
            <a:grpFill/>
            <a:ln w="12700">
              <a:noFill/>
              <a:round/>
              <a:headEnd/>
              <a:tailEnd/>
            </a:ln>
            <a:effectLst/>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sp>
          <p:nvSpPr>
            <p:cNvPr id="16" name="Trapezoid 15"/>
            <p:cNvSpPr/>
            <p:nvPr/>
          </p:nvSpPr>
          <p:spPr bwMode="gray">
            <a:xfrm>
              <a:off x="2489696" y="2509407"/>
              <a:ext cx="1218208" cy="3149544"/>
            </a:xfrm>
            <a:prstGeom prst="trapezoid">
              <a:avLst>
                <a:gd name="adj" fmla="val 9907"/>
              </a:avLst>
            </a:prstGeom>
            <a:grpFill/>
            <a:ln w="12700">
              <a:noFill/>
              <a:round/>
              <a:headEnd/>
              <a:tailEnd/>
            </a:ln>
            <a:effectLst/>
          </p:spPr>
          <p:txBody>
            <a:bodyPr vert="vert270"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r>
                <a:rPr lang="de-DE" sz="2400" b="1" dirty="0">
                  <a:solidFill>
                    <a:schemeClr val="bg1"/>
                  </a:solidFill>
                  <a:latin typeface="Calibri" panose="020F0502020204030204" pitchFamily="34" charset="0"/>
                  <a:cs typeface="Calibri" panose="020F0502020204030204" pitchFamily="34" charset="0"/>
                </a:rPr>
                <a:t>       </a:t>
              </a:r>
              <a:r>
                <a:rPr lang="de-DE" sz="2400" b="1" dirty="0">
                  <a:latin typeface="Calibri" panose="020F0502020204030204" pitchFamily="34" charset="0"/>
                  <a:cs typeface="Calibri" panose="020F0502020204030204" pitchFamily="34" charset="0"/>
                </a:rPr>
                <a:t>Community</a:t>
              </a:r>
              <a:endParaRPr lang="de-DE" b="1" dirty="0">
                <a:latin typeface="Calibri" panose="020F0502020204030204" pitchFamily="34" charset="0"/>
                <a:cs typeface="Calibri" panose="020F0502020204030204" pitchFamily="34" charset="0"/>
              </a:endParaRPr>
            </a:p>
          </p:txBody>
        </p:sp>
        <p:sp>
          <p:nvSpPr>
            <p:cNvPr id="17" name="Rechteck 16"/>
            <p:cNvSpPr/>
            <p:nvPr/>
          </p:nvSpPr>
          <p:spPr bwMode="gray">
            <a:xfrm>
              <a:off x="2129656" y="5956136"/>
              <a:ext cx="1938288" cy="215900"/>
            </a:xfrm>
            <a:prstGeom prst="rect">
              <a:avLst/>
            </a:prstGeom>
            <a:grpFill/>
            <a:ln w="12700">
              <a:noFill/>
              <a:round/>
              <a:headEnd/>
              <a:tailEnd/>
            </a:ln>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sp>
          <p:nvSpPr>
            <p:cNvPr id="18" name="Rechteck 17"/>
            <p:cNvSpPr/>
            <p:nvPr/>
          </p:nvSpPr>
          <p:spPr bwMode="gray">
            <a:xfrm>
              <a:off x="2345680" y="5739080"/>
              <a:ext cx="1506240" cy="144140"/>
            </a:xfrm>
            <a:prstGeom prst="rect">
              <a:avLst/>
            </a:prstGeom>
            <a:grpFill/>
            <a:ln w="12700">
              <a:noFill/>
              <a:round/>
              <a:headEnd/>
              <a:tailEnd/>
            </a:ln>
            <a:effectLst/>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grpSp>
      <p:grpSp>
        <p:nvGrpSpPr>
          <p:cNvPr id="4" name="Gruppieren 18"/>
          <p:cNvGrpSpPr/>
          <p:nvPr/>
        </p:nvGrpSpPr>
        <p:grpSpPr bwMode="gray">
          <a:xfrm>
            <a:off x="4287105" y="1873641"/>
            <a:ext cx="1566603" cy="3479947"/>
            <a:chOff x="2129656" y="1981200"/>
            <a:chExt cx="1938288" cy="4190836"/>
          </a:xfrm>
          <a:solidFill>
            <a:schemeClr val="accent1">
              <a:lumMod val="40000"/>
              <a:lumOff val="60000"/>
            </a:schemeClr>
          </a:solidFill>
        </p:grpSpPr>
        <p:sp>
          <p:nvSpPr>
            <p:cNvPr id="20" name="Rechteck 19"/>
            <p:cNvSpPr/>
            <p:nvPr/>
          </p:nvSpPr>
          <p:spPr bwMode="gray">
            <a:xfrm>
              <a:off x="2339752" y="1981200"/>
              <a:ext cx="1518096" cy="215900"/>
            </a:xfrm>
            <a:prstGeom prst="rect">
              <a:avLst/>
            </a:prstGeom>
            <a:solidFill>
              <a:schemeClr val="accent1">
                <a:lumMod val="50000"/>
              </a:schemeClr>
            </a:solidFill>
            <a:ln w="12700">
              <a:noFill/>
              <a:round/>
              <a:headEnd/>
              <a:tailEnd/>
            </a:ln>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sp>
          <p:nvSpPr>
            <p:cNvPr id="21" name="Rechteck 20"/>
            <p:cNvSpPr/>
            <p:nvPr/>
          </p:nvSpPr>
          <p:spPr bwMode="gray">
            <a:xfrm>
              <a:off x="2489696" y="2276748"/>
              <a:ext cx="1218208" cy="144140"/>
            </a:xfrm>
            <a:prstGeom prst="rect">
              <a:avLst/>
            </a:prstGeom>
            <a:solidFill>
              <a:schemeClr val="accent1">
                <a:lumMod val="50000"/>
              </a:schemeClr>
            </a:solidFill>
            <a:ln w="12700">
              <a:noFill/>
              <a:round/>
              <a:headEnd/>
              <a:tailEnd/>
            </a:ln>
            <a:effectLst/>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sp>
          <p:nvSpPr>
            <p:cNvPr id="22" name="Trapezoid 21"/>
            <p:cNvSpPr/>
            <p:nvPr/>
          </p:nvSpPr>
          <p:spPr bwMode="gray">
            <a:xfrm>
              <a:off x="2489696" y="2509407"/>
              <a:ext cx="1218208" cy="3149544"/>
            </a:xfrm>
            <a:prstGeom prst="trapezoid">
              <a:avLst>
                <a:gd name="adj" fmla="val 9907"/>
              </a:avLst>
            </a:prstGeom>
            <a:solidFill>
              <a:schemeClr val="accent1">
                <a:lumMod val="50000"/>
              </a:schemeClr>
            </a:solidFill>
            <a:ln w="12700">
              <a:noFill/>
              <a:round/>
              <a:headEnd/>
              <a:tailEnd/>
            </a:ln>
            <a:effectLst/>
          </p:spPr>
          <p:txBody>
            <a:bodyPr vert="vert270"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r>
                <a:rPr lang="en-GB" sz="2400" b="1" dirty="0">
                  <a:solidFill>
                    <a:schemeClr val="bg1"/>
                  </a:solidFill>
                  <a:latin typeface="Calibri" panose="020F0502020204030204" pitchFamily="34" charset="0"/>
                  <a:cs typeface="Calibri" panose="020F0502020204030204" pitchFamily="34" charset="0"/>
                </a:rPr>
                <a:t>     Structure</a:t>
              </a:r>
              <a:endParaRPr lang="en-GB" sz="2000" b="1" dirty="0">
                <a:solidFill>
                  <a:schemeClr val="bg1"/>
                </a:solidFill>
                <a:latin typeface="Calibri" panose="020F0502020204030204" pitchFamily="34" charset="0"/>
                <a:cs typeface="Calibri" panose="020F0502020204030204" pitchFamily="34" charset="0"/>
              </a:endParaRPr>
            </a:p>
          </p:txBody>
        </p:sp>
        <p:sp>
          <p:nvSpPr>
            <p:cNvPr id="23" name="Rechteck 22"/>
            <p:cNvSpPr/>
            <p:nvPr/>
          </p:nvSpPr>
          <p:spPr bwMode="gray">
            <a:xfrm>
              <a:off x="2129656" y="5956136"/>
              <a:ext cx="1938288" cy="215900"/>
            </a:xfrm>
            <a:prstGeom prst="rect">
              <a:avLst/>
            </a:prstGeom>
            <a:solidFill>
              <a:schemeClr val="accent1">
                <a:lumMod val="50000"/>
              </a:schemeClr>
            </a:solidFill>
            <a:ln w="12700">
              <a:noFill/>
              <a:round/>
              <a:headEnd/>
              <a:tailEnd/>
            </a:ln>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sp>
          <p:nvSpPr>
            <p:cNvPr id="24" name="Rechteck 23"/>
            <p:cNvSpPr/>
            <p:nvPr/>
          </p:nvSpPr>
          <p:spPr bwMode="gray">
            <a:xfrm>
              <a:off x="2345680" y="5739080"/>
              <a:ext cx="1506240" cy="144140"/>
            </a:xfrm>
            <a:prstGeom prst="rect">
              <a:avLst/>
            </a:prstGeom>
            <a:solidFill>
              <a:schemeClr val="accent1">
                <a:lumMod val="50000"/>
              </a:schemeClr>
            </a:solidFill>
            <a:ln w="12700">
              <a:noFill/>
              <a:round/>
              <a:headEnd/>
              <a:tailEnd/>
            </a:ln>
            <a:effectLst/>
          </p:spPr>
          <p:txBody>
            <a:bodyPr rtlCol="0" anchor="ct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a:endParaRPr lang="de-DE" dirty="0">
                <a:latin typeface="Calibri" panose="020F0502020204030204" pitchFamily="34" charset="0"/>
                <a:cs typeface="Calibri" panose="020F0502020204030204" pitchFamily="34" charset="0"/>
              </a:endParaRPr>
            </a:p>
          </p:txBody>
        </p:sp>
      </p:grpSp>
      <p:sp>
        <p:nvSpPr>
          <p:cNvPr id="27" name="Rechteck 26"/>
          <p:cNvSpPr/>
          <p:nvPr/>
        </p:nvSpPr>
        <p:spPr>
          <a:xfrm>
            <a:off x="1934498" y="5414134"/>
            <a:ext cx="6274204" cy="554865"/>
          </a:xfrm>
          <a:prstGeom prst="rect">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latin typeface="Calibri" panose="020F0502020204030204" pitchFamily="34" charset="0"/>
                <a:cs typeface="Calibri" panose="020F0502020204030204" pitchFamily="34" charset="0"/>
              </a:rPr>
              <a:t>ENRICH in Brazil as Main Hub &amp; Contact Point for </a:t>
            </a:r>
          </a:p>
          <a:p>
            <a:pPr algn="ctr"/>
            <a:r>
              <a:rPr lang="en-GB" sz="1400" b="1" dirty="0">
                <a:latin typeface="Calibri" panose="020F0502020204030204" pitchFamily="34" charset="0"/>
                <a:cs typeface="Calibri" panose="020F0502020204030204" pitchFamily="34" charset="0"/>
              </a:rPr>
              <a:t>European &amp; Brazilian STI Actors</a:t>
            </a:r>
          </a:p>
        </p:txBody>
      </p:sp>
      <p:sp>
        <p:nvSpPr>
          <p:cNvPr id="29" name="Rechteck 28"/>
          <p:cNvSpPr/>
          <p:nvPr/>
        </p:nvSpPr>
        <p:spPr>
          <a:xfrm>
            <a:off x="0" y="-15996"/>
            <a:ext cx="9906000" cy="507831"/>
          </a:xfrm>
          <a:prstGeom prst="rect">
            <a:avLst/>
          </a:prstGeom>
          <a:solidFill>
            <a:schemeClr val="bg2">
              <a:lumMod val="50000"/>
            </a:schemeClr>
          </a:solidFill>
        </p:spPr>
        <p:txBody>
          <a:bodyPr wrap="square" rtlCol="0">
            <a:spAutoFit/>
          </a:bodyPr>
          <a:lstStyle/>
          <a:p>
            <a:r>
              <a:rPr lang="en-US" sz="2700" b="1" dirty="0">
                <a:solidFill>
                  <a:schemeClr val="bg1"/>
                </a:solidFill>
                <a:latin typeface="Calibri" panose="020F0502020204030204" pitchFamily="34" charset="0"/>
                <a:cs typeface="Calibri" panose="020F0502020204030204" pitchFamily="34" charset="0"/>
              </a:rPr>
              <a:t>ENRICH in Brazil: Main Pillars to put Vision/Mission into Practice</a:t>
            </a:r>
          </a:p>
        </p:txBody>
      </p:sp>
      <p:sp>
        <p:nvSpPr>
          <p:cNvPr id="30" name="Textfeld 29"/>
          <p:cNvSpPr txBox="1"/>
          <p:nvPr/>
        </p:nvSpPr>
        <p:spPr>
          <a:xfrm>
            <a:off x="3845754" y="847405"/>
            <a:ext cx="2419350" cy="1200329"/>
          </a:xfrm>
          <a:prstGeom prst="rect">
            <a:avLst/>
          </a:prstGeom>
          <a:noFill/>
        </p:spPr>
        <p:txBody>
          <a:bodyPr wrap="square" rtlCol="0">
            <a:spAutoFit/>
          </a:bodyPr>
          <a:lstStyle/>
          <a:p>
            <a:pPr algn="ctr"/>
            <a:r>
              <a:rPr lang="en-GB" sz="2400" b="1" dirty="0">
                <a:solidFill>
                  <a:schemeClr val="bg1"/>
                </a:solidFill>
                <a:latin typeface="Calibri" panose="020F0502020204030204" pitchFamily="34" charset="0"/>
                <a:cs typeface="Calibri" panose="020F0502020204030204" pitchFamily="34" charset="0"/>
              </a:rPr>
              <a:t>Vision</a:t>
            </a:r>
          </a:p>
          <a:p>
            <a:pPr algn="ctr"/>
            <a:r>
              <a:rPr lang="en-GB" sz="2400" b="1" dirty="0">
                <a:solidFill>
                  <a:schemeClr val="bg1"/>
                </a:solidFill>
                <a:latin typeface="Calibri" panose="020F0502020204030204" pitchFamily="34" charset="0"/>
                <a:cs typeface="Calibri" panose="020F0502020204030204" pitchFamily="34" charset="0"/>
              </a:rPr>
              <a:t>Mission</a:t>
            </a:r>
          </a:p>
          <a:p>
            <a:endParaRPr lang="en-GB" sz="2400" b="1" dirty="0">
              <a:solidFill>
                <a:schemeClr val="bg1"/>
              </a:solidFill>
              <a:latin typeface="Calibri" panose="020F0502020204030204" pitchFamily="34" charset="0"/>
              <a:cs typeface="Calibri" panose="020F0502020204030204" pitchFamily="34" charset="0"/>
            </a:endParaRPr>
          </a:p>
        </p:txBody>
      </p:sp>
      <p:pic>
        <p:nvPicPr>
          <p:cNvPr id="31" name="Grafik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2902" y="4490489"/>
            <a:ext cx="386147" cy="386147"/>
          </a:xfrm>
          <a:prstGeom prst="rect">
            <a:avLst/>
          </a:prstGeom>
        </p:spPr>
      </p:pic>
      <p:pic>
        <p:nvPicPr>
          <p:cNvPr id="32" name="Grafik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50683" y="4506259"/>
            <a:ext cx="338567" cy="338567"/>
          </a:xfrm>
          <a:prstGeom prst="rect">
            <a:avLst/>
          </a:prstGeom>
        </p:spPr>
      </p:pic>
      <p:pic>
        <p:nvPicPr>
          <p:cNvPr id="33" name="Grafik 3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12296" y="4506259"/>
            <a:ext cx="339918" cy="339918"/>
          </a:xfrm>
          <a:prstGeom prst="rect">
            <a:avLst/>
          </a:prstGeom>
        </p:spPr>
      </p:pic>
      <p:sp>
        <p:nvSpPr>
          <p:cNvPr id="35" name="Pfeil nach links und rechts 34"/>
          <p:cNvSpPr/>
          <p:nvPr/>
        </p:nvSpPr>
        <p:spPr>
          <a:xfrm>
            <a:off x="3214106" y="3510227"/>
            <a:ext cx="1368003" cy="241300"/>
          </a:xfrm>
          <a:prstGeom prst="lef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cs typeface="Calibri" panose="020F0502020204030204" pitchFamily="34" charset="0"/>
            </a:endParaRPr>
          </a:p>
        </p:txBody>
      </p:sp>
      <p:sp>
        <p:nvSpPr>
          <p:cNvPr id="36" name="Pfeil nach links und rechts 35"/>
          <p:cNvSpPr/>
          <p:nvPr/>
        </p:nvSpPr>
        <p:spPr>
          <a:xfrm>
            <a:off x="5562708" y="4369839"/>
            <a:ext cx="1368003" cy="241300"/>
          </a:xfrm>
          <a:prstGeom prst="lef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cs typeface="Calibri" panose="020F0502020204030204" pitchFamily="34" charset="0"/>
            </a:endParaRPr>
          </a:p>
        </p:txBody>
      </p:sp>
      <p:pic>
        <p:nvPicPr>
          <p:cNvPr id="38" name="Picture 2" descr="Regional Centre for Information and Scientific Development Lt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8603" y="6214860"/>
            <a:ext cx="2081287" cy="53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98566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729102"/>
            <a:ext cx="6845643" cy="5103287"/>
          </a:xfrm>
          <a:prstGeom prst="rect">
            <a:avLst/>
          </a:prstGeom>
        </p:spPr>
      </p:pic>
      <p:pic>
        <p:nvPicPr>
          <p:cNvPr id="2" name="Grafik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45643" y="721803"/>
            <a:ext cx="3051841" cy="5110586"/>
          </a:xfrm>
          <a:prstGeom prst="rect">
            <a:avLst/>
          </a:prstGeom>
        </p:spPr>
      </p:pic>
      <p:sp>
        <p:nvSpPr>
          <p:cNvPr id="3" name="Rechteck 2"/>
          <p:cNvSpPr/>
          <p:nvPr/>
        </p:nvSpPr>
        <p:spPr>
          <a:xfrm>
            <a:off x="0" y="665601"/>
            <a:ext cx="9897484" cy="5166788"/>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 Placeholder 3"/>
          <p:cNvSpPr txBox="1">
            <a:spLocks/>
          </p:cNvSpPr>
          <p:nvPr/>
        </p:nvSpPr>
        <p:spPr>
          <a:xfrm>
            <a:off x="6641948" y="3048013"/>
            <a:ext cx="2340000" cy="1980000"/>
          </a:xfrm>
          <a:prstGeom prst="rect">
            <a:avLst/>
          </a:prstGeom>
          <a:solidFill>
            <a:schemeClr val="tx2">
              <a:lumMod val="20000"/>
              <a:lumOff val="80000"/>
              <a:alpha val="84000"/>
            </a:schemeClr>
          </a:solidFill>
        </p:spPr>
        <p:txBody>
          <a:bodyPr vert="horz" lIns="72000" tIns="108000" rIns="72000" bIns="108000" rtlCol="0" anchor="t">
            <a:noAutofit/>
          </a:bodyPr>
          <a:lstStyle>
            <a:lvl1pPr marL="0" indent="0" algn="l" defTabSz="914400" rtl="0" eaLnBrk="1" latinLnBrk="0" hangingPunct="1">
              <a:lnSpc>
                <a:spcPct val="114000"/>
              </a:lnSpc>
              <a:spcBef>
                <a:spcPts val="800"/>
              </a:spcBef>
              <a:spcAft>
                <a:spcPts val="200"/>
              </a:spcAft>
              <a:buFont typeface="Arial" panose="020B0604020202020204" pitchFamily="34" charset="0"/>
              <a:buNone/>
              <a:defRPr sz="1400" b="0" kern="1200">
                <a:solidFill>
                  <a:schemeClr val="bg1"/>
                </a:solidFill>
                <a:latin typeface="+mn-lt"/>
                <a:ea typeface="+mn-ea"/>
                <a:cs typeface="+mn-cs"/>
              </a:defRPr>
            </a:lvl1pPr>
            <a:lvl2pPr marL="457200" indent="0" algn="l" defTabSz="914400" rtl="0" eaLnBrk="1" latinLnBrk="0" hangingPunct="1">
              <a:lnSpc>
                <a:spcPct val="114000"/>
              </a:lnSpc>
              <a:spcBef>
                <a:spcPts val="800"/>
              </a:spcBef>
              <a:spcAft>
                <a:spcPts val="200"/>
              </a:spcAft>
              <a:buFont typeface="Arial" panose="020B0604020202020204" pitchFamily="34" charset="0"/>
              <a:buNone/>
              <a:defRPr sz="1400" kern="1200">
                <a:solidFill>
                  <a:schemeClr val="accent1"/>
                </a:solidFill>
                <a:latin typeface="+mn-lt"/>
                <a:ea typeface="+mn-ea"/>
                <a:cs typeface="+mn-cs"/>
              </a:defRPr>
            </a:lvl2pPr>
            <a:lvl3pPr marL="914400" indent="0" algn="l" defTabSz="914400" rtl="0" eaLnBrk="1" latinLnBrk="0" hangingPunct="1">
              <a:lnSpc>
                <a:spcPct val="114000"/>
              </a:lnSpc>
              <a:spcBef>
                <a:spcPts val="800"/>
              </a:spcBef>
              <a:spcAft>
                <a:spcPts val="200"/>
              </a:spcAft>
              <a:buFont typeface="Arial" panose="020B0604020202020204" pitchFamily="34" charset="0"/>
              <a:buNone/>
              <a:defRPr sz="1200" kern="1200">
                <a:solidFill>
                  <a:schemeClr val="accent1"/>
                </a:solidFill>
                <a:latin typeface="+mn-lt"/>
                <a:ea typeface="+mn-ea"/>
                <a:cs typeface="+mn-cs"/>
              </a:defRPr>
            </a:lvl3pPr>
            <a:lvl4pPr marL="1371600" indent="0" algn="l" defTabSz="914400" rtl="0" eaLnBrk="1" latinLnBrk="0" hangingPunct="1">
              <a:lnSpc>
                <a:spcPct val="114000"/>
              </a:lnSpc>
              <a:spcBef>
                <a:spcPts val="800"/>
              </a:spcBef>
              <a:spcAft>
                <a:spcPts val="200"/>
              </a:spcAft>
              <a:buFont typeface="Arial" panose="020B0604020202020204" pitchFamily="34" charset="0"/>
              <a:buNone/>
              <a:defRPr sz="1000" kern="1200">
                <a:solidFill>
                  <a:schemeClr val="accent1"/>
                </a:solidFill>
                <a:latin typeface="+mn-lt"/>
                <a:ea typeface="+mn-ea"/>
                <a:cs typeface="+mn-cs"/>
              </a:defRPr>
            </a:lvl4pPr>
            <a:lvl5pPr marL="1828800" indent="0" algn="l" defTabSz="914400" rtl="0" eaLnBrk="1" latinLnBrk="0" hangingPunct="1">
              <a:lnSpc>
                <a:spcPct val="114000"/>
              </a:lnSpc>
              <a:spcBef>
                <a:spcPts val="800"/>
              </a:spcBef>
              <a:spcAft>
                <a:spcPts val="200"/>
              </a:spcAft>
              <a:buFont typeface="Arial" panose="020B0604020202020204" pitchFamily="34" charset="0"/>
              <a:buNone/>
              <a:defRPr sz="1000" kern="1200">
                <a:solidFill>
                  <a:schemeClr val="accent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179388" lvl="0" indent="-179388">
              <a:buFont typeface="Wingdings" pitchFamily="2" charset="2"/>
              <a:buChar char="v"/>
            </a:pPr>
            <a:r>
              <a:rPr lang="en-US" sz="1600" b="1" dirty="0">
                <a:solidFill>
                  <a:srgbClr val="004785"/>
                </a:solidFill>
                <a:latin typeface="Arial"/>
              </a:rPr>
              <a:t>Companies </a:t>
            </a:r>
          </a:p>
          <a:p>
            <a:pPr marL="179388" lvl="0" indent="-179388">
              <a:buFont typeface="Wingdings" pitchFamily="2" charset="2"/>
              <a:buChar char="v"/>
            </a:pPr>
            <a:r>
              <a:rPr lang="en-US" sz="1600" b="1" dirty="0">
                <a:solidFill>
                  <a:srgbClr val="004785"/>
                </a:solidFill>
                <a:latin typeface="Arial"/>
              </a:rPr>
              <a:t>Start-ups, SMEs</a:t>
            </a:r>
          </a:p>
          <a:p>
            <a:pPr marL="179388" lvl="0" indent="-179388">
              <a:buFont typeface="Wingdings" pitchFamily="2" charset="2"/>
              <a:buChar char="v"/>
            </a:pPr>
            <a:r>
              <a:rPr lang="en-US" sz="1600" b="1" dirty="0">
                <a:solidFill>
                  <a:srgbClr val="004785"/>
                </a:solidFill>
                <a:latin typeface="Arial"/>
              </a:rPr>
              <a:t>Business Networks</a:t>
            </a:r>
          </a:p>
          <a:p>
            <a:pPr marL="179388" lvl="0" indent="-179388">
              <a:buFont typeface="Wingdings" pitchFamily="2" charset="2"/>
              <a:buChar char="v"/>
            </a:pPr>
            <a:r>
              <a:rPr lang="en-US" sz="1600" b="1" dirty="0">
                <a:solidFill>
                  <a:srgbClr val="004785"/>
                </a:solidFill>
                <a:latin typeface="Arial"/>
              </a:rPr>
              <a:t>Clusters</a:t>
            </a:r>
          </a:p>
        </p:txBody>
      </p:sp>
      <p:sp>
        <p:nvSpPr>
          <p:cNvPr id="14" name="Titel 1"/>
          <p:cNvSpPr txBox="1">
            <a:spLocks/>
          </p:cNvSpPr>
          <p:nvPr/>
        </p:nvSpPr>
        <p:spPr bwMode="auto">
          <a:xfrm>
            <a:off x="1" y="39900"/>
            <a:ext cx="9922196" cy="461665"/>
          </a:xfrm>
          <a:prstGeom prst="rect">
            <a:avLst/>
          </a:prstGeom>
          <a:noFill/>
          <a:ln>
            <a:noFill/>
          </a:ln>
        </p:spPr>
        <p:txBody>
          <a:bodyPr wrap="square" rtlCol="0">
            <a:spAutoFit/>
          </a:bodyPr>
          <a:lstStyle>
            <a:defPPr>
              <a:defRPr lang="es-ES_tradnl"/>
            </a:defPPr>
            <a:lvl1pPr>
              <a:defRPr sz="2400" b="1">
                <a:solidFill>
                  <a:schemeClr val="bg1"/>
                </a:solidFill>
                <a:latin typeface="Calibri" panose="020F0502020204030204" pitchFamily="34" charset="0"/>
                <a:cs typeface="Calibri" panose="020F0502020204030204" pitchFamily="34" charset="0"/>
              </a:defRPr>
            </a:lvl1pPr>
          </a:lstStyle>
          <a:p>
            <a:pPr algn="ctr"/>
            <a:r>
              <a:rPr lang="en-US" dirty="0">
                <a:solidFill>
                  <a:schemeClr val="accent1">
                    <a:lumMod val="75000"/>
                  </a:schemeClr>
                </a:solidFill>
              </a:rPr>
              <a:t>Clients – Beneficiaries - Stakeholder</a:t>
            </a:r>
          </a:p>
        </p:txBody>
      </p:sp>
      <p:cxnSp>
        <p:nvCxnSpPr>
          <p:cNvPr id="23" name="Straight Connector 21"/>
          <p:cNvCxnSpPr/>
          <p:nvPr/>
        </p:nvCxnSpPr>
        <p:spPr>
          <a:xfrm>
            <a:off x="630195" y="658301"/>
            <a:ext cx="9272165"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1"/>
          <p:cNvCxnSpPr/>
          <p:nvPr/>
        </p:nvCxnSpPr>
        <p:spPr>
          <a:xfrm>
            <a:off x="741408" y="565065"/>
            <a:ext cx="9156077" cy="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sp>
        <p:nvSpPr>
          <p:cNvPr id="20" name="Text Placeholder 3"/>
          <p:cNvSpPr txBox="1">
            <a:spLocks/>
          </p:cNvSpPr>
          <p:nvPr/>
        </p:nvSpPr>
        <p:spPr>
          <a:xfrm>
            <a:off x="6641948" y="1936189"/>
            <a:ext cx="2340000" cy="900000"/>
          </a:xfrm>
          <a:prstGeom prst="rect">
            <a:avLst/>
          </a:prstGeom>
          <a:solidFill>
            <a:schemeClr val="accent4">
              <a:alpha val="84000"/>
            </a:schemeClr>
          </a:solidFill>
        </p:spPr>
        <p:txBody>
          <a:bodyPr vert="horz" lIns="180000" tIns="180000" rIns="180000" bIns="180000" rtlCol="0">
            <a:noAutofit/>
          </a:bodyPr>
          <a:lstStyle/>
          <a:p>
            <a:pPr marL="0" marR="0" lvl="0" indent="0" algn="ctr" defTabSz="914400" rtl="0" eaLnBrk="1" fontAlgn="auto" latinLnBrk="0" hangingPunct="1">
              <a:lnSpc>
                <a:spcPct val="114000"/>
              </a:lnSpc>
              <a:spcBef>
                <a:spcPts val="800"/>
              </a:spcBef>
              <a:spcAft>
                <a:spcPts val="200"/>
              </a:spcAft>
              <a:buClrTx/>
              <a:buSzTx/>
              <a:buFont typeface="Arial" panose="020B0604020202020204" pitchFamily="34" charset="0"/>
              <a:buNone/>
              <a:tabLst/>
              <a:defRPr/>
            </a:pPr>
            <a:r>
              <a:rPr kumimoji="0" lang="en-US" b="1" i="0" u="none" strike="noStrike" kern="1200" cap="none" spc="0" normalizeH="0" baseline="0" noProof="0" dirty="0">
                <a:ln>
                  <a:noFill/>
                </a:ln>
                <a:solidFill>
                  <a:srgbClr val="FFFFFF"/>
                </a:solidFill>
                <a:effectLst/>
                <a:uLnTx/>
                <a:uFillTx/>
                <a:latin typeface="Arial"/>
                <a:ea typeface="+mn-ea"/>
                <a:cs typeface="+mn-cs"/>
              </a:rPr>
              <a:t>BUSINESS ACTORS</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echteck 11"/>
          <p:cNvSpPr/>
          <p:nvPr/>
        </p:nvSpPr>
        <p:spPr>
          <a:xfrm rot="19103707">
            <a:off x="-193035" y="177974"/>
            <a:ext cx="1292370" cy="483579"/>
          </a:xfrm>
          <a:prstGeom prst="rect">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a:solidFill>
                  <a:schemeClr val="bg1"/>
                </a:solidFill>
                <a:latin typeface="Calibri" panose="020F0502020204030204" pitchFamily="34" charset="0"/>
                <a:cs typeface="Calibri" panose="020F0502020204030204" pitchFamily="34" charset="0"/>
              </a:rPr>
              <a:t>For</a:t>
            </a:r>
            <a:r>
              <a:rPr lang="de-DE" sz="1600" b="1" dirty="0">
                <a:solidFill>
                  <a:schemeClr val="bg1"/>
                </a:solidFill>
                <a:latin typeface="Calibri" panose="020F0502020204030204" pitchFamily="34" charset="0"/>
                <a:cs typeface="Calibri" panose="020F0502020204030204" pitchFamily="34" charset="0"/>
              </a:rPr>
              <a:t> </a:t>
            </a:r>
          </a:p>
          <a:p>
            <a:pPr algn="ctr"/>
            <a:r>
              <a:rPr lang="de-DE" sz="1600" b="1" dirty="0" err="1">
                <a:solidFill>
                  <a:schemeClr val="bg1"/>
                </a:solidFill>
                <a:latin typeface="Calibri" panose="020F0502020204030204" pitchFamily="34" charset="0"/>
                <a:cs typeface="Calibri" panose="020F0502020204030204" pitchFamily="34" charset="0"/>
              </a:rPr>
              <a:t>whom</a:t>
            </a:r>
            <a:r>
              <a:rPr lang="de-DE" sz="1600" b="1" dirty="0">
                <a:solidFill>
                  <a:schemeClr val="bg1"/>
                </a:solidFill>
                <a:latin typeface="Calibri" panose="020F0502020204030204" pitchFamily="34" charset="0"/>
                <a:cs typeface="Calibri" panose="020F0502020204030204" pitchFamily="34" charset="0"/>
              </a:rPr>
              <a:t>?!</a:t>
            </a:r>
          </a:p>
        </p:txBody>
      </p:sp>
      <p:sp>
        <p:nvSpPr>
          <p:cNvPr id="17" name="Text Placeholder 3"/>
          <p:cNvSpPr txBox="1">
            <a:spLocks/>
          </p:cNvSpPr>
          <p:nvPr/>
        </p:nvSpPr>
        <p:spPr>
          <a:xfrm>
            <a:off x="904062" y="1922334"/>
            <a:ext cx="2340000" cy="900000"/>
          </a:xfrm>
          <a:prstGeom prst="rect">
            <a:avLst/>
          </a:prstGeom>
          <a:solidFill>
            <a:srgbClr val="00B050">
              <a:alpha val="84000"/>
            </a:srgbClr>
          </a:solidFill>
        </p:spPr>
        <p:txBody>
          <a:bodyPr vert="horz" lIns="180000" tIns="180000" rIns="180000" bIns="180000" rtlCol="0">
            <a:noAutofit/>
          </a:bodyPr>
          <a:lstStyle/>
          <a:p>
            <a:pPr marL="0" marR="0" lvl="0" indent="0" algn="ctr" defTabSz="914400" rtl="0" eaLnBrk="1" fontAlgn="auto" latinLnBrk="0" hangingPunct="1">
              <a:lnSpc>
                <a:spcPct val="114000"/>
              </a:lnSpc>
              <a:spcBef>
                <a:spcPts val="800"/>
              </a:spcBef>
              <a:spcAft>
                <a:spcPts val="200"/>
              </a:spcAft>
              <a:buClrTx/>
              <a:buSzTx/>
              <a:buFont typeface="Arial" panose="020B0604020202020204" pitchFamily="34" charset="0"/>
              <a:buNone/>
              <a:tabLst/>
              <a:defRPr/>
            </a:pPr>
            <a:r>
              <a:rPr kumimoji="0" lang="en-US" b="1" i="0" u="none" strike="noStrike" kern="1200" cap="none" spc="0" normalizeH="0" baseline="0" noProof="0" dirty="0">
                <a:ln>
                  <a:noFill/>
                </a:ln>
                <a:solidFill>
                  <a:srgbClr val="FFFFFF"/>
                </a:solidFill>
                <a:effectLst/>
                <a:uLnTx/>
                <a:uFillTx/>
                <a:latin typeface="Arial"/>
                <a:ea typeface="+mn-ea"/>
                <a:cs typeface="+mn-cs"/>
              </a:rPr>
              <a:t>RESEARCH</a:t>
            </a:r>
            <a:r>
              <a:rPr kumimoji="0" lang="en-US" b="1" i="0" u="none" strike="noStrike" kern="1200" cap="none" spc="0" normalizeH="0" noProof="0" dirty="0">
                <a:ln>
                  <a:noFill/>
                </a:ln>
                <a:solidFill>
                  <a:srgbClr val="FFFFFF"/>
                </a:solidFill>
                <a:effectLst/>
                <a:uLnTx/>
                <a:uFillTx/>
                <a:latin typeface="Arial"/>
                <a:ea typeface="+mn-ea"/>
                <a:cs typeface="+mn-cs"/>
              </a:rPr>
              <a:t> ACTORS </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18" name="Text Placeholder 3"/>
          <p:cNvSpPr txBox="1">
            <a:spLocks/>
          </p:cNvSpPr>
          <p:nvPr/>
        </p:nvSpPr>
        <p:spPr>
          <a:xfrm>
            <a:off x="904062" y="3048014"/>
            <a:ext cx="2340000" cy="1980000"/>
          </a:xfrm>
          <a:prstGeom prst="rect">
            <a:avLst/>
          </a:prstGeom>
          <a:solidFill>
            <a:schemeClr val="tx2">
              <a:lumMod val="20000"/>
              <a:lumOff val="80000"/>
              <a:alpha val="84000"/>
            </a:schemeClr>
          </a:solidFill>
        </p:spPr>
        <p:txBody>
          <a:bodyPr vert="horz" lIns="72000" tIns="108000" rIns="72000" bIns="108000" rtlCol="0" anchor="t">
            <a:noAutofit/>
          </a:bodyPr>
          <a:lstStyle>
            <a:lvl1pPr marL="0" indent="0" algn="l" defTabSz="914400" rtl="0" eaLnBrk="1" latinLnBrk="0" hangingPunct="1">
              <a:lnSpc>
                <a:spcPct val="114000"/>
              </a:lnSpc>
              <a:spcBef>
                <a:spcPts val="800"/>
              </a:spcBef>
              <a:spcAft>
                <a:spcPts val="200"/>
              </a:spcAft>
              <a:buFont typeface="Arial" panose="020B0604020202020204" pitchFamily="34" charset="0"/>
              <a:buNone/>
              <a:defRPr sz="1400" b="0" kern="1200">
                <a:solidFill>
                  <a:schemeClr val="bg1"/>
                </a:solidFill>
                <a:latin typeface="+mn-lt"/>
                <a:ea typeface="+mn-ea"/>
                <a:cs typeface="+mn-cs"/>
              </a:defRPr>
            </a:lvl1pPr>
            <a:lvl2pPr marL="457200" indent="0" algn="l" defTabSz="914400" rtl="0" eaLnBrk="1" latinLnBrk="0" hangingPunct="1">
              <a:lnSpc>
                <a:spcPct val="114000"/>
              </a:lnSpc>
              <a:spcBef>
                <a:spcPts val="800"/>
              </a:spcBef>
              <a:spcAft>
                <a:spcPts val="200"/>
              </a:spcAft>
              <a:buFont typeface="Arial" panose="020B0604020202020204" pitchFamily="34" charset="0"/>
              <a:buNone/>
              <a:defRPr sz="1400" kern="1200">
                <a:solidFill>
                  <a:schemeClr val="accent1"/>
                </a:solidFill>
                <a:latin typeface="+mn-lt"/>
                <a:ea typeface="+mn-ea"/>
                <a:cs typeface="+mn-cs"/>
              </a:defRPr>
            </a:lvl2pPr>
            <a:lvl3pPr marL="914400" indent="0" algn="l" defTabSz="914400" rtl="0" eaLnBrk="1" latinLnBrk="0" hangingPunct="1">
              <a:lnSpc>
                <a:spcPct val="114000"/>
              </a:lnSpc>
              <a:spcBef>
                <a:spcPts val="800"/>
              </a:spcBef>
              <a:spcAft>
                <a:spcPts val="200"/>
              </a:spcAft>
              <a:buFont typeface="Arial" panose="020B0604020202020204" pitchFamily="34" charset="0"/>
              <a:buNone/>
              <a:defRPr sz="1200" kern="1200">
                <a:solidFill>
                  <a:schemeClr val="accent1"/>
                </a:solidFill>
                <a:latin typeface="+mn-lt"/>
                <a:ea typeface="+mn-ea"/>
                <a:cs typeface="+mn-cs"/>
              </a:defRPr>
            </a:lvl3pPr>
            <a:lvl4pPr marL="1371600" indent="0" algn="l" defTabSz="914400" rtl="0" eaLnBrk="1" latinLnBrk="0" hangingPunct="1">
              <a:lnSpc>
                <a:spcPct val="114000"/>
              </a:lnSpc>
              <a:spcBef>
                <a:spcPts val="800"/>
              </a:spcBef>
              <a:spcAft>
                <a:spcPts val="200"/>
              </a:spcAft>
              <a:buFont typeface="Arial" panose="020B0604020202020204" pitchFamily="34" charset="0"/>
              <a:buNone/>
              <a:defRPr sz="1000" kern="1200">
                <a:solidFill>
                  <a:schemeClr val="accent1"/>
                </a:solidFill>
                <a:latin typeface="+mn-lt"/>
                <a:ea typeface="+mn-ea"/>
                <a:cs typeface="+mn-cs"/>
              </a:defRPr>
            </a:lvl4pPr>
            <a:lvl5pPr marL="1828800" indent="0" algn="l" defTabSz="914400" rtl="0" eaLnBrk="1" latinLnBrk="0" hangingPunct="1">
              <a:lnSpc>
                <a:spcPct val="114000"/>
              </a:lnSpc>
              <a:spcBef>
                <a:spcPts val="800"/>
              </a:spcBef>
              <a:spcAft>
                <a:spcPts val="200"/>
              </a:spcAft>
              <a:buFont typeface="Arial" panose="020B0604020202020204" pitchFamily="34" charset="0"/>
              <a:buNone/>
              <a:defRPr sz="1000" kern="1200">
                <a:solidFill>
                  <a:schemeClr val="accent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179388" lvl="0" indent="-179388">
              <a:buFont typeface="Wingdings" pitchFamily="2" charset="2"/>
              <a:buChar char="v"/>
            </a:pPr>
            <a:r>
              <a:rPr lang="en-US" sz="1600" b="1" dirty="0">
                <a:solidFill>
                  <a:srgbClr val="004785"/>
                </a:solidFill>
                <a:latin typeface="Arial"/>
              </a:rPr>
              <a:t>Universities</a:t>
            </a:r>
          </a:p>
          <a:p>
            <a:pPr marL="179388" lvl="0" indent="-179388">
              <a:buFont typeface="Wingdings" pitchFamily="2" charset="2"/>
              <a:buChar char="v"/>
            </a:pPr>
            <a:r>
              <a:rPr lang="en-US" sz="1600" b="1" dirty="0">
                <a:solidFill>
                  <a:srgbClr val="004785"/>
                </a:solidFill>
                <a:latin typeface="Arial"/>
              </a:rPr>
              <a:t>Research Institutes</a:t>
            </a:r>
          </a:p>
          <a:p>
            <a:pPr marL="179388" lvl="0" indent="-179388">
              <a:buFont typeface="Wingdings" pitchFamily="2" charset="2"/>
              <a:buChar char="v"/>
            </a:pPr>
            <a:r>
              <a:rPr lang="en-US" sz="1600" b="1" dirty="0">
                <a:solidFill>
                  <a:srgbClr val="004785"/>
                </a:solidFill>
                <a:latin typeface="Arial"/>
              </a:rPr>
              <a:t>University Associations</a:t>
            </a:r>
          </a:p>
          <a:p>
            <a:pPr marL="179388" lvl="0" indent="-179388">
              <a:buFont typeface="Wingdings" pitchFamily="2" charset="2"/>
              <a:buChar char="v"/>
            </a:pPr>
            <a:r>
              <a:rPr lang="en-US" sz="1600" b="1" dirty="0">
                <a:solidFill>
                  <a:srgbClr val="004785"/>
                </a:solidFill>
                <a:latin typeface="Arial"/>
              </a:rPr>
              <a:t>Research Networks</a:t>
            </a:r>
          </a:p>
        </p:txBody>
      </p:sp>
      <p:sp>
        <p:nvSpPr>
          <p:cNvPr id="19" name="Text Placeholder 3"/>
          <p:cNvSpPr txBox="1">
            <a:spLocks/>
          </p:cNvSpPr>
          <p:nvPr/>
        </p:nvSpPr>
        <p:spPr>
          <a:xfrm>
            <a:off x="3838076" y="1936189"/>
            <a:ext cx="2340000" cy="900000"/>
          </a:xfrm>
          <a:prstGeom prst="rect">
            <a:avLst/>
          </a:prstGeom>
          <a:solidFill>
            <a:schemeClr val="accent1">
              <a:lumMod val="75000"/>
              <a:alpha val="84000"/>
            </a:schemeClr>
          </a:solidFill>
        </p:spPr>
        <p:txBody>
          <a:bodyPr vert="horz" lIns="180000" tIns="180000" rIns="180000" bIns="180000" rtlCol="0">
            <a:noAutofit/>
          </a:bodyPr>
          <a:lstStyle/>
          <a:p>
            <a:pPr marL="0" marR="0" lvl="0" indent="0" algn="ctr" defTabSz="914400" rtl="0" eaLnBrk="1" fontAlgn="auto" latinLnBrk="0" hangingPunct="1">
              <a:lnSpc>
                <a:spcPct val="114000"/>
              </a:lnSpc>
              <a:spcBef>
                <a:spcPts val="800"/>
              </a:spcBef>
              <a:spcAft>
                <a:spcPts val="200"/>
              </a:spcAft>
              <a:buClrTx/>
              <a:buSzTx/>
              <a:buFont typeface="Arial" panose="020B0604020202020204" pitchFamily="34" charset="0"/>
              <a:buNone/>
              <a:tabLst/>
              <a:defRPr/>
            </a:pPr>
            <a:r>
              <a:rPr kumimoji="0" lang="en-US" b="1" i="0" u="none" strike="noStrike" kern="1200" cap="none" spc="0" normalizeH="0" baseline="0" noProof="0" dirty="0">
                <a:ln>
                  <a:noFill/>
                </a:ln>
                <a:solidFill>
                  <a:srgbClr val="FFFFFF"/>
                </a:solidFill>
                <a:effectLst/>
                <a:uLnTx/>
                <a:uFillTx/>
                <a:latin typeface="Arial"/>
                <a:ea typeface="+mn-ea"/>
                <a:cs typeface="+mn-cs"/>
              </a:rPr>
              <a:t>INNOVATION</a:t>
            </a:r>
            <a:r>
              <a:rPr lang="en-US" b="1" dirty="0">
                <a:solidFill>
                  <a:srgbClr val="FFFFFF"/>
                </a:solidFill>
                <a:latin typeface="Arial"/>
              </a:rPr>
              <a:t> ACTORS</a:t>
            </a:r>
            <a:endParaRPr kumimoji="0" lang="en-US" b="1"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ext Placeholder 3"/>
          <p:cNvSpPr txBox="1">
            <a:spLocks/>
          </p:cNvSpPr>
          <p:nvPr/>
        </p:nvSpPr>
        <p:spPr>
          <a:xfrm>
            <a:off x="3838076" y="3048014"/>
            <a:ext cx="2340000" cy="1980000"/>
          </a:xfrm>
          <a:prstGeom prst="rect">
            <a:avLst/>
          </a:prstGeom>
          <a:solidFill>
            <a:schemeClr val="tx2">
              <a:lumMod val="20000"/>
              <a:lumOff val="80000"/>
              <a:alpha val="84000"/>
            </a:schemeClr>
          </a:solidFill>
        </p:spPr>
        <p:txBody>
          <a:bodyPr vert="horz" lIns="72000" tIns="108000" rIns="72000" bIns="108000" rtlCol="0" anchor="t">
            <a:noAutofit/>
          </a:bodyPr>
          <a:lstStyle>
            <a:lvl1pPr marL="0" indent="0" algn="l" defTabSz="914400" rtl="0" eaLnBrk="1" latinLnBrk="0" hangingPunct="1">
              <a:lnSpc>
                <a:spcPct val="114000"/>
              </a:lnSpc>
              <a:spcBef>
                <a:spcPts val="800"/>
              </a:spcBef>
              <a:spcAft>
                <a:spcPts val="200"/>
              </a:spcAft>
              <a:buFont typeface="Arial" panose="020B0604020202020204" pitchFamily="34" charset="0"/>
              <a:buNone/>
              <a:defRPr sz="1400" b="0" kern="1200">
                <a:solidFill>
                  <a:schemeClr val="bg1"/>
                </a:solidFill>
                <a:latin typeface="+mn-lt"/>
                <a:ea typeface="+mn-ea"/>
                <a:cs typeface="+mn-cs"/>
              </a:defRPr>
            </a:lvl1pPr>
            <a:lvl2pPr marL="457200" indent="0" algn="l" defTabSz="914400" rtl="0" eaLnBrk="1" latinLnBrk="0" hangingPunct="1">
              <a:lnSpc>
                <a:spcPct val="114000"/>
              </a:lnSpc>
              <a:spcBef>
                <a:spcPts val="800"/>
              </a:spcBef>
              <a:spcAft>
                <a:spcPts val="200"/>
              </a:spcAft>
              <a:buFont typeface="Arial" panose="020B0604020202020204" pitchFamily="34" charset="0"/>
              <a:buNone/>
              <a:defRPr sz="1400" kern="1200">
                <a:solidFill>
                  <a:schemeClr val="accent1"/>
                </a:solidFill>
                <a:latin typeface="+mn-lt"/>
                <a:ea typeface="+mn-ea"/>
                <a:cs typeface="+mn-cs"/>
              </a:defRPr>
            </a:lvl2pPr>
            <a:lvl3pPr marL="914400" indent="0" algn="l" defTabSz="914400" rtl="0" eaLnBrk="1" latinLnBrk="0" hangingPunct="1">
              <a:lnSpc>
                <a:spcPct val="114000"/>
              </a:lnSpc>
              <a:spcBef>
                <a:spcPts val="800"/>
              </a:spcBef>
              <a:spcAft>
                <a:spcPts val="200"/>
              </a:spcAft>
              <a:buFont typeface="Arial" panose="020B0604020202020204" pitchFamily="34" charset="0"/>
              <a:buNone/>
              <a:defRPr sz="1200" kern="1200">
                <a:solidFill>
                  <a:schemeClr val="accent1"/>
                </a:solidFill>
                <a:latin typeface="+mn-lt"/>
                <a:ea typeface="+mn-ea"/>
                <a:cs typeface="+mn-cs"/>
              </a:defRPr>
            </a:lvl3pPr>
            <a:lvl4pPr marL="1371600" indent="0" algn="l" defTabSz="914400" rtl="0" eaLnBrk="1" latinLnBrk="0" hangingPunct="1">
              <a:lnSpc>
                <a:spcPct val="114000"/>
              </a:lnSpc>
              <a:spcBef>
                <a:spcPts val="800"/>
              </a:spcBef>
              <a:spcAft>
                <a:spcPts val="200"/>
              </a:spcAft>
              <a:buFont typeface="Arial" panose="020B0604020202020204" pitchFamily="34" charset="0"/>
              <a:buNone/>
              <a:defRPr sz="1000" kern="1200">
                <a:solidFill>
                  <a:schemeClr val="accent1"/>
                </a:solidFill>
                <a:latin typeface="+mn-lt"/>
                <a:ea typeface="+mn-ea"/>
                <a:cs typeface="+mn-cs"/>
              </a:defRPr>
            </a:lvl4pPr>
            <a:lvl5pPr marL="1828800" indent="0" algn="l" defTabSz="914400" rtl="0" eaLnBrk="1" latinLnBrk="0" hangingPunct="1">
              <a:lnSpc>
                <a:spcPct val="114000"/>
              </a:lnSpc>
              <a:spcBef>
                <a:spcPts val="800"/>
              </a:spcBef>
              <a:spcAft>
                <a:spcPts val="200"/>
              </a:spcAft>
              <a:buFont typeface="Arial" panose="020B0604020202020204" pitchFamily="34" charset="0"/>
              <a:buNone/>
              <a:defRPr sz="1000" kern="1200">
                <a:solidFill>
                  <a:schemeClr val="accent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179388" lvl="0" indent="-179388">
              <a:buFont typeface="Wingdings" pitchFamily="2" charset="2"/>
              <a:buChar char="v"/>
            </a:pPr>
            <a:r>
              <a:rPr lang="en-US" sz="1600" b="1" dirty="0">
                <a:solidFill>
                  <a:srgbClr val="004785"/>
                </a:solidFill>
                <a:latin typeface="Arial"/>
              </a:rPr>
              <a:t>Scientific Parks</a:t>
            </a:r>
          </a:p>
          <a:p>
            <a:pPr marL="179388" lvl="0" indent="-179388">
              <a:buFont typeface="Wingdings" pitchFamily="2" charset="2"/>
              <a:buChar char="v"/>
            </a:pPr>
            <a:r>
              <a:rPr lang="en-US" sz="1600" b="1" dirty="0">
                <a:solidFill>
                  <a:srgbClr val="004785"/>
                </a:solidFill>
                <a:latin typeface="Arial"/>
              </a:rPr>
              <a:t>Incubators</a:t>
            </a:r>
          </a:p>
          <a:p>
            <a:pPr marL="179388" lvl="0" indent="-179388">
              <a:buFont typeface="Wingdings" pitchFamily="2" charset="2"/>
              <a:buChar char="v"/>
            </a:pPr>
            <a:r>
              <a:rPr lang="en-US" sz="1600" b="1" dirty="0">
                <a:solidFill>
                  <a:srgbClr val="004785"/>
                </a:solidFill>
                <a:latin typeface="Arial"/>
              </a:rPr>
              <a:t>Accelerators</a:t>
            </a:r>
          </a:p>
          <a:p>
            <a:pPr marL="179388" lvl="0" indent="-179388">
              <a:buFont typeface="Wingdings" pitchFamily="2" charset="2"/>
              <a:buChar char="v"/>
            </a:pPr>
            <a:r>
              <a:rPr lang="en-US" sz="1600" b="1" dirty="0">
                <a:solidFill>
                  <a:srgbClr val="004785"/>
                </a:solidFill>
                <a:latin typeface="Arial"/>
              </a:rPr>
              <a:t>Funding Agencies</a:t>
            </a:r>
          </a:p>
        </p:txBody>
      </p:sp>
      <p:pic>
        <p:nvPicPr>
          <p:cNvPr id="27" name="Picture 2" descr="Regional Centre for Information and Scientific Development Lt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8603" y="6214860"/>
            <a:ext cx="2081287" cy="53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1805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 name="Freeform 450"/>
          <p:cNvSpPr>
            <a:spLocks noChangeArrowheads="1"/>
          </p:cNvSpPr>
          <p:nvPr/>
        </p:nvSpPr>
        <p:spPr bwMode="auto">
          <a:xfrm>
            <a:off x="3034263" y="872101"/>
            <a:ext cx="643567" cy="643610"/>
          </a:xfrm>
          <a:custGeom>
            <a:avLst/>
            <a:gdLst>
              <a:gd name="T0" fmla="*/ 1952 w 1953"/>
              <a:gd name="T1" fmla="*/ 976 h 1953"/>
              <a:gd name="T2" fmla="*/ 1952 w 1953"/>
              <a:gd name="T3" fmla="*/ 976 h 1953"/>
              <a:gd name="T4" fmla="*/ 976 w 1953"/>
              <a:gd name="T5" fmla="*/ 0 h 1953"/>
              <a:gd name="T6" fmla="*/ 0 w 1953"/>
              <a:gd name="T7" fmla="*/ 976 h 1953"/>
              <a:gd name="T8" fmla="*/ 976 w 1953"/>
              <a:gd name="T9" fmla="*/ 1952 h 1953"/>
              <a:gd name="T10" fmla="*/ 1952 w 1953"/>
              <a:gd name="T11" fmla="*/ 976 h 1953"/>
            </a:gdLst>
            <a:ahLst/>
            <a:cxnLst>
              <a:cxn ang="0">
                <a:pos x="T0" y="T1"/>
              </a:cxn>
              <a:cxn ang="0">
                <a:pos x="T2" y="T3"/>
              </a:cxn>
              <a:cxn ang="0">
                <a:pos x="T4" y="T5"/>
              </a:cxn>
              <a:cxn ang="0">
                <a:pos x="T6" y="T7"/>
              </a:cxn>
              <a:cxn ang="0">
                <a:pos x="T8" y="T9"/>
              </a:cxn>
              <a:cxn ang="0">
                <a:pos x="T10" y="T11"/>
              </a:cxn>
            </a:cxnLst>
            <a:rect l="0" t="0" r="r" b="b"/>
            <a:pathLst>
              <a:path w="1953" h="1953">
                <a:moveTo>
                  <a:pt x="1952" y="976"/>
                </a:moveTo>
                <a:lnTo>
                  <a:pt x="1952" y="976"/>
                </a:lnTo>
                <a:cubicBezTo>
                  <a:pt x="1952" y="437"/>
                  <a:pt x="1515" y="0"/>
                  <a:pt x="976" y="0"/>
                </a:cubicBezTo>
                <a:cubicBezTo>
                  <a:pt x="437" y="0"/>
                  <a:pt x="0" y="437"/>
                  <a:pt x="0" y="976"/>
                </a:cubicBezTo>
                <a:cubicBezTo>
                  <a:pt x="0" y="1515"/>
                  <a:pt x="437" y="1952"/>
                  <a:pt x="976" y="1952"/>
                </a:cubicBezTo>
                <a:cubicBezTo>
                  <a:pt x="1515" y="1952"/>
                  <a:pt x="1952" y="1515"/>
                  <a:pt x="1952" y="976"/>
                </a:cubicBezTo>
              </a:path>
            </a:pathLst>
          </a:custGeom>
          <a:solidFill>
            <a:srgbClr val="00B050"/>
          </a:solidFill>
          <a:ln>
            <a:noFill/>
          </a:ln>
          <a:effectLst/>
        </p:spPr>
        <p:txBody>
          <a:bodyPr wrap="none" lIns="68580" tIns="34290" rIns="68580" bIns="34290" anchor="ctr">
            <a:normAutofit/>
          </a:bodyPr>
          <a:lstStyle/>
          <a:p>
            <a:endParaRPr lang="en-US" sz="2700" b="1" dirty="0">
              <a:latin typeface="Calibri" panose="020F0502020204030204" pitchFamily="34" charset="0"/>
              <a:cs typeface="Calibri" panose="020F0502020204030204" pitchFamily="34" charset="0"/>
            </a:endParaRPr>
          </a:p>
        </p:txBody>
      </p:sp>
      <p:sp>
        <p:nvSpPr>
          <p:cNvPr id="190" name="Freeform 454"/>
          <p:cNvSpPr>
            <a:spLocks noChangeArrowheads="1"/>
          </p:cNvSpPr>
          <p:nvPr/>
        </p:nvSpPr>
        <p:spPr bwMode="auto">
          <a:xfrm>
            <a:off x="1018023" y="2648906"/>
            <a:ext cx="643567" cy="643609"/>
          </a:xfrm>
          <a:custGeom>
            <a:avLst/>
            <a:gdLst>
              <a:gd name="T0" fmla="*/ 1952 w 1953"/>
              <a:gd name="T1" fmla="*/ 976 h 1952"/>
              <a:gd name="T2" fmla="*/ 1952 w 1953"/>
              <a:gd name="T3" fmla="*/ 976 h 1952"/>
              <a:gd name="T4" fmla="*/ 976 w 1953"/>
              <a:gd name="T5" fmla="*/ 0 h 1952"/>
              <a:gd name="T6" fmla="*/ 0 w 1953"/>
              <a:gd name="T7" fmla="*/ 976 h 1952"/>
              <a:gd name="T8" fmla="*/ 976 w 1953"/>
              <a:gd name="T9" fmla="*/ 1951 h 1952"/>
              <a:gd name="T10" fmla="*/ 1952 w 1953"/>
              <a:gd name="T11" fmla="*/ 976 h 1952"/>
            </a:gdLst>
            <a:ahLst/>
            <a:cxnLst>
              <a:cxn ang="0">
                <a:pos x="T0" y="T1"/>
              </a:cxn>
              <a:cxn ang="0">
                <a:pos x="T2" y="T3"/>
              </a:cxn>
              <a:cxn ang="0">
                <a:pos x="T4" y="T5"/>
              </a:cxn>
              <a:cxn ang="0">
                <a:pos x="T6" y="T7"/>
              </a:cxn>
              <a:cxn ang="0">
                <a:pos x="T8" y="T9"/>
              </a:cxn>
              <a:cxn ang="0">
                <a:pos x="T10" y="T11"/>
              </a:cxn>
            </a:cxnLst>
            <a:rect l="0" t="0" r="r" b="b"/>
            <a:pathLst>
              <a:path w="1953" h="1952">
                <a:moveTo>
                  <a:pt x="1952" y="976"/>
                </a:moveTo>
                <a:lnTo>
                  <a:pt x="1952" y="976"/>
                </a:lnTo>
                <a:cubicBezTo>
                  <a:pt x="1952" y="437"/>
                  <a:pt x="1515" y="0"/>
                  <a:pt x="976" y="0"/>
                </a:cubicBezTo>
                <a:cubicBezTo>
                  <a:pt x="437" y="0"/>
                  <a:pt x="0" y="437"/>
                  <a:pt x="0" y="976"/>
                </a:cubicBezTo>
                <a:cubicBezTo>
                  <a:pt x="0" y="1515"/>
                  <a:pt x="437" y="1951"/>
                  <a:pt x="976" y="1951"/>
                </a:cubicBezTo>
                <a:cubicBezTo>
                  <a:pt x="1515" y="1951"/>
                  <a:pt x="1952" y="1515"/>
                  <a:pt x="1952" y="976"/>
                </a:cubicBezTo>
              </a:path>
            </a:pathLst>
          </a:custGeom>
          <a:solidFill>
            <a:srgbClr val="00B050"/>
          </a:solidFill>
          <a:ln>
            <a:noFill/>
          </a:ln>
          <a:effectLst/>
        </p:spPr>
        <p:txBody>
          <a:bodyPr wrap="none" lIns="68580" tIns="34290" rIns="68580" bIns="34290" anchor="ctr">
            <a:normAutofit/>
          </a:bodyPr>
          <a:lstStyle/>
          <a:p>
            <a:endParaRPr lang="en-US" sz="2700">
              <a:latin typeface="Calibri" panose="020F0502020204030204" pitchFamily="34" charset="0"/>
              <a:cs typeface="Calibri" panose="020F0502020204030204" pitchFamily="34" charset="0"/>
            </a:endParaRPr>
          </a:p>
        </p:txBody>
      </p:sp>
      <p:sp>
        <p:nvSpPr>
          <p:cNvPr id="191" name="Freeform 456"/>
          <p:cNvSpPr>
            <a:spLocks noChangeArrowheads="1"/>
          </p:cNvSpPr>
          <p:nvPr/>
        </p:nvSpPr>
        <p:spPr bwMode="auto">
          <a:xfrm>
            <a:off x="1008245" y="4348546"/>
            <a:ext cx="643567" cy="642156"/>
          </a:xfrm>
          <a:custGeom>
            <a:avLst/>
            <a:gdLst>
              <a:gd name="T0" fmla="*/ 1952 w 1953"/>
              <a:gd name="T1" fmla="*/ 970 h 1947"/>
              <a:gd name="T2" fmla="*/ 1952 w 1953"/>
              <a:gd name="T3" fmla="*/ 970 h 1947"/>
              <a:gd name="T4" fmla="*/ 976 w 1953"/>
              <a:gd name="T5" fmla="*/ 0 h 1947"/>
              <a:gd name="T6" fmla="*/ 0 w 1953"/>
              <a:gd name="T7" fmla="*/ 970 h 1947"/>
              <a:gd name="T8" fmla="*/ 976 w 1953"/>
              <a:gd name="T9" fmla="*/ 1946 h 1947"/>
              <a:gd name="T10" fmla="*/ 1952 w 1953"/>
              <a:gd name="T11" fmla="*/ 970 h 1947"/>
            </a:gdLst>
            <a:ahLst/>
            <a:cxnLst>
              <a:cxn ang="0">
                <a:pos x="T0" y="T1"/>
              </a:cxn>
              <a:cxn ang="0">
                <a:pos x="T2" y="T3"/>
              </a:cxn>
              <a:cxn ang="0">
                <a:pos x="T4" y="T5"/>
              </a:cxn>
              <a:cxn ang="0">
                <a:pos x="T6" y="T7"/>
              </a:cxn>
              <a:cxn ang="0">
                <a:pos x="T8" y="T9"/>
              </a:cxn>
              <a:cxn ang="0">
                <a:pos x="T10" y="T11"/>
              </a:cxn>
            </a:cxnLst>
            <a:rect l="0" t="0" r="r" b="b"/>
            <a:pathLst>
              <a:path w="1953" h="1947">
                <a:moveTo>
                  <a:pt x="1952" y="970"/>
                </a:moveTo>
                <a:lnTo>
                  <a:pt x="1952" y="970"/>
                </a:lnTo>
                <a:cubicBezTo>
                  <a:pt x="1952" y="436"/>
                  <a:pt x="1515" y="0"/>
                  <a:pt x="976" y="0"/>
                </a:cubicBezTo>
                <a:cubicBezTo>
                  <a:pt x="437" y="0"/>
                  <a:pt x="0" y="436"/>
                  <a:pt x="0" y="970"/>
                </a:cubicBezTo>
                <a:cubicBezTo>
                  <a:pt x="0" y="1509"/>
                  <a:pt x="437" y="1946"/>
                  <a:pt x="976" y="1946"/>
                </a:cubicBezTo>
                <a:cubicBezTo>
                  <a:pt x="1515" y="1946"/>
                  <a:pt x="1952" y="1509"/>
                  <a:pt x="1952" y="970"/>
                </a:cubicBezTo>
              </a:path>
            </a:pathLst>
          </a:custGeom>
          <a:solidFill>
            <a:srgbClr val="00B050"/>
          </a:solidFill>
          <a:ln>
            <a:noFill/>
          </a:ln>
          <a:effectLst/>
        </p:spPr>
        <p:txBody>
          <a:bodyPr wrap="none" lIns="68580" tIns="34290" rIns="68580" bIns="34290" anchor="ctr">
            <a:normAutofit/>
          </a:bodyPr>
          <a:lstStyle/>
          <a:p>
            <a:endParaRPr lang="en-US" sz="2700">
              <a:latin typeface="Calibri" panose="020F0502020204030204" pitchFamily="34" charset="0"/>
              <a:cs typeface="Calibri" panose="020F0502020204030204" pitchFamily="34" charset="0"/>
            </a:endParaRPr>
          </a:p>
        </p:txBody>
      </p:sp>
      <p:sp>
        <p:nvSpPr>
          <p:cNvPr id="192" name="Freeform 450"/>
          <p:cNvSpPr>
            <a:spLocks noChangeArrowheads="1"/>
          </p:cNvSpPr>
          <p:nvPr/>
        </p:nvSpPr>
        <p:spPr bwMode="auto">
          <a:xfrm>
            <a:off x="5753718" y="863911"/>
            <a:ext cx="643567" cy="643610"/>
          </a:xfrm>
          <a:custGeom>
            <a:avLst/>
            <a:gdLst>
              <a:gd name="T0" fmla="*/ 1952 w 1953"/>
              <a:gd name="T1" fmla="*/ 976 h 1953"/>
              <a:gd name="T2" fmla="*/ 1952 w 1953"/>
              <a:gd name="T3" fmla="*/ 976 h 1953"/>
              <a:gd name="T4" fmla="*/ 976 w 1953"/>
              <a:gd name="T5" fmla="*/ 0 h 1953"/>
              <a:gd name="T6" fmla="*/ 0 w 1953"/>
              <a:gd name="T7" fmla="*/ 976 h 1953"/>
              <a:gd name="T8" fmla="*/ 976 w 1953"/>
              <a:gd name="T9" fmla="*/ 1952 h 1953"/>
              <a:gd name="T10" fmla="*/ 1952 w 1953"/>
              <a:gd name="T11" fmla="*/ 976 h 1953"/>
            </a:gdLst>
            <a:ahLst/>
            <a:cxnLst>
              <a:cxn ang="0">
                <a:pos x="T0" y="T1"/>
              </a:cxn>
              <a:cxn ang="0">
                <a:pos x="T2" y="T3"/>
              </a:cxn>
              <a:cxn ang="0">
                <a:pos x="T4" y="T5"/>
              </a:cxn>
              <a:cxn ang="0">
                <a:pos x="T6" y="T7"/>
              </a:cxn>
              <a:cxn ang="0">
                <a:pos x="T8" y="T9"/>
              </a:cxn>
              <a:cxn ang="0">
                <a:pos x="T10" y="T11"/>
              </a:cxn>
            </a:cxnLst>
            <a:rect l="0" t="0" r="r" b="b"/>
            <a:pathLst>
              <a:path w="1953" h="1953">
                <a:moveTo>
                  <a:pt x="1952" y="976"/>
                </a:moveTo>
                <a:lnTo>
                  <a:pt x="1952" y="976"/>
                </a:lnTo>
                <a:cubicBezTo>
                  <a:pt x="1952" y="437"/>
                  <a:pt x="1515" y="0"/>
                  <a:pt x="976" y="0"/>
                </a:cubicBezTo>
                <a:cubicBezTo>
                  <a:pt x="437" y="0"/>
                  <a:pt x="0" y="437"/>
                  <a:pt x="0" y="976"/>
                </a:cubicBezTo>
                <a:cubicBezTo>
                  <a:pt x="0" y="1515"/>
                  <a:pt x="437" y="1952"/>
                  <a:pt x="976" y="1952"/>
                </a:cubicBezTo>
                <a:cubicBezTo>
                  <a:pt x="1515" y="1952"/>
                  <a:pt x="1952" y="1515"/>
                  <a:pt x="1952" y="976"/>
                </a:cubicBezTo>
              </a:path>
            </a:pathLst>
          </a:custGeom>
          <a:solidFill>
            <a:srgbClr val="00B050"/>
          </a:solidFill>
          <a:ln>
            <a:noFill/>
          </a:ln>
          <a:effectLst/>
        </p:spPr>
        <p:txBody>
          <a:bodyPr wrap="none" lIns="68580" tIns="34290" rIns="68580" bIns="34290" anchor="ctr">
            <a:normAutofit/>
          </a:bodyPr>
          <a:lstStyle/>
          <a:p>
            <a:endParaRPr lang="en-US" sz="2700">
              <a:latin typeface="Calibri" panose="020F0502020204030204" pitchFamily="34" charset="0"/>
              <a:cs typeface="Calibri" panose="020F0502020204030204" pitchFamily="34" charset="0"/>
            </a:endParaRPr>
          </a:p>
        </p:txBody>
      </p:sp>
      <p:sp>
        <p:nvSpPr>
          <p:cNvPr id="193" name="TextBox 62"/>
          <p:cNvSpPr txBox="1"/>
          <p:nvPr/>
        </p:nvSpPr>
        <p:spPr>
          <a:xfrm>
            <a:off x="3087983" y="965530"/>
            <a:ext cx="534225" cy="415471"/>
          </a:xfrm>
          <a:prstGeom prst="rect">
            <a:avLst/>
          </a:prstGeom>
          <a:noFill/>
        </p:spPr>
        <p:txBody>
          <a:bodyPr wrap="none" lIns="137132" tIns="68567" rIns="137132" bIns="68567" rtlCol="0">
            <a:noAutofit/>
          </a:bodyPr>
          <a:lstStyle/>
          <a:p>
            <a:pPr algn="ctr"/>
            <a:r>
              <a:rPr lang="en-US" sz="2400" b="1" dirty="0">
                <a:solidFill>
                  <a:schemeClr val="bg1"/>
                </a:solidFill>
                <a:latin typeface="Calibri" panose="020F0502020204030204" pitchFamily="34" charset="0"/>
                <a:cs typeface="Calibri" panose="020F0502020204030204" pitchFamily="34" charset="0"/>
              </a:rPr>
              <a:t>1</a:t>
            </a:r>
            <a:endParaRPr lang="id-ID" sz="2400" b="1" dirty="0">
              <a:solidFill>
                <a:schemeClr val="bg1"/>
              </a:solidFill>
              <a:latin typeface="Calibri" panose="020F0502020204030204" pitchFamily="34" charset="0"/>
              <a:cs typeface="Calibri" panose="020F0502020204030204" pitchFamily="34" charset="0"/>
            </a:endParaRPr>
          </a:p>
        </p:txBody>
      </p:sp>
      <p:sp>
        <p:nvSpPr>
          <p:cNvPr id="194" name="TextBox 63"/>
          <p:cNvSpPr txBox="1"/>
          <p:nvPr/>
        </p:nvSpPr>
        <p:spPr>
          <a:xfrm>
            <a:off x="1064648" y="2719789"/>
            <a:ext cx="534225" cy="415471"/>
          </a:xfrm>
          <a:prstGeom prst="rect">
            <a:avLst/>
          </a:prstGeom>
          <a:noFill/>
        </p:spPr>
        <p:txBody>
          <a:bodyPr wrap="none" lIns="137132" tIns="68567" rIns="137132" bIns="68567" rtlCol="0">
            <a:noAutofit/>
          </a:bodyPr>
          <a:lstStyle/>
          <a:p>
            <a:pPr algn="ctr"/>
            <a:r>
              <a:rPr lang="en-US" sz="2400" b="1" dirty="0">
                <a:solidFill>
                  <a:schemeClr val="bg1"/>
                </a:solidFill>
                <a:latin typeface="Calibri" panose="020F0502020204030204" pitchFamily="34" charset="0"/>
                <a:cs typeface="Calibri" panose="020F0502020204030204" pitchFamily="34" charset="0"/>
              </a:rPr>
              <a:t>2</a:t>
            </a:r>
            <a:endParaRPr lang="id-ID" sz="2400" b="1" dirty="0">
              <a:solidFill>
                <a:schemeClr val="bg1"/>
              </a:solidFill>
              <a:latin typeface="Calibri" panose="020F0502020204030204" pitchFamily="34" charset="0"/>
              <a:cs typeface="Calibri" panose="020F0502020204030204" pitchFamily="34" charset="0"/>
            </a:endParaRPr>
          </a:p>
        </p:txBody>
      </p:sp>
      <p:sp>
        <p:nvSpPr>
          <p:cNvPr id="195" name="TextBox 64"/>
          <p:cNvSpPr txBox="1"/>
          <p:nvPr/>
        </p:nvSpPr>
        <p:spPr>
          <a:xfrm>
            <a:off x="1058141" y="4422239"/>
            <a:ext cx="534225" cy="415471"/>
          </a:xfrm>
          <a:prstGeom prst="rect">
            <a:avLst/>
          </a:prstGeom>
          <a:noFill/>
        </p:spPr>
        <p:txBody>
          <a:bodyPr wrap="none" lIns="137132" tIns="68567" rIns="137132" bIns="68567" rtlCol="0">
            <a:noAutofit/>
          </a:bodyPr>
          <a:lstStyle/>
          <a:p>
            <a:pPr algn="ctr"/>
            <a:r>
              <a:rPr lang="en-US" sz="2400" b="1" dirty="0">
                <a:solidFill>
                  <a:schemeClr val="bg1"/>
                </a:solidFill>
                <a:latin typeface="Calibri" panose="020F0502020204030204" pitchFamily="34" charset="0"/>
                <a:cs typeface="Calibri" panose="020F0502020204030204" pitchFamily="34" charset="0"/>
              </a:rPr>
              <a:t>3</a:t>
            </a:r>
            <a:endParaRPr lang="id-ID" sz="2400" b="1" dirty="0">
              <a:solidFill>
                <a:schemeClr val="bg1"/>
              </a:solidFill>
              <a:latin typeface="Calibri" panose="020F0502020204030204" pitchFamily="34" charset="0"/>
              <a:cs typeface="Calibri" panose="020F0502020204030204" pitchFamily="34" charset="0"/>
            </a:endParaRPr>
          </a:p>
        </p:txBody>
      </p:sp>
      <p:sp>
        <p:nvSpPr>
          <p:cNvPr id="196" name="TextBox 65"/>
          <p:cNvSpPr txBox="1"/>
          <p:nvPr/>
        </p:nvSpPr>
        <p:spPr>
          <a:xfrm>
            <a:off x="5806187" y="932207"/>
            <a:ext cx="534225" cy="415471"/>
          </a:xfrm>
          <a:prstGeom prst="rect">
            <a:avLst/>
          </a:prstGeom>
          <a:noFill/>
        </p:spPr>
        <p:txBody>
          <a:bodyPr wrap="none" lIns="137132" tIns="68567" rIns="137132" bIns="68567" rtlCol="0">
            <a:noAutofit/>
          </a:bodyPr>
          <a:lstStyle/>
          <a:p>
            <a:pPr algn="ctr"/>
            <a:r>
              <a:rPr lang="de-DE" sz="2400" b="1" dirty="0">
                <a:solidFill>
                  <a:schemeClr val="bg1"/>
                </a:solidFill>
                <a:latin typeface="Calibri" panose="020F0502020204030204" pitchFamily="34" charset="0"/>
                <a:cs typeface="Calibri" panose="020F0502020204030204" pitchFamily="34" charset="0"/>
              </a:rPr>
              <a:t>6</a:t>
            </a:r>
            <a:endParaRPr lang="id-ID" sz="2400" b="1" dirty="0">
              <a:solidFill>
                <a:schemeClr val="bg1"/>
              </a:solidFill>
              <a:latin typeface="Calibri" panose="020F0502020204030204" pitchFamily="34" charset="0"/>
              <a:cs typeface="Calibri" panose="020F0502020204030204" pitchFamily="34" charset="0"/>
            </a:endParaRPr>
          </a:p>
        </p:txBody>
      </p:sp>
      <p:sp>
        <p:nvSpPr>
          <p:cNvPr id="197" name="TextBox 68"/>
          <p:cNvSpPr txBox="1"/>
          <p:nvPr/>
        </p:nvSpPr>
        <p:spPr>
          <a:xfrm>
            <a:off x="1066730" y="1278980"/>
            <a:ext cx="2079594" cy="240911"/>
          </a:xfrm>
          <a:prstGeom prst="rect">
            <a:avLst/>
          </a:prstGeom>
          <a:noFill/>
        </p:spPr>
        <p:txBody>
          <a:bodyPr wrap="square" lIns="68580" tIns="34290" rIns="68580" bIns="34290" rtlCol="0">
            <a:noAutofit/>
          </a:bodyPr>
          <a:lstStyle/>
          <a:p>
            <a:r>
              <a:rPr lang="en-GB" sz="1600" b="1" cap="small" dirty="0">
                <a:solidFill>
                  <a:schemeClr val="accent1">
                    <a:lumMod val="75000"/>
                  </a:schemeClr>
                </a:solidFill>
                <a:latin typeface="Calibri" panose="020F0502020204030204" pitchFamily="34" charset="0"/>
                <a:cs typeface="Calibri" panose="020F0502020204030204" pitchFamily="34" charset="0"/>
              </a:rPr>
              <a:t>GET INFORMED!</a:t>
            </a:r>
          </a:p>
        </p:txBody>
      </p:sp>
      <p:sp>
        <p:nvSpPr>
          <p:cNvPr id="198" name="TextBox 69"/>
          <p:cNvSpPr txBox="1"/>
          <p:nvPr/>
        </p:nvSpPr>
        <p:spPr>
          <a:xfrm>
            <a:off x="1058141" y="1529467"/>
            <a:ext cx="2221235" cy="1268712"/>
          </a:xfrm>
          <a:prstGeom prst="rect">
            <a:avLst/>
          </a:prstGeom>
          <a:noFill/>
        </p:spPr>
        <p:txBody>
          <a:bodyPr wrap="square" lIns="68580" tIns="34290" rIns="68580" bIns="34290" rtlCol="0">
            <a:noAutofit/>
          </a:bodyPr>
          <a:lstStyle/>
          <a:p>
            <a:r>
              <a:rPr lang="en-US" sz="1200" dirty="0">
                <a:solidFill>
                  <a:schemeClr val="accent1">
                    <a:lumMod val="75000"/>
                  </a:schemeClr>
                </a:solidFill>
                <a:latin typeface="Calibri" panose="020F0502020204030204" pitchFamily="34" charset="0"/>
                <a:cs typeface="Calibri" panose="020F0502020204030204" pitchFamily="34" charset="0"/>
              </a:rPr>
              <a:t>Relevant information – available on both a customized and general level – on doing business in Brazil and Europe, market &amp; research studies, and upcoming events &amp; fairs.</a:t>
            </a:r>
          </a:p>
        </p:txBody>
      </p:sp>
      <p:sp>
        <p:nvSpPr>
          <p:cNvPr id="199" name="TextBox 70"/>
          <p:cNvSpPr txBox="1"/>
          <p:nvPr/>
        </p:nvSpPr>
        <p:spPr>
          <a:xfrm>
            <a:off x="2101855" y="3297521"/>
            <a:ext cx="1955597" cy="256351"/>
          </a:xfrm>
          <a:prstGeom prst="rect">
            <a:avLst/>
          </a:prstGeom>
          <a:noFill/>
        </p:spPr>
        <p:txBody>
          <a:bodyPr wrap="square" lIns="68580" tIns="34290" rIns="68580" bIns="34290" rtlCol="0">
            <a:noAutofit/>
          </a:bodyPr>
          <a:lstStyle/>
          <a:p>
            <a:r>
              <a:rPr lang="en-GB" sz="1600" b="1" cap="small" dirty="0">
                <a:solidFill>
                  <a:schemeClr val="accent1">
                    <a:lumMod val="75000"/>
                  </a:schemeClr>
                </a:solidFill>
                <a:latin typeface="Calibri" panose="020F0502020204030204" pitchFamily="34" charset="0"/>
                <a:cs typeface="Calibri" panose="020F0502020204030204" pitchFamily="34" charset="0"/>
              </a:rPr>
              <a:t>GET CONNECTED!</a:t>
            </a:r>
          </a:p>
        </p:txBody>
      </p:sp>
      <p:sp>
        <p:nvSpPr>
          <p:cNvPr id="200" name="TextBox 71"/>
          <p:cNvSpPr txBox="1"/>
          <p:nvPr/>
        </p:nvSpPr>
        <p:spPr>
          <a:xfrm>
            <a:off x="2114555" y="3553872"/>
            <a:ext cx="2563207" cy="1143983"/>
          </a:xfrm>
          <a:prstGeom prst="rect">
            <a:avLst/>
          </a:prstGeom>
          <a:noFill/>
        </p:spPr>
        <p:txBody>
          <a:bodyPr wrap="square" lIns="68580" tIns="34290" rIns="68580" bIns="34290" rtlCol="0">
            <a:noAutofit/>
          </a:bodyPr>
          <a:lstStyle/>
          <a:p>
            <a:r>
              <a:rPr lang="en-US" sz="1200" dirty="0">
                <a:solidFill>
                  <a:schemeClr val="accent1">
                    <a:lumMod val="75000"/>
                  </a:schemeClr>
                </a:solidFill>
                <a:latin typeface="Calibri" panose="020F0502020204030204" pitchFamily="34" charset="0"/>
                <a:cs typeface="Calibri" panose="020F0502020204030204" pitchFamily="34" charset="0"/>
              </a:rPr>
              <a:t>Find new, reliable contacts from within ENRICH’s extensive network, connecting to new partners and forming collaboration links.</a:t>
            </a:r>
          </a:p>
        </p:txBody>
      </p:sp>
      <p:sp>
        <p:nvSpPr>
          <p:cNvPr id="201" name="TextBox 72"/>
          <p:cNvSpPr txBox="1"/>
          <p:nvPr/>
        </p:nvSpPr>
        <p:spPr>
          <a:xfrm>
            <a:off x="2134059" y="4937574"/>
            <a:ext cx="1495425" cy="276999"/>
          </a:xfrm>
          <a:prstGeom prst="rect">
            <a:avLst/>
          </a:prstGeom>
          <a:noFill/>
        </p:spPr>
        <p:txBody>
          <a:bodyPr wrap="square" lIns="68580" tIns="34290" rIns="68580" bIns="34290" rtlCol="0">
            <a:noAutofit/>
          </a:bodyPr>
          <a:lstStyle/>
          <a:p>
            <a:r>
              <a:rPr lang="en-GB" sz="1600" b="1" cap="small" dirty="0">
                <a:solidFill>
                  <a:schemeClr val="accent1">
                    <a:lumMod val="75000"/>
                  </a:schemeClr>
                </a:solidFill>
                <a:latin typeface="Calibri" panose="020F0502020204030204" pitchFamily="34" charset="0"/>
                <a:cs typeface="Calibri" panose="020F0502020204030204" pitchFamily="34" charset="0"/>
              </a:rPr>
              <a:t>GET FUNDED! </a:t>
            </a:r>
          </a:p>
        </p:txBody>
      </p:sp>
      <p:sp>
        <p:nvSpPr>
          <p:cNvPr id="202" name="TextBox 73"/>
          <p:cNvSpPr txBox="1"/>
          <p:nvPr/>
        </p:nvSpPr>
        <p:spPr>
          <a:xfrm>
            <a:off x="2132652" y="5201873"/>
            <a:ext cx="2520651" cy="1240202"/>
          </a:xfrm>
          <a:prstGeom prst="rect">
            <a:avLst/>
          </a:prstGeom>
          <a:noFill/>
        </p:spPr>
        <p:txBody>
          <a:bodyPr wrap="square" lIns="68580" tIns="34290" rIns="68580" bIns="34290" rtlCol="0">
            <a:noAutofit/>
          </a:bodyPr>
          <a:lstStyle/>
          <a:p>
            <a:r>
              <a:rPr lang="en-US" sz="1200" dirty="0">
                <a:solidFill>
                  <a:schemeClr val="accent1">
                    <a:lumMod val="75000"/>
                  </a:schemeClr>
                </a:solidFill>
                <a:latin typeface="Calibri" panose="020F0502020204030204" pitchFamily="34" charset="0"/>
                <a:cs typeface="Calibri" panose="020F0502020204030204" pitchFamily="34" charset="0"/>
              </a:rPr>
              <a:t>Discover the latest funding opportunities, get </a:t>
            </a:r>
            <a:r>
              <a:rPr lang="en-US" sz="1200" dirty="0" err="1">
                <a:solidFill>
                  <a:schemeClr val="accent1">
                    <a:lumMod val="75000"/>
                  </a:schemeClr>
                </a:solidFill>
                <a:latin typeface="Calibri" panose="020F0502020204030204" pitchFamily="34" charset="0"/>
                <a:cs typeface="Calibri" panose="020F0502020204030204" pitchFamily="34" charset="0"/>
              </a:rPr>
              <a:t>specialised</a:t>
            </a:r>
            <a:r>
              <a:rPr lang="en-US" sz="1200" dirty="0">
                <a:solidFill>
                  <a:schemeClr val="accent1">
                    <a:lumMod val="75000"/>
                  </a:schemeClr>
                </a:solidFill>
                <a:latin typeface="Calibri" panose="020F0502020204030204" pitchFamily="34" charset="0"/>
                <a:cs typeface="Calibri" panose="020F0502020204030204" pitchFamily="34" charset="0"/>
              </a:rPr>
              <a:t> information based on customer needs and participate in focused matchmaking innovation events.</a:t>
            </a:r>
          </a:p>
          <a:p>
            <a:r>
              <a:rPr lang="en-US" sz="1200" dirty="0">
                <a:solidFill>
                  <a:schemeClr val="accent1">
                    <a:lumMod val="75000"/>
                  </a:schemeClr>
                </a:solidFill>
                <a:latin typeface="Calibri" panose="020F0502020204030204" pitchFamily="34" charset="0"/>
                <a:cs typeface="Calibri" panose="020F0502020204030204" pitchFamily="34" charset="0"/>
              </a:rPr>
              <a:t> </a:t>
            </a:r>
          </a:p>
        </p:txBody>
      </p:sp>
      <p:sp>
        <p:nvSpPr>
          <p:cNvPr id="203" name="TextBox 74"/>
          <p:cNvSpPr txBox="1"/>
          <p:nvPr/>
        </p:nvSpPr>
        <p:spPr>
          <a:xfrm>
            <a:off x="6289154" y="3402489"/>
            <a:ext cx="2209677" cy="276999"/>
          </a:xfrm>
          <a:prstGeom prst="rect">
            <a:avLst/>
          </a:prstGeom>
          <a:noFill/>
        </p:spPr>
        <p:txBody>
          <a:bodyPr wrap="square" lIns="68580" tIns="34290" rIns="68580" bIns="34290" rtlCol="0">
            <a:noAutofit/>
          </a:bodyPr>
          <a:lstStyle/>
          <a:p>
            <a:r>
              <a:rPr lang="en-GB" sz="1600" b="1" cap="small" dirty="0">
                <a:solidFill>
                  <a:schemeClr val="accent1">
                    <a:lumMod val="75000"/>
                  </a:schemeClr>
                </a:solidFill>
                <a:latin typeface="Calibri" panose="020F0502020204030204" pitchFamily="34" charset="0"/>
                <a:cs typeface="Calibri" panose="020F0502020204030204" pitchFamily="34" charset="0"/>
              </a:rPr>
              <a:t>GET VISIBLE!</a:t>
            </a:r>
          </a:p>
        </p:txBody>
      </p:sp>
      <p:sp>
        <p:nvSpPr>
          <p:cNvPr id="204" name="TextBox 75"/>
          <p:cNvSpPr txBox="1"/>
          <p:nvPr/>
        </p:nvSpPr>
        <p:spPr>
          <a:xfrm>
            <a:off x="6289155" y="3690938"/>
            <a:ext cx="2899295" cy="692498"/>
          </a:xfrm>
          <a:prstGeom prst="rect">
            <a:avLst/>
          </a:prstGeom>
          <a:noFill/>
        </p:spPr>
        <p:txBody>
          <a:bodyPr wrap="square" lIns="68580" tIns="34290" rIns="68580" bIns="34290" rtlCol="0">
            <a:noAutofit/>
          </a:bodyPr>
          <a:lstStyle/>
          <a:p>
            <a:r>
              <a:rPr lang="en-US" sz="1200" dirty="0">
                <a:solidFill>
                  <a:schemeClr val="accent1">
                    <a:lumMod val="75000"/>
                  </a:schemeClr>
                </a:solidFill>
                <a:latin typeface="Calibri" panose="020F0502020204030204" pitchFamily="34" charset="0"/>
                <a:cs typeface="Calibri" panose="020F0502020204030204" pitchFamily="34" charset="0"/>
              </a:rPr>
              <a:t>Consultancy services aimed at raising visibility, supporting users to operate successfully in their chosen markets.</a:t>
            </a:r>
          </a:p>
        </p:txBody>
      </p:sp>
      <p:sp>
        <p:nvSpPr>
          <p:cNvPr id="205" name="TextBox 76"/>
          <p:cNvSpPr txBox="1"/>
          <p:nvPr/>
        </p:nvSpPr>
        <p:spPr>
          <a:xfrm>
            <a:off x="6765166" y="1508895"/>
            <a:ext cx="1495425" cy="276999"/>
          </a:xfrm>
          <a:prstGeom prst="rect">
            <a:avLst/>
          </a:prstGeom>
          <a:noFill/>
        </p:spPr>
        <p:txBody>
          <a:bodyPr wrap="square" lIns="68580" tIns="34290" rIns="68580" bIns="34290" rtlCol="0">
            <a:noAutofit/>
          </a:bodyPr>
          <a:lstStyle/>
          <a:p>
            <a:r>
              <a:rPr lang="en-GB" sz="1600" b="1" cap="small" dirty="0">
                <a:solidFill>
                  <a:schemeClr val="accent1">
                    <a:lumMod val="75000"/>
                  </a:schemeClr>
                </a:solidFill>
                <a:latin typeface="Calibri" panose="020F0502020204030204" pitchFamily="34" charset="0"/>
                <a:cs typeface="Calibri" panose="020F0502020204030204" pitchFamily="34" charset="0"/>
              </a:rPr>
              <a:t>GET ADVICE!</a:t>
            </a:r>
          </a:p>
        </p:txBody>
      </p:sp>
      <p:sp>
        <p:nvSpPr>
          <p:cNvPr id="206" name="TextBox 77"/>
          <p:cNvSpPr txBox="1"/>
          <p:nvPr/>
        </p:nvSpPr>
        <p:spPr>
          <a:xfrm>
            <a:off x="6761355" y="1791175"/>
            <a:ext cx="2194043" cy="484748"/>
          </a:xfrm>
          <a:prstGeom prst="rect">
            <a:avLst/>
          </a:prstGeom>
          <a:noFill/>
        </p:spPr>
        <p:txBody>
          <a:bodyPr wrap="square" lIns="68580" tIns="34290" rIns="68580" bIns="34290" rtlCol="0">
            <a:noAutofit/>
          </a:bodyPr>
          <a:lstStyle/>
          <a:p>
            <a:r>
              <a:rPr lang="en-US" sz="1200" dirty="0">
                <a:solidFill>
                  <a:schemeClr val="accent1">
                    <a:lumMod val="75000"/>
                  </a:schemeClr>
                </a:solidFill>
                <a:latin typeface="Calibri" panose="020F0502020204030204" pitchFamily="34" charset="0"/>
                <a:cs typeface="Calibri" panose="020F0502020204030204" pitchFamily="34" charset="0"/>
              </a:rPr>
              <a:t>Customized and top-shelf legal advice from experts on all relevant topics regarding the Brazilian &amp; European markets and their challenges.</a:t>
            </a:r>
          </a:p>
        </p:txBody>
      </p:sp>
      <p:sp>
        <p:nvSpPr>
          <p:cNvPr id="207" name="Freeform 17"/>
          <p:cNvSpPr>
            <a:spLocks noChangeArrowheads="1"/>
          </p:cNvSpPr>
          <p:nvPr/>
        </p:nvSpPr>
        <p:spPr bwMode="auto">
          <a:xfrm>
            <a:off x="4598235" y="2385089"/>
            <a:ext cx="192456" cy="192447"/>
          </a:xfrm>
          <a:custGeom>
            <a:avLst/>
            <a:gdLst>
              <a:gd name="G0" fmla="+- 1 0 0"/>
              <a:gd name="G1" fmla="+- 1 0 0"/>
              <a:gd name="G2" fmla="+- 1 0 0"/>
              <a:gd name="G3" fmla="+- 1 0 0"/>
              <a:gd name="G4" fmla="*/ 1 0 0"/>
              <a:gd name="T0" fmla="*/ 534 256 1"/>
              <a:gd name="T1" fmla="*/ 0 256 1"/>
              <a:gd name="G5" fmla="+- 0 T0 T1"/>
              <a:gd name="G6" fmla="cos G4 G5"/>
              <a:gd name="G7" fmla="+- 1 0 0"/>
              <a:gd name="G8" fmla="+- 415 0 0"/>
              <a:gd name="G9" fmla="+- 268 0 0"/>
              <a:gd name="G10" fmla="+- 121 0 0"/>
              <a:gd name="G11" fmla="+- 1 0 0"/>
              <a:gd name="G12" fmla="*/ 1 0 0"/>
              <a:gd name="G13" fmla="*/ 1 0 0"/>
              <a:gd name="G14" fmla="cos G12 G13"/>
              <a:gd name="G15" fmla="+- 1 0 0"/>
              <a:gd name="G16" fmla="+- 1 0 0"/>
              <a:gd name="G17" fmla="+- 1 0 0"/>
              <a:gd name="T2" fmla="*/ 191729 w 535"/>
              <a:gd name="T3" fmla="*/ 96224 h 535"/>
              <a:gd name="T4" fmla="*/ 191729 w 535"/>
              <a:gd name="T5" fmla="*/ 96224 h 535"/>
              <a:gd name="T6" fmla="*/ 95505 w 535"/>
              <a:gd name="T7" fmla="*/ 191729 h 535"/>
              <a:gd name="T8" fmla="*/ 0 w 535"/>
              <a:gd name="T9" fmla="*/ 96224 h 535"/>
              <a:gd name="T10" fmla="*/ 95505 w 535"/>
              <a:gd name="T11" fmla="*/ 0 h 535"/>
              <a:gd name="T12" fmla="*/ 191729 w 535"/>
              <a:gd name="T13" fmla="*/ 96224 h 535"/>
            </a:gdLst>
            <a:ahLst/>
            <a:cxnLst>
              <a:cxn ang="0">
                <a:pos x="T2" y="T3"/>
              </a:cxn>
              <a:cxn ang="0">
                <a:pos x="T4" y="T5"/>
              </a:cxn>
              <a:cxn ang="0">
                <a:pos x="T6" y="T7"/>
              </a:cxn>
              <a:cxn ang="0">
                <a:pos x="T8" y="T9"/>
              </a:cxn>
              <a:cxn ang="0">
                <a:pos x="T10" y="T11"/>
              </a:cxn>
              <a:cxn ang="0">
                <a:pos x="T12" y="T13"/>
              </a:cxn>
            </a:cxnLst>
            <a:rect l="0" t="0" r="r" b="b"/>
            <a:pathLst>
              <a:path w="535" h="535">
                <a:moveTo>
                  <a:pt x="534" y="268"/>
                </a:moveTo>
                <a:lnTo>
                  <a:pt x="534" y="268"/>
                </a:lnTo>
                <a:cubicBezTo>
                  <a:pt x="534" y="415"/>
                  <a:pt x="412" y="534"/>
                  <a:pt x="266" y="534"/>
                </a:cubicBezTo>
                <a:cubicBezTo>
                  <a:pt x="119" y="534"/>
                  <a:pt x="0" y="415"/>
                  <a:pt x="0" y="268"/>
                </a:cubicBezTo>
                <a:cubicBezTo>
                  <a:pt x="0" y="121"/>
                  <a:pt x="119" y="0"/>
                  <a:pt x="266" y="0"/>
                </a:cubicBezTo>
                <a:cubicBezTo>
                  <a:pt x="412" y="0"/>
                  <a:pt x="534" y="121"/>
                  <a:pt x="534" y="268"/>
                </a:cubicBezTo>
              </a:path>
            </a:pathLst>
          </a:custGeom>
          <a:solidFill>
            <a:schemeClr val="accent1">
              <a:lumMod val="75000"/>
            </a:schemeClr>
          </a:solidFill>
          <a:ln>
            <a:noFill/>
          </a:ln>
          <a:effectLst/>
        </p:spPr>
        <p:txBody>
          <a:bodyPr wrap="none" lIns="182817" tIns="91409" rIns="182817" bIns="91409" anchor="ctr">
            <a:normAutofit fontScale="25000" lnSpcReduction="20000"/>
          </a:bodyPr>
          <a:lstStyle/>
          <a:p>
            <a:endParaRPr lang="en-US">
              <a:latin typeface="Calibri" panose="020F0502020204030204" pitchFamily="34" charset="0"/>
              <a:cs typeface="Calibri" panose="020F0502020204030204" pitchFamily="34" charset="0"/>
            </a:endParaRPr>
          </a:p>
        </p:txBody>
      </p:sp>
      <p:cxnSp>
        <p:nvCxnSpPr>
          <p:cNvPr id="208" name="Straight Connector 81"/>
          <p:cNvCxnSpPr>
            <a:endCxn id="189" idx="3"/>
          </p:cNvCxnSpPr>
          <p:nvPr/>
        </p:nvCxnSpPr>
        <p:spPr>
          <a:xfrm>
            <a:off x="1018023" y="1190681"/>
            <a:ext cx="2016239" cy="3059"/>
          </a:xfrm>
          <a:prstGeom prst="line">
            <a:avLst/>
          </a:prstGeom>
          <a:ln w="22225">
            <a:solidFill>
              <a:schemeClr val="accent4"/>
            </a:solidFill>
            <a:prstDash val="dash"/>
            <a:headEnd type="oval" w="lg" len="lg"/>
          </a:ln>
        </p:spPr>
        <p:style>
          <a:lnRef idx="1">
            <a:schemeClr val="accent1"/>
          </a:lnRef>
          <a:fillRef idx="0">
            <a:schemeClr val="accent1"/>
          </a:fillRef>
          <a:effectRef idx="0">
            <a:schemeClr val="accent1"/>
          </a:effectRef>
          <a:fontRef idx="minor">
            <a:schemeClr val="tx1"/>
          </a:fontRef>
        </p:style>
      </p:cxnSp>
      <p:cxnSp>
        <p:nvCxnSpPr>
          <p:cNvPr id="209" name="Straight Connector 82"/>
          <p:cNvCxnSpPr>
            <a:stCxn id="189" idx="4"/>
          </p:cNvCxnSpPr>
          <p:nvPr/>
        </p:nvCxnSpPr>
        <p:spPr>
          <a:xfrm>
            <a:off x="3355881" y="1515380"/>
            <a:ext cx="12102" cy="1453024"/>
          </a:xfrm>
          <a:prstGeom prst="line">
            <a:avLst/>
          </a:prstGeom>
          <a:ln w="2222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83"/>
          <p:cNvCxnSpPr>
            <a:stCxn id="190" idx="0"/>
          </p:cNvCxnSpPr>
          <p:nvPr/>
        </p:nvCxnSpPr>
        <p:spPr>
          <a:xfrm>
            <a:off x="1661261" y="2970711"/>
            <a:ext cx="1706722" cy="2840"/>
          </a:xfrm>
          <a:prstGeom prst="line">
            <a:avLst/>
          </a:prstGeom>
          <a:ln w="2222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84"/>
          <p:cNvCxnSpPr>
            <a:stCxn id="190" idx="4"/>
            <a:endCxn id="191" idx="2"/>
          </p:cNvCxnSpPr>
          <p:nvPr/>
        </p:nvCxnSpPr>
        <p:spPr>
          <a:xfrm flipH="1">
            <a:off x="1329863" y="3292185"/>
            <a:ext cx="9779" cy="1056362"/>
          </a:xfrm>
          <a:prstGeom prst="line">
            <a:avLst/>
          </a:prstGeom>
          <a:ln w="2222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91"/>
          <p:cNvCxnSpPr>
            <a:stCxn id="191" idx="0"/>
          </p:cNvCxnSpPr>
          <p:nvPr/>
        </p:nvCxnSpPr>
        <p:spPr>
          <a:xfrm flipV="1">
            <a:off x="1651482" y="4662626"/>
            <a:ext cx="2292825" cy="5844"/>
          </a:xfrm>
          <a:prstGeom prst="line">
            <a:avLst/>
          </a:prstGeom>
          <a:ln w="2222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97"/>
          <p:cNvCxnSpPr/>
          <p:nvPr/>
        </p:nvCxnSpPr>
        <p:spPr>
          <a:xfrm>
            <a:off x="9188449" y="2956880"/>
            <a:ext cx="402" cy="1977180"/>
          </a:xfrm>
          <a:prstGeom prst="line">
            <a:avLst/>
          </a:prstGeom>
          <a:ln w="2222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99"/>
          <p:cNvCxnSpPr/>
          <p:nvPr/>
        </p:nvCxnSpPr>
        <p:spPr>
          <a:xfrm flipV="1">
            <a:off x="3942541" y="4934061"/>
            <a:ext cx="5246311" cy="1"/>
          </a:xfrm>
          <a:prstGeom prst="line">
            <a:avLst/>
          </a:prstGeom>
          <a:ln w="2222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15" name="Straight Connector 100"/>
          <p:cNvCxnSpPr/>
          <p:nvPr/>
        </p:nvCxnSpPr>
        <p:spPr>
          <a:xfrm flipH="1">
            <a:off x="3942539" y="4662628"/>
            <a:ext cx="1768" cy="271433"/>
          </a:xfrm>
          <a:prstGeom prst="line">
            <a:avLst/>
          </a:prstGeom>
          <a:ln w="2222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16" name="Straight Connector 117"/>
          <p:cNvCxnSpPr>
            <a:endCxn id="192" idx="4"/>
          </p:cNvCxnSpPr>
          <p:nvPr/>
        </p:nvCxnSpPr>
        <p:spPr>
          <a:xfrm flipH="1" flipV="1">
            <a:off x="6075336" y="1507192"/>
            <a:ext cx="11367" cy="1449689"/>
          </a:xfrm>
          <a:prstGeom prst="line">
            <a:avLst/>
          </a:prstGeom>
          <a:ln w="22225">
            <a:solidFill>
              <a:schemeClr val="accent4"/>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217" name="Straight Connector 118"/>
          <p:cNvCxnSpPr/>
          <p:nvPr/>
        </p:nvCxnSpPr>
        <p:spPr>
          <a:xfrm flipV="1">
            <a:off x="6087921" y="2956880"/>
            <a:ext cx="3100529" cy="11524"/>
          </a:xfrm>
          <a:prstGeom prst="line">
            <a:avLst/>
          </a:prstGeom>
          <a:ln w="22225">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18" name="Freeform: Shape 418"/>
          <p:cNvSpPr>
            <a:spLocks noChangeArrowheads="1"/>
          </p:cNvSpPr>
          <p:nvPr/>
        </p:nvSpPr>
        <p:spPr bwMode="auto">
          <a:xfrm>
            <a:off x="3876130" y="1664608"/>
            <a:ext cx="1637898" cy="1637820"/>
          </a:xfrm>
          <a:custGeom>
            <a:avLst/>
            <a:gdLst>
              <a:gd name="connsiteX0" fmla="*/ 1092172 w 2183864"/>
              <a:gd name="connsiteY0" fmla="*/ 239630 h 2183760"/>
              <a:gd name="connsiteX1" fmla="*/ 241762 w 2183864"/>
              <a:gd name="connsiteY1" fmla="*/ 1089519 h 2183760"/>
              <a:gd name="connsiteX2" fmla="*/ 1092172 w 2183864"/>
              <a:gd name="connsiteY2" fmla="*/ 1939888 h 2183760"/>
              <a:gd name="connsiteX3" fmla="*/ 1942101 w 2183864"/>
              <a:gd name="connsiteY3" fmla="*/ 1089519 h 2183760"/>
              <a:gd name="connsiteX4" fmla="*/ 1092172 w 2183864"/>
              <a:gd name="connsiteY4" fmla="*/ 239630 h 2183760"/>
              <a:gd name="connsiteX5" fmla="*/ 1092173 w 2183864"/>
              <a:gd name="connsiteY5" fmla="*/ 0 h 2183760"/>
              <a:gd name="connsiteX6" fmla="*/ 2183864 w 2183864"/>
              <a:gd name="connsiteY6" fmla="*/ 1091640 h 2183760"/>
              <a:gd name="connsiteX7" fmla="*/ 1092173 w 2183864"/>
              <a:gd name="connsiteY7" fmla="*/ 2183760 h 2183760"/>
              <a:gd name="connsiteX8" fmla="*/ 0 w 2183864"/>
              <a:gd name="connsiteY8" fmla="*/ 1091640 h 2183760"/>
              <a:gd name="connsiteX9" fmla="*/ 1092173 w 2183864"/>
              <a:gd name="connsiteY9" fmla="*/ 0 h 218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3864" h="2183760">
                <a:moveTo>
                  <a:pt x="1092172" y="239630"/>
                </a:moveTo>
                <a:cubicBezTo>
                  <a:pt x="622500" y="239630"/>
                  <a:pt x="241762" y="620350"/>
                  <a:pt x="241762" y="1089519"/>
                </a:cubicBezTo>
                <a:cubicBezTo>
                  <a:pt x="241762" y="1559169"/>
                  <a:pt x="622500" y="1939888"/>
                  <a:pt x="1092172" y="1939888"/>
                </a:cubicBezTo>
                <a:cubicBezTo>
                  <a:pt x="1561364" y="1939888"/>
                  <a:pt x="1942101" y="1559169"/>
                  <a:pt x="1942101" y="1089519"/>
                </a:cubicBezTo>
                <a:cubicBezTo>
                  <a:pt x="1942101" y="620350"/>
                  <a:pt x="1561364" y="239630"/>
                  <a:pt x="1092172" y="239630"/>
                </a:cubicBezTo>
                <a:close/>
                <a:moveTo>
                  <a:pt x="1092173" y="0"/>
                </a:moveTo>
                <a:cubicBezTo>
                  <a:pt x="1695033" y="0"/>
                  <a:pt x="2183864" y="488808"/>
                  <a:pt x="2183864" y="1091640"/>
                </a:cubicBezTo>
                <a:cubicBezTo>
                  <a:pt x="2183864" y="1694952"/>
                  <a:pt x="1695033" y="2183760"/>
                  <a:pt x="1092173" y="2183760"/>
                </a:cubicBezTo>
                <a:cubicBezTo>
                  <a:pt x="488832" y="2183760"/>
                  <a:pt x="0" y="1694952"/>
                  <a:pt x="0" y="1091640"/>
                </a:cubicBezTo>
                <a:cubicBezTo>
                  <a:pt x="0" y="488808"/>
                  <a:pt x="488832" y="0"/>
                  <a:pt x="1092173" y="0"/>
                </a:cubicBezTo>
                <a:close/>
              </a:path>
            </a:pathLst>
          </a:custGeom>
          <a:solidFill>
            <a:schemeClr val="accent1">
              <a:lumMod val="75000"/>
            </a:schemeClr>
          </a:solidFill>
          <a:ln>
            <a:solidFill>
              <a:schemeClr val="accent1">
                <a:lumMod val="75000"/>
              </a:schemeClr>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182817" tIns="91409" rIns="182817" bIns="91409" anchor="ctr">
            <a:normAutofit/>
          </a:bodyPr>
          <a:lstStyle/>
          <a:p>
            <a:endParaRPr lang="en-US">
              <a:latin typeface="Calibri" panose="020F0502020204030204" pitchFamily="34" charset="0"/>
              <a:cs typeface="Calibri" panose="020F0502020204030204" pitchFamily="34" charset="0"/>
            </a:endParaRPr>
          </a:p>
        </p:txBody>
      </p:sp>
      <p:sp>
        <p:nvSpPr>
          <p:cNvPr id="219" name="Freeform: Shape 419"/>
          <p:cNvSpPr>
            <a:spLocks noChangeArrowheads="1"/>
          </p:cNvSpPr>
          <p:nvPr/>
        </p:nvSpPr>
        <p:spPr bwMode="auto">
          <a:xfrm>
            <a:off x="4057452" y="1834806"/>
            <a:ext cx="1275254" cy="1275194"/>
          </a:xfrm>
          <a:custGeom>
            <a:avLst/>
            <a:gdLst>
              <a:gd name="connsiteX0" fmla="*/ 849350 w 1700339"/>
              <a:gd name="connsiteY0" fmla="*/ 241751 h 1700258"/>
              <a:gd name="connsiteX1" fmla="*/ 239642 w 1700339"/>
              <a:gd name="connsiteY1" fmla="*/ 850949 h 1700258"/>
              <a:gd name="connsiteX2" fmla="*/ 849350 w 1700339"/>
              <a:gd name="connsiteY2" fmla="*/ 1460628 h 1700258"/>
              <a:gd name="connsiteX3" fmla="*/ 1458576 w 1700339"/>
              <a:gd name="connsiteY3" fmla="*/ 850949 h 1700258"/>
              <a:gd name="connsiteX4" fmla="*/ 849350 w 1700339"/>
              <a:gd name="connsiteY4" fmla="*/ 241751 h 1700258"/>
              <a:gd name="connsiteX5" fmla="*/ 850410 w 1700339"/>
              <a:gd name="connsiteY5" fmla="*/ 0 h 1700258"/>
              <a:gd name="connsiteX6" fmla="*/ 1700339 w 1700339"/>
              <a:gd name="connsiteY6" fmla="*/ 849889 h 1700258"/>
              <a:gd name="connsiteX7" fmla="*/ 850410 w 1700339"/>
              <a:gd name="connsiteY7" fmla="*/ 1700258 h 1700258"/>
              <a:gd name="connsiteX8" fmla="*/ 0 w 1700339"/>
              <a:gd name="connsiteY8" fmla="*/ 849889 h 1700258"/>
              <a:gd name="connsiteX9" fmla="*/ 850410 w 1700339"/>
              <a:gd name="connsiteY9" fmla="*/ 0 h 1700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0339" h="1700258">
                <a:moveTo>
                  <a:pt x="849350" y="241751"/>
                </a:moveTo>
                <a:cubicBezTo>
                  <a:pt x="513241" y="241751"/>
                  <a:pt x="239642" y="513895"/>
                  <a:pt x="239642" y="850949"/>
                </a:cubicBezTo>
                <a:cubicBezTo>
                  <a:pt x="239642" y="1187042"/>
                  <a:pt x="513241" y="1460628"/>
                  <a:pt x="849350" y="1460628"/>
                </a:cubicBezTo>
                <a:cubicBezTo>
                  <a:pt x="1186420" y="1460628"/>
                  <a:pt x="1458576" y="1187042"/>
                  <a:pt x="1458576" y="850949"/>
                </a:cubicBezTo>
                <a:cubicBezTo>
                  <a:pt x="1458576" y="513895"/>
                  <a:pt x="1186420" y="241751"/>
                  <a:pt x="849350" y="241751"/>
                </a:cubicBezTo>
                <a:close/>
                <a:moveTo>
                  <a:pt x="850410" y="0"/>
                </a:moveTo>
                <a:cubicBezTo>
                  <a:pt x="1319602" y="0"/>
                  <a:pt x="1700339" y="380720"/>
                  <a:pt x="1700339" y="849889"/>
                </a:cubicBezTo>
                <a:cubicBezTo>
                  <a:pt x="1700339" y="1319539"/>
                  <a:pt x="1319602" y="1700258"/>
                  <a:pt x="850410" y="1700258"/>
                </a:cubicBezTo>
                <a:cubicBezTo>
                  <a:pt x="380738" y="1700258"/>
                  <a:pt x="0" y="1319539"/>
                  <a:pt x="0" y="849889"/>
                </a:cubicBezTo>
                <a:cubicBezTo>
                  <a:pt x="0" y="380720"/>
                  <a:pt x="380738" y="0"/>
                  <a:pt x="850410" y="0"/>
                </a:cubicBezTo>
                <a:close/>
              </a:path>
            </a:pathLst>
          </a:custGeom>
          <a:solidFill>
            <a:srgbClr val="00B050"/>
          </a:solidFill>
          <a:ln w="38100">
            <a:solidFill>
              <a:srgbClr val="00B050"/>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182817" tIns="91409" rIns="182817" bIns="91409" anchor="ctr">
            <a:normAutofit/>
          </a:bodyPr>
          <a:lstStyle/>
          <a:p>
            <a:endParaRPr lang="en-US">
              <a:latin typeface="Calibri" panose="020F0502020204030204" pitchFamily="34" charset="0"/>
              <a:cs typeface="Calibri" panose="020F0502020204030204" pitchFamily="34" charset="0"/>
            </a:endParaRPr>
          </a:p>
        </p:txBody>
      </p:sp>
      <p:sp>
        <p:nvSpPr>
          <p:cNvPr id="220" name="Freeform: Shape 420"/>
          <p:cNvSpPr>
            <a:spLocks noChangeArrowheads="1"/>
          </p:cNvSpPr>
          <p:nvPr/>
        </p:nvSpPr>
        <p:spPr bwMode="auto">
          <a:xfrm>
            <a:off x="4224483" y="2025644"/>
            <a:ext cx="914201" cy="914158"/>
          </a:xfrm>
          <a:custGeom>
            <a:avLst/>
            <a:gdLst>
              <a:gd name="connsiteX0" fmla="*/ 610769 w 1218934"/>
              <a:gd name="connsiteY0" fmla="*/ 239631 h 1218877"/>
              <a:gd name="connsiteX1" fmla="*/ 241763 w 1218934"/>
              <a:gd name="connsiteY1" fmla="*/ 609920 h 1218877"/>
              <a:gd name="connsiteX2" fmla="*/ 610769 w 1218934"/>
              <a:gd name="connsiteY2" fmla="*/ 979247 h 1218877"/>
              <a:gd name="connsiteX3" fmla="*/ 979294 w 1218934"/>
              <a:gd name="connsiteY3" fmla="*/ 609920 h 1218877"/>
              <a:gd name="connsiteX4" fmla="*/ 610769 w 1218934"/>
              <a:gd name="connsiteY4" fmla="*/ 239631 h 1218877"/>
              <a:gd name="connsiteX5" fmla="*/ 609708 w 1218934"/>
              <a:gd name="connsiteY5" fmla="*/ 0 h 1218877"/>
              <a:gd name="connsiteX6" fmla="*/ 1218934 w 1218934"/>
              <a:gd name="connsiteY6" fmla="*/ 609198 h 1218877"/>
              <a:gd name="connsiteX7" fmla="*/ 609708 w 1218934"/>
              <a:gd name="connsiteY7" fmla="*/ 1218877 h 1218877"/>
              <a:gd name="connsiteX8" fmla="*/ 0 w 1218934"/>
              <a:gd name="connsiteY8" fmla="*/ 609198 h 1218877"/>
              <a:gd name="connsiteX9" fmla="*/ 609708 w 1218934"/>
              <a:gd name="connsiteY9" fmla="*/ 0 h 1218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8934" h="1218877">
                <a:moveTo>
                  <a:pt x="610769" y="239631"/>
                </a:moveTo>
                <a:cubicBezTo>
                  <a:pt x="406300" y="239631"/>
                  <a:pt x="241763" y="405756"/>
                  <a:pt x="241763" y="609920"/>
                </a:cubicBezTo>
                <a:cubicBezTo>
                  <a:pt x="241763" y="814085"/>
                  <a:pt x="406300" y="979247"/>
                  <a:pt x="610769" y="979247"/>
                </a:cubicBezTo>
                <a:cubicBezTo>
                  <a:pt x="814757" y="979247"/>
                  <a:pt x="979294" y="814085"/>
                  <a:pt x="979294" y="609920"/>
                </a:cubicBezTo>
                <a:cubicBezTo>
                  <a:pt x="979294" y="405756"/>
                  <a:pt x="814757" y="239631"/>
                  <a:pt x="610769" y="239631"/>
                </a:cubicBezTo>
                <a:close/>
                <a:moveTo>
                  <a:pt x="609708" y="0"/>
                </a:moveTo>
                <a:cubicBezTo>
                  <a:pt x="946778" y="0"/>
                  <a:pt x="1218934" y="272144"/>
                  <a:pt x="1218934" y="609198"/>
                </a:cubicBezTo>
                <a:cubicBezTo>
                  <a:pt x="1218934" y="945291"/>
                  <a:pt x="946778" y="1218877"/>
                  <a:pt x="609708" y="1218877"/>
                </a:cubicBezTo>
                <a:cubicBezTo>
                  <a:pt x="273599" y="1218877"/>
                  <a:pt x="0" y="945291"/>
                  <a:pt x="0" y="609198"/>
                </a:cubicBezTo>
                <a:cubicBezTo>
                  <a:pt x="0" y="272144"/>
                  <a:pt x="273599" y="0"/>
                  <a:pt x="609708" y="0"/>
                </a:cubicBezTo>
                <a:close/>
              </a:path>
            </a:pathLst>
          </a:custGeom>
          <a:solidFill>
            <a:schemeClr val="accent1">
              <a:lumMod val="75000"/>
            </a:schemeClr>
          </a:solidFill>
          <a:ln>
            <a:solidFill>
              <a:schemeClr val="accent1">
                <a:lumMod val="75000"/>
              </a:schemeClr>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182817" tIns="91409" rIns="182817" bIns="91409" anchor="ctr">
            <a:normAutofit/>
          </a:bodyPr>
          <a:lstStyle/>
          <a:p>
            <a:endParaRPr lang="en-US">
              <a:latin typeface="Calibri" panose="020F0502020204030204" pitchFamily="34" charset="0"/>
              <a:cs typeface="Calibri" panose="020F0502020204030204" pitchFamily="34" charset="0"/>
            </a:endParaRPr>
          </a:p>
        </p:txBody>
      </p:sp>
      <p:sp>
        <p:nvSpPr>
          <p:cNvPr id="221" name="Freeform: Shape 421"/>
          <p:cNvSpPr>
            <a:spLocks noChangeArrowheads="1"/>
          </p:cNvSpPr>
          <p:nvPr/>
        </p:nvSpPr>
        <p:spPr bwMode="auto">
          <a:xfrm>
            <a:off x="4418506" y="2205368"/>
            <a:ext cx="553148" cy="554712"/>
          </a:xfrm>
          <a:custGeom>
            <a:avLst/>
            <a:gdLst>
              <a:gd name="connsiteX0" fmla="*/ 367226 w 737531"/>
              <a:gd name="connsiteY0" fmla="*/ 239628 h 739616"/>
              <a:gd name="connsiteX1" fmla="*/ 239641 w 737531"/>
              <a:gd name="connsiteY1" fmla="*/ 368166 h 739616"/>
              <a:gd name="connsiteX2" fmla="*/ 367226 w 737531"/>
              <a:gd name="connsiteY2" fmla="*/ 495745 h 739616"/>
              <a:gd name="connsiteX3" fmla="*/ 495770 w 737531"/>
              <a:gd name="connsiteY3" fmla="*/ 368166 h 739616"/>
              <a:gd name="connsiteX4" fmla="*/ 367226 w 737531"/>
              <a:gd name="connsiteY4" fmla="*/ 239628 h 739616"/>
              <a:gd name="connsiteX5" fmla="*/ 369006 w 737531"/>
              <a:gd name="connsiteY5" fmla="*/ 0 h 739616"/>
              <a:gd name="connsiteX6" fmla="*/ 737531 w 737531"/>
              <a:gd name="connsiteY6" fmla="*/ 370289 h 739616"/>
              <a:gd name="connsiteX7" fmla="*/ 369006 w 737531"/>
              <a:gd name="connsiteY7" fmla="*/ 739616 h 739616"/>
              <a:gd name="connsiteX8" fmla="*/ 0 w 737531"/>
              <a:gd name="connsiteY8" fmla="*/ 370289 h 739616"/>
              <a:gd name="connsiteX9" fmla="*/ 369006 w 737531"/>
              <a:gd name="connsiteY9" fmla="*/ 0 h 73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7531" h="739616">
                <a:moveTo>
                  <a:pt x="367226" y="239628"/>
                </a:moveTo>
                <a:cubicBezTo>
                  <a:pt x="296719" y="239628"/>
                  <a:pt x="239641" y="297662"/>
                  <a:pt x="239641" y="368166"/>
                </a:cubicBezTo>
                <a:cubicBezTo>
                  <a:pt x="239641" y="438670"/>
                  <a:pt x="296719" y="495745"/>
                  <a:pt x="367226" y="495745"/>
                </a:cubicBezTo>
                <a:cubicBezTo>
                  <a:pt x="437253" y="495745"/>
                  <a:pt x="495770" y="438670"/>
                  <a:pt x="495770" y="368166"/>
                </a:cubicBezTo>
                <a:cubicBezTo>
                  <a:pt x="495770" y="297662"/>
                  <a:pt x="437253" y="239628"/>
                  <a:pt x="367226" y="239628"/>
                </a:cubicBezTo>
                <a:close/>
                <a:moveTo>
                  <a:pt x="369006" y="0"/>
                </a:moveTo>
                <a:cubicBezTo>
                  <a:pt x="572994" y="0"/>
                  <a:pt x="737531" y="166125"/>
                  <a:pt x="737531" y="370289"/>
                </a:cubicBezTo>
                <a:cubicBezTo>
                  <a:pt x="737531" y="574454"/>
                  <a:pt x="572994" y="739616"/>
                  <a:pt x="369006" y="739616"/>
                </a:cubicBezTo>
                <a:cubicBezTo>
                  <a:pt x="164537" y="739616"/>
                  <a:pt x="0" y="574454"/>
                  <a:pt x="0" y="370289"/>
                </a:cubicBezTo>
                <a:cubicBezTo>
                  <a:pt x="0" y="166125"/>
                  <a:pt x="164537" y="0"/>
                  <a:pt x="369006" y="0"/>
                </a:cubicBezTo>
                <a:close/>
              </a:path>
            </a:pathLst>
          </a:custGeom>
          <a:solidFill>
            <a:srgbClr val="00B050"/>
          </a:solidFill>
          <a:ln>
            <a:solidFill>
              <a:srgbClr val="00B050"/>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182817" tIns="91409" rIns="182817" bIns="91409" anchor="ctr">
            <a:normAutofit/>
          </a:bodyPr>
          <a:lstStyle/>
          <a:p>
            <a:endParaRPr lang="en-US">
              <a:latin typeface="Calibri" panose="020F0502020204030204" pitchFamily="34" charset="0"/>
              <a:cs typeface="Calibri" panose="020F0502020204030204" pitchFamily="34" charset="0"/>
            </a:endParaRPr>
          </a:p>
        </p:txBody>
      </p:sp>
      <p:grpSp>
        <p:nvGrpSpPr>
          <p:cNvPr id="4" name="Group 135"/>
          <p:cNvGrpSpPr/>
          <p:nvPr/>
        </p:nvGrpSpPr>
        <p:grpSpPr>
          <a:xfrm>
            <a:off x="4665037" y="1836378"/>
            <a:ext cx="1336057" cy="648910"/>
            <a:chOff x="12124791" y="3770786"/>
            <a:chExt cx="3478984" cy="1689710"/>
          </a:xfrm>
          <a:solidFill>
            <a:schemeClr val="accent4"/>
          </a:solidFill>
        </p:grpSpPr>
        <p:sp>
          <p:nvSpPr>
            <p:cNvPr id="223" name="Freeform 18"/>
            <p:cNvSpPr>
              <a:spLocks noChangeArrowheads="1"/>
            </p:cNvSpPr>
            <p:nvPr/>
          </p:nvSpPr>
          <p:spPr bwMode="auto">
            <a:xfrm>
              <a:off x="12124793" y="4118666"/>
              <a:ext cx="2841169" cy="1341829"/>
            </a:xfrm>
            <a:custGeom>
              <a:avLst/>
              <a:gdLst>
                <a:gd name="G0" fmla="+- 1 0 0"/>
                <a:gd name="G1" fmla="+- 1 0 0"/>
                <a:gd name="G2" fmla="+- 1 0 0"/>
                <a:gd name="G3" fmla="+- 1429 0 0"/>
                <a:gd name="G4" fmla="+- 1 0 0"/>
                <a:gd name="T0" fmla="*/ 106633 w 3023"/>
                <a:gd name="T1" fmla="*/ 407523 h 1430"/>
                <a:gd name="T2" fmla="*/ 1067050 w 3023"/>
                <a:gd name="T3" fmla="*/ 0 h 1430"/>
                <a:gd name="T4" fmla="*/ 1088665 w 3023"/>
                <a:gd name="T5" fmla="*/ 52154 h 1430"/>
                <a:gd name="T6" fmla="*/ 0 w 3023"/>
                <a:gd name="T7" fmla="*/ 513990 h 1430"/>
                <a:gd name="T8" fmla="*/ 106633 w 3023"/>
                <a:gd name="T9" fmla="*/ 407523 h 1430"/>
              </a:gdLst>
              <a:ahLst/>
              <a:cxnLst>
                <a:cxn ang="0">
                  <a:pos x="T0" y="T1"/>
                </a:cxn>
                <a:cxn ang="0">
                  <a:pos x="T2" y="T3"/>
                </a:cxn>
                <a:cxn ang="0">
                  <a:pos x="T4" y="T5"/>
                </a:cxn>
                <a:cxn ang="0">
                  <a:pos x="T6" y="T7"/>
                </a:cxn>
                <a:cxn ang="0">
                  <a:pos x="T8" y="T9"/>
                </a:cxn>
              </a:cxnLst>
              <a:rect l="0" t="0" r="r" b="b"/>
              <a:pathLst>
                <a:path w="3023" h="1430">
                  <a:moveTo>
                    <a:pt x="296" y="1133"/>
                  </a:moveTo>
                  <a:lnTo>
                    <a:pt x="2962" y="0"/>
                  </a:lnTo>
                  <a:lnTo>
                    <a:pt x="3022" y="145"/>
                  </a:lnTo>
                  <a:lnTo>
                    <a:pt x="0" y="1429"/>
                  </a:lnTo>
                  <a:lnTo>
                    <a:pt x="296" y="113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56" tIns="121878" rIns="243756" bIns="121878" anchor="ctr">
              <a:normAutofit lnSpcReduction="10000"/>
            </a:bodyPr>
            <a:lstStyle/>
            <a:p>
              <a:endParaRPr lang="en-US">
                <a:latin typeface="Calibri" panose="020F0502020204030204" pitchFamily="34" charset="0"/>
                <a:cs typeface="Calibri" panose="020F0502020204030204" pitchFamily="34" charset="0"/>
              </a:endParaRPr>
            </a:p>
          </p:txBody>
        </p:sp>
        <p:sp>
          <p:nvSpPr>
            <p:cNvPr id="224" name="Freeform 19"/>
            <p:cNvSpPr>
              <a:spLocks noChangeArrowheads="1"/>
            </p:cNvSpPr>
            <p:nvPr/>
          </p:nvSpPr>
          <p:spPr bwMode="auto">
            <a:xfrm>
              <a:off x="12124791" y="4255333"/>
              <a:ext cx="2899153" cy="1205163"/>
            </a:xfrm>
            <a:custGeom>
              <a:avLst/>
              <a:gdLst>
                <a:gd name="G0" fmla="+- 1 0 0"/>
                <a:gd name="G1" fmla="*/ 1 0 0"/>
                <a:gd name="G2" fmla="+- 1 0 0"/>
                <a:gd name="G3" fmla="+- 1284 0 0"/>
                <a:gd name="G4" fmla="+- 1 0 0"/>
                <a:gd name="T0" fmla="*/ 150879 w 3086"/>
                <a:gd name="T1" fmla="*/ 459087 h 1285"/>
                <a:gd name="T2" fmla="*/ 1110890 w 3086"/>
                <a:gd name="T3" fmla="*/ 51769 h 1285"/>
                <a:gd name="T4" fmla="*/ 1088204 w 3086"/>
                <a:gd name="T5" fmla="*/ 0 h 1285"/>
                <a:gd name="T6" fmla="*/ 0 w 3086"/>
                <a:gd name="T7" fmla="*/ 461603 h 1285"/>
                <a:gd name="T8" fmla="*/ 150879 w 3086"/>
                <a:gd name="T9" fmla="*/ 459087 h 1285"/>
              </a:gdLst>
              <a:ahLst/>
              <a:cxnLst>
                <a:cxn ang="0">
                  <a:pos x="T0" y="T1"/>
                </a:cxn>
                <a:cxn ang="0">
                  <a:pos x="T2" y="T3"/>
                </a:cxn>
                <a:cxn ang="0">
                  <a:pos x="T4" y="T5"/>
                </a:cxn>
                <a:cxn ang="0">
                  <a:pos x="T6" y="T7"/>
                </a:cxn>
                <a:cxn ang="0">
                  <a:pos x="T8" y="T9"/>
                </a:cxn>
              </a:cxnLst>
              <a:rect l="0" t="0" r="r" b="b"/>
              <a:pathLst>
                <a:path w="3086" h="1285">
                  <a:moveTo>
                    <a:pt x="419" y="1277"/>
                  </a:moveTo>
                  <a:lnTo>
                    <a:pt x="3085" y="144"/>
                  </a:lnTo>
                  <a:lnTo>
                    <a:pt x="3022" y="0"/>
                  </a:lnTo>
                  <a:lnTo>
                    <a:pt x="0" y="1284"/>
                  </a:lnTo>
                  <a:lnTo>
                    <a:pt x="419" y="127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56" tIns="121878" rIns="243756" bIns="121878" anchor="ctr">
              <a:normAutofit fontScale="92500" lnSpcReduction="20000"/>
            </a:bodyPr>
            <a:lstStyle/>
            <a:p>
              <a:endParaRPr lang="en-US">
                <a:latin typeface="Calibri" panose="020F0502020204030204" pitchFamily="34" charset="0"/>
                <a:cs typeface="Calibri" panose="020F0502020204030204" pitchFamily="34" charset="0"/>
              </a:endParaRPr>
            </a:p>
          </p:txBody>
        </p:sp>
        <p:sp>
          <p:nvSpPr>
            <p:cNvPr id="225" name="Freeform 20"/>
            <p:cNvSpPr>
              <a:spLocks noChangeArrowheads="1"/>
            </p:cNvSpPr>
            <p:nvPr/>
          </p:nvSpPr>
          <p:spPr bwMode="auto">
            <a:xfrm>
              <a:off x="12157926" y="4097957"/>
              <a:ext cx="2841169" cy="1341829"/>
            </a:xfrm>
            <a:custGeom>
              <a:avLst/>
              <a:gdLst>
                <a:gd name="G0" fmla="+- 1 0 0"/>
                <a:gd name="G1" fmla="+- 1 0 0"/>
                <a:gd name="G2" fmla="+- 1 0 0"/>
                <a:gd name="G3" fmla="+- 1429 0 0"/>
                <a:gd name="G4" fmla="+- 1 0 0"/>
                <a:gd name="T0" fmla="*/ 106527 w 3026"/>
                <a:gd name="T1" fmla="*/ 407523 h 1430"/>
                <a:gd name="T2" fmla="*/ 1066712 w 3026"/>
                <a:gd name="T3" fmla="*/ 0 h 1430"/>
                <a:gd name="T4" fmla="*/ 1088665 w 3026"/>
                <a:gd name="T5" fmla="*/ 51795 h 1430"/>
                <a:gd name="T6" fmla="*/ 0 w 3026"/>
                <a:gd name="T7" fmla="*/ 513990 h 1430"/>
                <a:gd name="T8" fmla="*/ 106527 w 3026"/>
                <a:gd name="T9" fmla="*/ 407523 h 1430"/>
              </a:gdLst>
              <a:ahLst/>
              <a:cxnLst>
                <a:cxn ang="0">
                  <a:pos x="T0" y="T1"/>
                </a:cxn>
                <a:cxn ang="0">
                  <a:pos x="T2" y="T3"/>
                </a:cxn>
                <a:cxn ang="0">
                  <a:pos x="T4" y="T5"/>
                </a:cxn>
                <a:cxn ang="0">
                  <a:pos x="T6" y="T7"/>
                </a:cxn>
                <a:cxn ang="0">
                  <a:pos x="T8" y="T9"/>
                </a:cxn>
              </a:cxnLst>
              <a:rect l="0" t="0" r="r" b="b"/>
              <a:pathLst>
                <a:path w="3026" h="1430">
                  <a:moveTo>
                    <a:pt x="296" y="1133"/>
                  </a:moveTo>
                  <a:lnTo>
                    <a:pt x="2964" y="0"/>
                  </a:lnTo>
                  <a:lnTo>
                    <a:pt x="3025" y="144"/>
                  </a:lnTo>
                  <a:lnTo>
                    <a:pt x="0" y="1429"/>
                  </a:lnTo>
                  <a:lnTo>
                    <a:pt x="296" y="113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56" tIns="121878" rIns="243756" bIns="121878" anchor="ctr">
              <a:normAutofit lnSpcReduction="10000"/>
            </a:bodyPr>
            <a:lstStyle/>
            <a:p>
              <a:endParaRPr lang="en-US">
                <a:latin typeface="Calibri" panose="020F0502020204030204" pitchFamily="34" charset="0"/>
                <a:cs typeface="Calibri" panose="020F0502020204030204" pitchFamily="34" charset="0"/>
              </a:endParaRPr>
            </a:p>
          </p:txBody>
        </p:sp>
        <p:sp>
          <p:nvSpPr>
            <p:cNvPr id="226" name="Freeform 21"/>
            <p:cNvSpPr>
              <a:spLocks noChangeArrowheads="1"/>
            </p:cNvSpPr>
            <p:nvPr/>
          </p:nvSpPr>
          <p:spPr bwMode="auto">
            <a:xfrm>
              <a:off x="12157924" y="4234626"/>
              <a:ext cx="2899153" cy="1209302"/>
            </a:xfrm>
            <a:custGeom>
              <a:avLst/>
              <a:gdLst>
                <a:gd name="G0" fmla="+- 1 0 0"/>
                <a:gd name="G1" fmla="*/ 1 0 0"/>
                <a:gd name="G2" fmla="+- 1 0 0"/>
                <a:gd name="G3" fmla="+- 1285 0 0"/>
                <a:gd name="G4" fmla="+- 1 0 0"/>
                <a:gd name="T0" fmla="*/ 151093 w 3089"/>
                <a:gd name="T1" fmla="*/ 460666 h 1286"/>
                <a:gd name="T2" fmla="*/ 1110890 w 3089"/>
                <a:gd name="T3" fmla="*/ 52267 h 1286"/>
                <a:gd name="T4" fmla="*/ 1088226 w 3089"/>
                <a:gd name="T5" fmla="*/ 0 h 1286"/>
                <a:gd name="T6" fmla="*/ 0 w 3089"/>
                <a:gd name="T7" fmla="*/ 463190 h 1286"/>
                <a:gd name="T8" fmla="*/ 151093 w 3089"/>
                <a:gd name="T9" fmla="*/ 460666 h 1286"/>
              </a:gdLst>
              <a:ahLst/>
              <a:cxnLst>
                <a:cxn ang="0">
                  <a:pos x="T0" y="T1"/>
                </a:cxn>
                <a:cxn ang="0">
                  <a:pos x="T2" y="T3"/>
                </a:cxn>
                <a:cxn ang="0">
                  <a:pos x="T4" y="T5"/>
                </a:cxn>
                <a:cxn ang="0">
                  <a:pos x="T6" y="T7"/>
                </a:cxn>
                <a:cxn ang="0">
                  <a:pos x="T8" y="T9"/>
                </a:cxn>
              </a:cxnLst>
              <a:rect l="0" t="0" r="r" b="b"/>
              <a:pathLst>
                <a:path w="3089" h="1286">
                  <a:moveTo>
                    <a:pt x="420" y="1278"/>
                  </a:moveTo>
                  <a:lnTo>
                    <a:pt x="3088" y="145"/>
                  </a:lnTo>
                  <a:lnTo>
                    <a:pt x="3025" y="0"/>
                  </a:lnTo>
                  <a:lnTo>
                    <a:pt x="0" y="1285"/>
                  </a:lnTo>
                  <a:lnTo>
                    <a:pt x="420" y="1278"/>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56" tIns="121878" rIns="243756" bIns="121878" anchor="ctr">
              <a:normAutofit fontScale="92500" lnSpcReduction="20000"/>
            </a:bodyPr>
            <a:lstStyle/>
            <a:p>
              <a:endParaRPr lang="en-US">
                <a:latin typeface="Calibri" panose="020F0502020204030204" pitchFamily="34" charset="0"/>
                <a:cs typeface="Calibri" panose="020F0502020204030204" pitchFamily="34" charset="0"/>
              </a:endParaRPr>
            </a:p>
          </p:txBody>
        </p:sp>
        <p:sp>
          <p:nvSpPr>
            <p:cNvPr id="227" name="Freeform 22"/>
            <p:cNvSpPr>
              <a:spLocks noChangeArrowheads="1"/>
            </p:cNvSpPr>
            <p:nvPr/>
          </p:nvSpPr>
          <p:spPr bwMode="auto">
            <a:xfrm>
              <a:off x="14560081" y="3770786"/>
              <a:ext cx="820046" cy="604652"/>
            </a:xfrm>
            <a:custGeom>
              <a:avLst/>
              <a:gdLst>
                <a:gd name="G0" fmla="+- 643 0 0"/>
                <a:gd name="G1" fmla="+- 643 0 0"/>
                <a:gd name="G2" fmla="+- 643 0 0"/>
                <a:gd name="G3" fmla="+- 1 0 0"/>
                <a:gd name="G4" fmla="+- 1 0 0"/>
                <a:gd name="G5" fmla="+- 1 0 0"/>
                <a:gd name="G6" fmla="+- 1 0 0"/>
                <a:gd name="G7" fmla="+- 1 0 0"/>
                <a:gd name="G8" fmla="+- 1 0 0"/>
                <a:gd name="G9" fmla="+- 1 0 0"/>
                <a:gd name="G10" fmla="+- 1 0 0"/>
                <a:gd name="G11" fmla="+- 643 0 0"/>
                <a:gd name="T0" fmla="*/ 0 w 875"/>
                <a:gd name="T1" fmla="*/ 231415 h 644"/>
                <a:gd name="T2" fmla="*/ 0 w 875"/>
                <a:gd name="T3" fmla="*/ 231415 h 644"/>
                <a:gd name="T4" fmla="*/ 116390 w 875"/>
                <a:gd name="T5" fmla="*/ 84936 h 644"/>
                <a:gd name="T6" fmla="*/ 313966 w 875"/>
                <a:gd name="T7" fmla="*/ 0 h 644"/>
                <a:gd name="T8" fmla="*/ 221644 w 875"/>
                <a:gd name="T9" fmla="*/ 137841 h 644"/>
                <a:gd name="T10" fmla="*/ 0 w 875"/>
                <a:gd name="T11" fmla="*/ 231415 h 644"/>
              </a:gdLst>
              <a:ahLst/>
              <a:cxnLst>
                <a:cxn ang="0">
                  <a:pos x="T0" y="T1"/>
                </a:cxn>
                <a:cxn ang="0">
                  <a:pos x="T2" y="T3"/>
                </a:cxn>
                <a:cxn ang="0">
                  <a:pos x="T4" y="T5"/>
                </a:cxn>
                <a:cxn ang="0">
                  <a:pos x="T6" y="T7"/>
                </a:cxn>
                <a:cxn ang="0">
                  <a:pos x="T8" y="T9"/>
                </a:cxn>
                <a:cxn ang="0">
                  <a:pos x="T10" y="T11"/>
                </a:cxn>
              </a:cxnLst>
              <a:rect l="0" t="0" r="r" b="b"/>
              <a:pathLst>
                <a:path w="875" h="644">
                  <a:moveTo>
                    <a:pt x="0" y="643"/>
                  </a:moveTo>
                  <a:lnTo>
                    <a:pt x="0" y="643"/>
                  </a:lnTo>
                  <a:cubicBezTo>
                    <a:pt x="0" y="643"/>
                    <a:pt x="58" y="347"/>
                    <a:pt x="324" y="236"/>
                  </a:cubicBezTo>
                  <a:cubicBezTo>
                    <a:pt x="589" y="122"/>
                    <a:pt x="874" y="0"/>
                    <a:pt x="874" y="0"/>
                  </a:cubicBezTo>
                  <a:cubicBezTo>
                    <a:pt x="617" y="383"/>
                    <a:pt x="617" y="383"/>
                    <a:pt x="617" y="383"/>
                  </a:cubicBezTo>
                  <a:lnTo>
                    <a:pt x="0" y="6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56" tIns="121878" rIns="243756" bIns="121878" anchor="ctr">
              <a:normAutofit fontScale="25000" lnSpcReduction="20000"/>
            </a:bodyPr>
            <a:lstStyle/>
            <a:p>
              <a:endParaRPr lang="en-US">
                <a:latin typeface="Calibri" panose="020F0502020204030204" pitchFamily="34" charset="0"/>
                <a:cs typeface="Calibri" panose="020F0502020204030204" pitchFamily="34" charset="0"/>
              </a:endParaRPr>
            </a:p>
          </p:txBody>
        </p:sp>
        <p:sp>
          <p:nvSpPr>
            <p:cNvPr id="228" name="Freeform 23"/>
            <p:cNvSpPr>
              <a:spLocks noChangeArrowheads="1"/>
            </p:cNvSpPr>
            <p:nvPr/>
          </p:nvSpPr>
          <p:spPr bwMode="auto">
            <a:xfrm>
              <a:off x="14597357" y="4218063"/>
              <a:ext cx="1006418" cy="401719"/>
            </a:xfrm>
            <a:custGeom>
              <a:avLst/>
              <a:gdLst>
                <a:gd name="G0" fmla="+- 263 0 0"/>
                <a:gd name="G1" fmla="+- 263 0 0"/>
                <a:gd name="G2" fmla="+- 263 0 0"/>
                <a:gd name="G3" fmla="+- 1 0 0"/>
                <a:gd name="G4" fmla="*/ 1 35987 45568"/>
                <a:gd name="G5" fmla="*/ 1 35987 55552"/>
                <a:gd name="G6" fmla="*/ G5 1 180"/>
                <a:gd name="G7" fmla="*/ G4 1 G6"/>
                <a:gd name="G8" fmla="+- 1 0 0"/>
                <a:gd name="G9" fmla="+- 1 0 0"/>
                <a:gd name="G10" fmla="+- 1 0 0"/>
                <a:gd name="G11" fmla="+- 1 0 0"/>
                <a:gd name="G12" fmla="+- 1 0 0"/>
                <a:gd name="G13" fmla="+- 1 0 0"/>
                <a:gd name="G14" fmla="+- 263 0 0"/>
                <a:gd name="T0" fmla="*/ 0 w 1071"/>
                <a:gd name="T1" fmla="*/ 94844 h 427"/>
                <a:gd name="T2" fmla="*/ 0 w 1071"/>
                <a:gd name="T3" fmla="*/ 94844 h 427"/>
                <a:gd name="T4" fmla="*/ 187298 w 1071"/>
                <a:gd name="T5" fmla="*/ 113236 h 427"/>
                <a:gd name="T6" fmla="*/ 385402 w 1071"/>
                <a:gd name="T7" fmla="*/ 28489 h 427"/>
                <a:gd name="T8" fmla="*/ 223317 w 1071"/>
                <a:gd name="T9" fmla="*/ 0 h 427"/>
                <a:gd name="T10" fmla="*/ 0 w 1071"/>
                <a:gd name="T11" fmla="*/ 94844 h 427"/>
              </a:gdLst>
              <a:ahLst/>
              <a:cxnLst>
                <a:cxn ang="0">
                  <a:pos x="T0" y="T1"/>
                </a:cxn>
                <a:cxn ang="0">
                  <a:pos x="T2" y="T3"/>
                </a:cxn>
                <a:cxn ang="0">
                  <a:pos x="T4" y="T5"/>
                </a:cxn>
                <a:cxn ang="0">
                  <a:pos x="T6" y="T7"/>
                </a:cxn>
                <a:cxn ang="0">
                  <a:pos x="T8" y="T9"/>
                </a:cxn>
                <a:cxn ang="0">
                  <a:pos x="T10" y="T11"/>
                </a:cxn>
              </a:cxnLst>
              <a:rect l="0" t="0" r="r" b="b"/>
              <a:pathLst>
                <a:path w="1071" h="427">
                  <a:moveTo>
                    <a:pt x="0" y="263"/>
                  </a:moveTo>
                  <a:lnTo>
                    <a:pt x="0" y="263"/>
                  </a:lnTo>
                  <a:cubicBezTo>
                    <a:pt x="0" y="263"/>
                    <a:pt x="254" y="426"/>
                    <a:pt x="520" y="314"/>
                  </a:cubicBezTo>
                  <a:cubicBezTo>
                    <a:pt x="786" y="200"/>
                    <a:pt x="1070" y="79"/>
                    <a:pt x="1070" y="79"/>
                  </a:cubicBezTo>
                  <a:cubicBezTo>
                    <a:pt x="620" y="0"/>
                    <a:pt x="620" y="0"/>
                    <a:pt x="620" y="0"/>
                  </a:cubicBezTo>
                  <a:lnTo>
                    <a:pt x="0" y="26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56" tIns="121878" rIns="243756" bIns="121878" anchor="ctr">
              <a:normAutofit fontScale="25000" lnSpcReduction="20000"/>
            </a:bodyPr>
            <a:lstStyle/>
            <a:p>
              <a:endParaRPr lang="en-US">
                <a:latin typeface="Calibri" panose="020F0502020204030204" pitchFamily="34" charset="0"/>
                <a:cs typeface="Calibri" panose="020F0502020204030204" pitchFamily="34" charset="0"/>
              </a:endParaRPr>
            </a:p>
          </p:txBody>
        </p:sp>
      </p:grpSp>
      <p:sp>
        <p:nvSpPr>
          <p:cNvPr id="229" name="Freeform 458"/>
          <p:cNvSpPr>
            <a:spLocks noChangeArrowheads="1"/>
          </p:cNvSpPr>
          <p:nvPr/>
        </p:nvSpPr>
        <p:spPr bwMode="auto">
          <a:xfrm>
            <a:off x="5204237" y="4621657"/>
            <a:ext cx="642114" cy="640703"/>
          </a:xfrm>
          <a:custGeom>
            <a:avLst/>
            <a:gdLst>
              <a:gd name="T0" fmla="*/ 1947 w 1948"/>
              <a:gd name="T1" fmla="*/ 976 h 1946"/>
              <a:gd name="T2" fmla="*/ 1947 w 1948"/>
              <a:gd name="T3" fmla="*/ 976 h 1946"/>
              <a:gd name="T4" fmla="*/ 976 w 1948"/>
              <a:gd name="T5" fmla="*/ 0 h 1946"/>
              <a:gd name="T6" fmla="*/ 0 w 1948"/>
              <a:gd name="T7" fmla="*/ 976 h 1946"/>
              <a:gd name="T8" fmla="*/ 976 w 1948"/>
              <a:gd name="T9" fmla="*/ 1945 h 1946"/>
              <a:gd name="T10" fmla="*/ 1947 w 1948"/>
              <a:gd name="T11" fmla="*/ 976 h 1946"/>
            </a:gdLst>
            <a:ahLst/>
            <a:cxnLst>
              <a:cxn ang="0">
                <a:pos x="T0" y="T1"/>
              </a:cxn>
              <a:cxn ang="0">
                <a:pos x="T2" y="T3"/>
              </a:cxn>
              <a:cxn ang="0">
                <a:pos x="T4" y="T5"/>
              </a:cxn>
              <a:cxn ang="0">
                <a:pos x="T6" y="T7"/>
              </a:cxn>
              <a:cxn ang="0">
                <a:pos x="T8" y="T9"/>
              </a:cxn>
              <a:cxn ang="0">
                <a:pos x="T10" y="T11"/>
              </a:cxn>
            </a:cxnLst>
            <a:rect l="0" t="0" r="r" b="b"/>
            <a:pathLst>
              <a:path w="1948" h="1946">
                <a:moveTo>
                  <a:pt x="1947" y="976"/>
                </a:moveTo>
                <a:lnTo>
                  <a:pt x="1947" y="976"/>
                </a:lnTo>
                <a:cubicBezTo>
                  <a:pt x="1947" y="437"/>
                  <a:pt x="1510" y="0"/>
                  <a:pt x="976" y="0"/>
                </a:cubicBezTo>
                <a:cubicBezTo>
                  <a:pt x="437" y="0"/>
                  <a:pt x="0" y="437"/>
                  <a:pt x="0" y="976"/>
                </a:cubicBezTo>
                <a:cubicBezTo>
                  <a:pt x="0" y="1510"/>
                  <a:pt x="437" y="1945"/>
                  <a:pt x="976" y="1945"/>
                </a:cubicBezTo>
                <a:cubicBezTo>
                  <a:pt x="1510" y="1945"/>
                  <a:pt x="1947" y="1510"/>
                  <a:pt x="1947" y="976"/>
                </a:cubicBezTo>
              </a:path>
            </a:pathLst>
          </a:custGeom>
          <a:solidFill>
            <a:srgbClr val="00B050"/>
          </a:solidFill>
          <a:ln>
            <a:noFill/>
          </a:ln>
          <a:effectLst/>
        </p:spPr>
        <p:txBody>
          <a:bodyPr wrap="none" lIns="68580" tIns="34290" rIns="68580" bIns="34290" anchor="ctr">
            <a:normAutofit/>
          </a:bodyPr>
          <a:lstStyle/>
          <a:p>
            <a:endParaRPr lang="en-US" sz="2700">
              <a:latin typeface="Calibri" panose="020F0502020204030204" pitchFamily="34" charset="0"/>
              <a:cs typeface="Calibri" panose="020F0502020204030204" pitchFamily="34" charset="0"/>
            </a:endParaRPr>
          </a:p>
        </p:txBody>
      </p:sp>
      <p:sp>
        <p:nvSpPr>
          <p:cNvPr id="230" name="TextBox 147"/>
          <p:cNvSpPr txBox="1"/>
          <p:nvPr/>
        </p:nvSpPr>
        <p:spPr>
          <a:xfrm>
            <a:off x="5256917" y="4688225"/>
            <a:ext cx="534225" cy="415471"/>
          </a:xfrm>
          <a:prstGeom prst="rect">
            <a:avLst/>
          </a:prstGeom>
          <a:noFill/>
        </p:spPr>
        <p:txBody>
          <a:bodyPr wrap="none" lIns="137132" tIns="68567" rIns="137132" bIns="68567" rtlCol="0">
            <a:noAutofit/>
          </a:bodyPr>
          <a:lstStyle/>
          <a:p>
            <a:pPr algn="ctr"/>
            <a:r>
              <a:rPr lang="en-US" sz="2400" b="1" dirty="0">
                <a:solidFill>
                  <a:schemeClr val="bg1"/>
                </a:solidFill>
                <a:latin typeface="Calibri" panose="020F0502020204030204" pitchFamily="34" charset="0"/>
                <a:cs typeface="Calibri" panose="020F0502020204030204" pitchFamily="34" charset="0"/>
              </a:rPr>
              <a:t>4</a:t>
            </a:r>
            <a:endParaRPr lang="id-ID" sz="2400" b="1" dirty="0">
              <a:solidFill>
                <a:schemeClr val="bg1"/>
              </a:solidFill>
              <a:latin typeface="Calibri" panose="020F0502020204030204" pitchFamily="34" charset="0"/>
              <a:cs typeface="Calibri" panose="020F0502020204030204" pitchFamily="34" charset="0"/>
            </a:endParaRPr>
          </a:p>
        </p:txBody>
      </p:sp>
      <p:sp>
        <p:nvSpPr>
          <p:cNvPr id="231" name="TextBox 149"/>
          <p:cNvSpPr txBox="1"/>
          <p:nvPr/>
        </p:nvSpPr>
        <p:spPr>
          <a:xfrm>
            <a:off x="582603" y="1202311"/>
            <a:ext cx="292637" cy="646331"/>
          </a:xfrm>
          <a:prstGeom prst="rect">
            <a:avLst/>
          </a:prstGeom>
          <a:noFill/>
        </p:spPr>
        <p:txBody>
          <a:bodyPr wrap="square" rtlCol="0">
            <a:spAutoFit/>
          </a:bodyPr>
          <a:lstStyle/>
          <a:p>
            <a:r>
              <a:rPr lang="en-US" sz="3600" b="1" i="1" dirty="0" err="1">
                <a:solidFill>
                  <a:schemeClr val="accent1">
                    <a:lumMod val="75000"/>
                  </a:schemeClr>
                </a:solidFill>
                <a:latin typeface="Calibri" panose="020F0502020204030204" pitchFamily="34" charset="0"/>
                <a:cs typeface="Calibri" panose="020F0502020204030204" pitchFamily="34" charset="0"/>
              </a:rPr>
              <a:t>i</a:t>
            </a:r>
            <a:endParaRPr lang="de-DE" sz="3600" b="1" i="1" dirty="0">
              <a:solidFill>
                <a:schemeClr val="accent1">
                  <a:lumMod val="75000"/>
                </a:schemeClr>
              </a:solidFill>
              <a:latin typeface="Calibri" panose="020F0502020204030204" pitchFamily="34" charset="0"/>
              <a:cs typeface="Calibri" panose="020F0502020204030204" pitchFamily="34" charset="0"/>
            </a:endParaRPr>
          </a:p>
        </p:txBody>
      </p:sp>
      <p:grpSp>
        <p:nvGrpSpPr>
          <p:cNvPr id="5" name="Gruppieren 116"/>
          <p:cNvGrpSpPr/>
          <p:nvPr/>
        </p:nvGrpSpPr>
        <p:grpSpPr>
          <a:xfrm>
            <a:off x="1387714" y="3376325"/>
            <a:ext cx="648000" cy="563850"/>
            <a:chOff x="1006977" y="2114824"/>
            <a:chExt cx="605533" cy="486379"/>
          </a:xfrm>
          <a:solidFill>
            <a:schemeClr val="accent1">
              <a:lumMod val="75000"/>
            </a:schemeClr>
          </a:solidFill>
        </p:grpSpPr>
        <p:sp>
          <p:nvSpPr>
            <p:cNvPr id="233" name="Ellipse 67">
              <a:extLst>
                <a:ext uri="{FF2B5EF4-FFF2-40B4-BE49-F238E27FC236}">
                  <a16:creationId xmlns:a16="http://schemas.microsoft.com/office/drawing/2014/main" id="{C52A05F3-590C-4A88-AB45-38AA70EE8127}"/>
                </a:ext>
              </a:extLst>
            </p:cNvPr>
            <p:cNvSpPr/>
            <p:nvPr/>
          </p:nvSpPr>
          <p:spPr bwMode="auto">
            <a:xfrm>
              <a:off x="1477415" y="2119950"/>
              <a:ext cx="108173" cy="103013"/>
            </a:xfrm>
            <a:prstGeom prst="ellips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de-DE"/>
              </a:defPPr>
              <a:lvl1pPr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defTabSz="914361" eaLnBrk="0" hangingPunct="0"/>
              <a:endParaRPr lang="en-US" dirty="0">
                <a:latin typeface="Calibri" panose="020F0502020204030204" pitchFamily="34" charset="0"/>
                <a:ea typeface="ＭＳ Ｐゴシック" pitchFamily="1" charset="-128"/>
                <a:cs typeface="Calibri" panose="020F0502020204030204" pitchFamily="34" charset="0"/>
              </a:endParaRPr>
            </a:p>
          </p:txBody>
        </p:sp>
        <p:sp>
          <p:nvSpPr>
            <p:cNvPr id="234" name="Ellipse 68">
              <a:extLst>
                <a:ext uri="{FF2B5EF4-FFF2-40B4-BE49-F238E27FC236}">
                  <a16:creationId xmlns:a16="http://schemas.microsoft.com/office/drawing/2014/main" id="{C52A05F3-590C-4A88-AB45-38AA70EE8127}"/>
                </a:ext>
              </a:extLst>
            </p:cNvPr>
            <p:cNvSpPr/>
            <p:nvPr/>
          </p:nvSpPr>
          <p:spPr bwMode="auto">
            <a:xfrm>
              <a:off x="1504337" y="2445421"/>
              <a:ext cx="108173" cy="103013"/>
            </a:xfrm>
            <a:prstGeom prst="ellips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de-DE"/>
              </a:defPPr>
              <a:lvl1pPr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defTabSz="914361" eaLnBrk="0" hangingPunct="0"/>
              <a:endParaRPr lang="en-US" dirty="0">
                <a:latin typeface="Calibri" panose="020F0502020204030204" pitchFamily="34" charset="0"/>
                <a:ea typeface="ＭＳ Ｐゴシック" pitchFamily="1" charset="-128"/>
                <a:cs typeface="Calibri" panose="020F0502020204030204" pitchFamily="34" charset="0"/>
              </a:endParaRPr>
            </a:p>
          </p:txBody>
        </p:sp>
        <p:sp>
          <p:nvSpPr>
            <p:cNvPr id="235" name="Ellipse 69">
              <a:extLst>
                <a:ext uri="{FF2B5EF4-FFF2-40B4-BE49-F238E27FC236}">
                  <a16:creationId xmlns:a16="http://schemas.microsoft.com/office/drawing/2014/main" id="{C52A05F3-590C-4A88-AB45-38AA70EE8127}"/>
                </a:ext>
              </a:extLst>
            </p:cNvPr>
            <p:cNvSpPr/>
            <p:nvPr/>
          </p:nvSpPr>
          <p:spPr bwMode="auto">
            <a:xfrm>
              <a:off x="1236210" y="2498190"/>
              <a:ext cx="108173" cy="103013"/>
            </a:xfrm>
            <a:prstGeom prst="ellips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de-DE"/>
              </a:defPPr>
              <a:lvl1pPr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defTabSz="914361" eaLnBrk="0" hangingPunct="0"/>
              <a:endParaRPr lang="en-US" dirty="0">
                <a:latin typeface="Calibri" panose="020F0502020204030204" pitchFamily="34" charset="0"/>
                <a:ea typeface="ＭＳ Ｐゴシック" pitchFamily="1" charset="-128"/>
                <a:cs typeface="Calibri" panose="020F0502020204030204" pitchFamily="34" charset="0"/>
              </a:endParaRPr>
            </a:p>
          </p:txBody>
        </p:sp>
        <p:sp>
          <p:nvSpPr>
            <p:cNvPr id="236" name="Ellipse 70">
              <a:extLst>
                <a:ext uri="{FF2B5EF4-FFF2-40B4-BE49-F238E27FC236}">
                  <a16:creationId xmlns:a16="http://schemas.microsoft.com/office/drawing/2014/main" id="{C52A05F3-590C-4A88-AB45-38AA70EE8127}"/>
                </a:ext>
              </a:extLst>
            </p:cNvPr>
            <p:cNvSpPr/>
            <p:nvPr/>
          </p:nvSpPr>
          <p:spPr bwMode="auto">
            <a:xfrm>
              <a:off x="1153473" y="2114824"/>
              <a:ext cx="108173" cy="103013"/>
            </a:xfrm>
            <a:prstGeom prst="ellips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de-DE"/>
              </a:defPPr>
              <a:lvl1pPr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defTabSz="914361" eaLnBrk="0" hangingPunct="0"/>
              <a:endParaRPr lang="en-US" dirty="0">
                <a:latin typeface="Calibri" panose="020F0502020204030204" pitchFamily="34" charset="0"/>
                <a:ea typeface="ＭＳ Ｐゴシック" pitchFamily="1" charset="-128"/>
                <a:cs typeface="Calibri" panose="020F0502020204030204" pitchFamily="34" charset="0"/>
              </a:endParaRPr>
            </a:p>
          </p:txBody>
        </p:sp>
        <p:sp>
          <p:nvSpPr>
            <p:cNvPr id="237" name="Ellipse 73">
              <a:extLst>
                <a:ext uri="{FF2B5EF4-FFF2-40B4-BE49-F238E27FC236}">
                  <a16:creationId xmlns:a16="http://schemas.microsoft.com/office/drawing/2014/main" id="{C52A05F3-590C-4A88-AB45-38AA70EE8127}"/>
                </a:ext>
              </a:extLst>
            </p:cNvPr>
            <p:cNvSpPr/>
            <p:nvPr/>
          </p:nvSpPr>
          <p:spPr bwMode="auto">
            <a:xfrm>
              <a:off x="1006977" y="2373591"/>
              <a:ext cx="108173" cy="103013"/>
            </a:xfrm>
            <a:prstGeom prst="ellips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de-DE"/>
              </a:defPPr>
              <a:lvl1pPr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defTabSz="914361" eaLnBrk="0" hangingPunct="0"/>
              <a:endParaRPr lang="en-US" dirty="0">
                <a:latin typeface="Calibri" panose="020F0502020204030204" pitchFamily="34" charset="0"/>
                <a:ea typeface="ＭＳ Ｐゴシック" pitchFamily="1" charset="-128"/>
                <a:cs typeface="Calibri" panose="020F0502020204030204" pitchFamily="34" charset="0"/>
              </a:endParaRPr>
            </a:p>
          </p:txBody>
        </p:sp>
        <p:cxnSp>
          <p:nvCxnSpPr>
            <p:cNvPr id="238" name="Gerader Verbinder 4"/>
            <p:cNvCxnSpPr>
              <a:endCxn id="243" idx="28"/>
            </p:cNvCxnSpPr>
            <p:nvPr/>
          </p:nvCxnSpPr>
          <p:spPr bwMode="auto">
            <a:xfrm>
              <a:off x="1234678" y="2187471"/>
              <a:ext cx="67646" cy="101687"/>
            </a:xfrm>
            <a:prstGeom prst="line">
              <a:avLst/>
            </a:prstGeom>
            <a:grpFill/>
            <a:ln w="19050" cap="flat" cmpd="sng" algn="ctr">
              <a:solidFill>
                <a:schemeClr val="accent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9" name="Gerader Verbinder 74"/>
            <p:cNvCxnSpPr>
              <a:stCxn id="243" idx="6"/>
            </p:cNvCxnSpPr>
            <p:nvPr/>
          </p:nvCxnSpPr>
          <p:spPr bwMode="auto">
            <a:xfrm>
              <a:off x="1362099" y="2376178"/>
              <a:ext cx="185946" cy="103128"/>
            </a:xfrm>
            <a:prstGeom prst="line">
              <a:avLst/>
            </a:prstGeom>
            <a:grpFill/>
            <a:ln w="19050" cap="flat" cmpd="sng" algn="ctr">
              <a:solidFill>
                <a:schemeClr val="accent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0" name="Gerader Verbinder 9"/>
            <p:cNvCxnSpPr>
              <a:endCxn id="243" idx="3"/>
            </p:cNvCxnSpPr>
            <p:nvPr/>
          </p:nvCxnSpPr>
          <p:spPr bwMode="auto">
            <a:xfrm flipV="1">
              <a:off x="1089227" y="2376178"/>
              <a:ext cx="251144" cy="29129"/>
            </a:xfrm>
            <a:prstGeom prst="line">
              <a:avLst/>
            </a:prstGeom>
            <a:grpFill/>
            <a:ln w="19050" cap="flat" cmpd="sng" algn="ctr">
              <a:solidFill>
                <a:schemeClr val="accent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1" name="Gerader Verbinder 14"/>
            <p:cNvCxnSpPr>
              <a:endCxn id="243" idx="28"/>
            </p:cNvCxnSpPr>
            <p:nvPr/>
          </p:nvCxnSpPr>
          <p:spPr bwMode="auto">
            <a:xfrm flipV="1">
              <a:off x="1289348" y="2289158"/>
              <a:ext cx="12976" cy="217818"/>
            </a:xfrm>
            <a:prstGeom prst="line">
              <a:avLst/>
            </a:prstGeom>
            <a:grpFill/>
            <a:ln w="19050" cap="flat" cmpd="sng" algn="ctr">
              <a:solidFill>
                <a:schemeClr val="accent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2" name="Gerader Verbinder 76"/>
            <p:cNvCxnSpPr>
              <a:endCxn id="243" idx="11"/>
            </p:cNvCxnSpPr>
            <p:nvPr/>
          </p:nvCxnSpPr>
          <p:spPr bwMode="auto">
            <a:xfrm flipH="1">
              <a:off x="1404051" y="2190067"/>
              <a:ext cx="80099" cy="99091"/>
            </a:xfrm>
            <a:prstGeom prst="line">
              <a:avLst/>
            </a:prstGeom>
            <a:grpFill/>
            <a:ln w="19050" cap="flat" cmpd="sng" algn="ctr">
              <a:solidFill>
                <a:schemeClr val="accent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3" name="Freihandform: Form 78">
              <a:extLst>
                <a:ext uri="{FF2B5EF4-FFF2-40B4-BE49-F238E27FC236}">
                  <a16:creationId xmlns:a16="http://schemas.microsoft.com/office/drawing/2014/main" id="{9FB3DB32-B479-4E21-A101-A9B9726230DA}"/>
                </a:ext>
              </a:extLst>
            </p:cNvPr>
            <p:cNvSpPr/>
            <p:nvPr/>
          </p:nvSpPr>
          <p:spPr bwMode="auto">
            <a:xfrm>
              <a:off x="1227838" y="2153366"/>
              <a:ext cx="252000" cy="252000"/>
            </a:xfrm>
            <a:custGeom>
              <a:avLst/>
              <a:gdLst>
                <a:gd name="connsiteX0" fmla="*/ 1239682 w 3340605"/>
                <a:gd name="connsiteY0" fmla="*/ 1699012 h 3564756"/>
                <a:gd name="connsiteX1" fmla="*/ 1242173 w 3340605"/>
                <a:gd name="connsiteY1" fmla="*/ 1699012 h 3564756"/>
                <a:gd name="connsiteX2" fmla="*/ 1591085 w 3340605"/>
                <a:gd name="connsiteY2" fmla="*/ 2100134 h 3564756"/>
                <a:gd name="connsiteX3" fmla="*/ 1491781 w 3340605"/>
                <a:gd name="connsiteY3" fmla="*/ 3151871 h 3564756"/>
                <a:gd name="connsiteX4" fmla="*/ 1491783 w 3340605"/>
                <a:gd name="connsiteY4" fmla="*/ 3151871 h 3564756"/>
                <a:gd name="connsiteX5" fmla="*/ 1635798 w 3340605"/>
                <a:gd name="connsiteY5" fmla="*/ 3385896 h 3564756"/>
                <a:gd name="connsiteX6" fmla="*/ 1779814 w 3340605"/>
                <a:gd name="connsiteY6" fmla="*/ 3151871 h 3564756"/>
                <a:gd name="connsiteX7" fmla="*/ 1779814 w 3340605"/>
                <a:gd name="connsiteY7" fmla="*/ 3151870 h 3564756"/>
                <a:gd name="connsiteX8" fmla="*/ 1680082 w 3340605"/>
                <a:gd name="connsiteY8" fmla="*/ 2095586 h 3564756"/>
                <a:gd name="connsiteX9" fmla="*/ 2025037 w 3340605"/>
                <a:gd name="connsiteY9" fmla="*/ 1699012 h 3564756"/>
                <a:gd name="connsiteX10" fmla="*/ 2083672 w 3340605"/>
                <a:gd name="connsiteY10" fmla="*/ 1699012 h 3564756"/>
                <a:gd name="connsiteX11" fmla="*/ 2335946 w 3340605"/>
                <a:gd name="connsiteY11" fmla="*/ 1920892 h 3564756"/>
                <a:gd name="connsiteX12" fmla="*/ 2354037 w 3340605"/>
                <a:gd name="connsiteY12" fmla="*/ 1920892 h 3564756"/>
                <a:gd name="connsiteX13" fmla="*/ 2926827 w 3340605"/>
                <a:gd name="connsiteY13" fmla="*/ 2149952 h 3564756"/>
                <a:gd name="connsiteX14" fmla="*/ 2943953 w 3340605"/>
                <a:gd name="connsiteY14" fmla="*/ 2149952 h 3564756"/>
                <a:gd name="connsiteX15" fmla="*/ 3317210 w 3340605"/>
                <a:gd name="connsiteY15" fmla="*/ 3220499 h 3564756"/>
                <a:gd name="connsiteX16" fmla="*/ 3323143 w 3340605"/>
                <a:gd name="connsiteY16" fmla="*/ 3224499 h 3564756"/>
                <a:gd name="connsiteX17" fmla="*/ 3340605 w 3340605"/>
                <a:gd name="connsiteY17" fmla="*/ 3266657 h 3564756"/>
                <a:gd name="connsiteX18" fmla="*/ 3340605 w 3340605"/>
                <a:gd name="connsiteY18" fmla="*/ 3287599 h 3564756"/>
                <a:gd name="connsiteX19" fmla="*/ 3340605 w 3340605"/>
                <a:gd name="connsiteY19" fmla="*/ 3564756 h 3564756"/>
                <a:gd name="connsiteX20" fmla="*/ 0 w 3340605"/>
                <a:gd name="connsiteY20" fmla="*/ 3564756 h 3564756"/>
                <a:gd name="connsiteX21" fmla="*/ 0 w 3340605"/>
                <a:gd name="connsiteY21" fmla="*/ 3287599 h 3564756"/>
                <a:gd name="connsiteX22" fmla="*/ 0 w 3340605"/>
                <a:gd name="connsiteY22" fmla="*/ 3266657 h 3564756"/>
                <a:gd name="connsiteX23" fmla="*/ 17463 w 3340605"/>
                <a:gd name="connsiteY23" fmla="*/ 3224499 h 3564756"/>
                <a:gd name="connsiteX24" fmla="*/ 23395 w 3340605"/>
                <a:gd name="connsiteY24" fmla="*/ 3220499 h 3564756"/>
                <a:gd name="connsiteX25" fmla="*/ 396652 w 3340605"/>
                <a:gd name="connsiteY25" fmla="*/ 2149952 h 3564756"/>
                <a:gd name="connsiteX26" fmla="*/ 413778 w 3340605"/>
                <a:gd name="connsiteY26" fmla="*/ 2149952 h 3564756"/>
                <a:gd name="connsiteX27" fmla="*/ 986569 w 3340605"/>
                <a:gd name="connsiteY27" fmla="*/ 1920892 h 3564756"/>
                <a:gd name="connsiteX28" fmla="*/ 987409 w 3340605"/>
                <a:gd name="connsiteY28" fmla="*/ 1920892 h 3564756"/>
                <a:gd name="connsiteX29" fmla="*/ 1634996 w 3340605"/>
                <a:gd name="connsiteY29" fmla="*/ 1 h 3564756"/>
                <a:gd name="connsiteX30" fmla="*/ 2276488 w 3340605"/>
                <a:gd name="connsiteY30" fmla="*/ 441397 h 3564756"/>
                <a:gd name="connsiteX31" fmla="*/ 2291642 w 3340605"/>
                <a:gd name="connsiteY31" fmla="*/ 548854 h 3564756"/>
                <a:gd name="connsiteX32" fmla="*/ 2292422 w 3340605"/>
                <a:gd name="connsiteY32" fmla="*/ 548854 h 3564756"/>
                <a:gd name="connsiteX33" fmla="*/ 2292422 w 3340605"/>
                <a:gd name="connsiteY33" fmla="*/ 874757 h 3564756"/>
                <a:gd name="connsiteX34" fmla="*/ 2290715 w 3340605"/>
                <a:gd name="connsiteY34" fmla="*/ 874757 h 3564756"/>
                <a:gd name="connsiteX35" fmla="*/ 2289060 w 3340605"/>
                <a:gd name="connsiteY35" fmla="*/ 926737 h 3564756"/>
                <a:gd name="connsiteX36" fmla="*/ 2058584 w 3340605"/>
                <a:gd name="connsiteY36" fmla="*/ 1551747 h 3564756"/>
                <a:gd name="connsiteX37" fmla="*/ 1216822 w 3340605"/>
                <a:gd name="connsiteY37" fmla="*/ 1561484 h 3564756"/>
                <a:gd name="connsiteX38" fmla="*/ 978906 w 3340605"/>
                <a:gd name="connsiteY38" fmla="*/ 936845 h 3564756"/>
                <a:gd name="connsiteX39" fmla="*/ 976477 w 3340605"/>
                <a:gd name="connsiteY39" fmla="*/ 874757 h 3564756"/>
                <a:gd name="connsiteX40" fmla="*/ 974787 w 3340605"/>
                <a:gd name="connsiteY40" fmla="*/ 874757 h 3564756"/>
                <a:gd name="connsiteX41" fmla="*/ 974787 w 3340605"/>
                <a:gd name="connsiteY41" fmla="*/ 548854 h 3564756"/>
                <a:gd name="connsiteX42" fmla="*/ 975210 w 3340605"/>
                <a:gd name="connsiteY42" fmla="*/ 548854 h 3564756"/>
                <a:gd name="connsiteX43" fmla="*/ 991531 w 3340605"/>
                <a:gd name="connsiteY43" fmla="*/ 438349 h 3564756"/>
                <a:gd name="connsiteX44" fmla="*/ 1634996 w 3340605"/>
                <a:gd name="connsiteY44" fmla="*/ 1 h 356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340605" h="3564756">
                  <a:moveTo>
                    <a:pt x="1239682" y="1699012"/>
                  </a:moveTo>
                  <a:lnTo>
                    <a:pt x="1242173" y="1699012"/>
                  </a:lnTo>
                  <a:lnTo>
                    <a:pt x="1591085" y="2100134"/>
                  </a:lnTo>
                  <a:lnTo>
                    <a:pt x="1491781" y="3151871"/>
                  </a:lnTo>
                  <a:lnTo>
                    <a:pt x="1491783" y="3151871"/>
                  </a:lnTo>
                  <a:lnTo>
                    <a:pt x="1635798" y="3385896"/>
                  </a:lnTo>
                  <a:lnTo>
                    <a:pt x="1779814" y="3151871"/>
                  </a:lnTo>
                  <a:lnTo>
                    <a:pt x="1779814" y="3151870"/>
                  </a:lnTo>
                  <a:lnTo>
                    <a:pt x="1680082" y="2095586"/>
                  </a:lnTo>
                  <a:lnTo>
                    <a:pt x="2025037" y="1699012"/>
                  </a:lnTo>
                  <a:lnTo>
                    <a:pt x="2083672" y="1699012"/>
                  </a:lnTo>
                  <a:lnTo>
                    <a:pt x="2335946" y="1920892"/>
                  </a:lnTo>
                  <a:lnTo>
                    <a:pt x="2354037" y="1920892"/>
                  </a:lnTo>
                  <a:lnTo>
                    <a:pt x="2926827" y="2149952"/>
                  </a:lnTo>
                  <a:lnTo>
                    <a:pt x="2943953" y="2149952"/>
                  </a:lnTo>
                  <a:lnTo>
                    <a:pt x="3317210" y="3220499"/>
                  </a:lnTo>
                  <a:lnTo>
                    <a:pt x="3323143" y="3224499"/>
                  </a:lnTo>
                  <a:cubicBezTo>
                    <a:pt x="3333932" y="3235288"/>
                    <a:pt x="3340605" y="3250193"/>
                    <a:pt x="3340605" y="3266657"/>
                  </a:cubicBezTo>
                  <a:lnTo>
                    <a:pt x="3340605" y="3287599"/>
                  </a:lnTo>
                  <a:lnTo>
                    <a:pt x="3340605" y="3564756"/>
                  </a:lnTo>
                  <a:lnTo>
                    <a:pt x="0" y="3564756"/>
                  </a:lnTo>
                  <a:lnTo>
                    <a:pt x="0" y="3287599"/>
                  </a:lnTo>
                  <a:lnTo>
                    <a:pt x="0" y="3266657"/>
                  </a:lnTo>
                  <a:cubicBezTo>
                    <a:pt x="0" y="3250193"/>
                    <a:pt x="6673" y="3235288"/>
                    <a:pt x="17463" y="3224499"/>
                  </a:cubicBezTo>
                  <a:lnTo>
                    <a:pt x="23395" y="3220499"/>
                  </a:lnTo>
                  <a:lnTo>
                    <a:pt x="396652" y="2149952"/>
                  </a:lnTo>
                  <a:lnTo>
                    <a:pt x="413778" y="2149952"/>
                  </a:lnTo>
                  <a:lnTo>
                    <a:pt x="986569" y="1920892"/>
                  </a:lnTo>
                  <a:lnTo>
                    <a:pt x="987409" y="1920892"/>
                  </a:lnTo>
                  <a:close/>
                  <a:moveTo>
                    <a:pt x="1634996" y="1"/>
                  </a:moveTo>
                  <a:cubicBezTo>
                    <a:pt x="1948055" y="569"/>
                    <a:pt x="2210583" y="188694"/>
                    <a:pt x="2276488" y="441397"/>
                  </a:cubicBezTo>
                  <a:lnTo>
                    <a:pt x="2291642" y="548854"/>
                  </a:lnTo>
                  <a:lnTo>
                    <a:pt x="2292422" y="548854"/>
                  </a:lnTo>
                  <a:lnTo>
                    <a:pt x="2292422" y="874757"/>
                  </a:lnTo>
                  <a:lnTo>
                    <a:pt x="2290715" y="874757"/>
                  </a:lnTo>
                  <a:lnTo>
                    <a:pt x="2289060" y="926737"/>
                  </a:lnTo>
                  <a:cubicBezTo>
                    <a:pt x="2271914" y="1168583"/>
                    <a:pt x="2189872" y="1393200"/>
                    <a:pt x="2058584" y="1551747"/>
                  </a:cubicBezTo>
                  <a:cubicBezTo>
                    <a:pt x="1816218" y="1844435"/>
                    <a:pt x="1462465" y="1848527"/>
                    <a:pt x="1216822" y="1561484"/>
                  </a:cubicBezTo>
                  <a:cubicBezTo>
                    <a:pt x="1082793" y="1404866"/>
                    <a:pt x="998008" y="1180127"/>
                    <a:pt x="978906" y="936845"/>
                  </a:cubicBezTo>
                  <a:lnTo>
                    <a:pt x="976477" y="874757"/>
                  </a:lnTo>
                  <a:lnTo>
                    <a:pt x="974787" y="874757"/>
                  </a:lnTo>
                  <a:lnTo>
                    <a:pt x="974787" y="548854"/>
                  </a:lnTo>
                  <a:lnTo>
                    <a:pt x="975210" y="548854"/>
                  </a:lnTo>
                  <a:lnTo>
                    <a:pt x="991531" y="438349"/>
                  </a:lnTo>
                  <a:cubicBezTo>
                    <a:pt x="1058996" y="186215"/>
                    <a:pt x="1322276" y="-566"/>
                    <a:pt x="1634996" y="1"/>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61" eaLnBrk="0" fontAlgn="base" hangingPunct="0">
                <a:spcBef>
                  <a:spcPct val="0"/>
                </a:spcBef>
                <a:spcAft>
                  <a:spcPct val="0"/>
                </a:spcAft>
              </a:pPr>
              <a:endParaRPr lang="en-US" sz="2400" dirty="0">
                <a:latin typeface="Calibri" panose="020F0502020204030204" pitchFamily="34" charset="0"/>
                <a:ea typeface="ＭＳ Ｐゴシック" pitchFamily="1" charset="-128"/>
                <a:cs typeface="Calibri" panose="020F0502020204030204" pitchFamily="34" charset="0"/>
              </a:endParaRPr>
            </a:p>
          </p:txBody>
        </p:sp>
      </p:grpSp>
      <p:sp>
        <p:nvSpPr>
          <p:cNvPr id="244" name="Freihandform: Form 51">
            <a:extLst>
              <a:ext uri="{FF2B5EF4-FFF2-40B4-BE49-F238E27FC236}">
                <a16:creationId xmlns:a16="http://schemas.microsoft.com/office/drawing/2014/main" id="{CACFC551-EF1B-4985-A905-F5A496F940B0}"/>
              </a:ext>
            </a:extLst>
          </p:cNvPr>
          <p:cNvSpPr/>
          <p:nvPr/>
        </p:nvSpPr>
        <p:spPr bwMode="auto">
          <a:xfrm>
            <a:off x="1624408" y="5025647"/>
            <a:ext cx="439347" cy="334027"/>
          </a:xfrm>
          <a:custGeom>
            <a:avLst/>
            <a:gdLst>
              <a:gd name="connsiteX0" fmla="*/ 3276364 w 3960440"/>
              <a:gd name="connsiteY0" fmla="*/ 1103062 h 2471214"/>
              <a:gd name="connsiteX1" fmla="*/ 3960440 w 3960440"/>
              <a:gd name="connsiteY1" fmla="*/ 1787138 h 2471214"/>
              <a:gd name="connsiteX2" fmla="*/ 3276364 w 3960440"/>
              <a:gd name="connsiteY2" fmla="*/ 2471214 h 2471214"/>
              <a:gd name="connsiteX3" fmla="*/ 2646046 w 3960440"/>
              <a:gd name="connsiteY3" fmla="*/ 2053412 h 2471214"/>
              <a:gd name="connsiteX4" fmla="*/ 2616086 w 3960440"/>
              <a:gd name="connsiteY4" fmla="*/ 1956897 h 2471214"/>
              <a:gd name="connsiteX5" fmla="*/ 2911275 w 3960440"/>
              <a:gd name="connsiteY5" fmla="*/ 1956897 h 2471214"/>
              <a:gd name="connsiteX6" fmla="*/ 3333061 w 3960440"/>
              <a:gd name="connsiteY6" fmla="*/ 1535111 h 2471214"/>
              <a:gd name="connsiteX7" fmla="*/ 3075453 w 3960440"/>
              <a:gd name="connsiteY7" fmla="*/ 1146471 h 2471214"/>
              <a:gd name="connsiteX8" fmla="*/ 3059442 w 3960440"/>
              <a:gd name="connsiteY8" fmla="*/ 1141501 h 2471214"/>
              <a:gd name="connsiteX9" fmla="*/ 3138499 w 3960440"/>
              <a:gd name="connsiteY9" fmla="*/ 1116960 h 2471214"/>
              <a:gd name="connsiteX10" fmla="*/ 3276364 w 3960440"/>
              <a:gd name="connsiteY10" fmla="*/ 1103062 h 2471214"/>
              <a:gd name="connsiteX11" fmla="*/ 86364 w 3960440"/>
              <a:gd name="connsiteY11" fmla="*/ 382982 h 2471214"/>
              <a:gd name="connsiteX12" fmla="*/ 377310 w 3960440"/>
              <a:gd name="connsiteY12" fmla="*/ 382982 h 2471214"/>
              <a:gd name="connsiteX13" fmla="*/ 463674 w 3960440"/>
              <a:gd name="connsiteY13" fmla="*/ 469346 h 2471214"/>
              <a:gd name="connsiteX14" fmla="*/ 463674 w 3960440"/>
              <a:gd name="connsiteY14" fmla="*/ 1736778 h 2471214"/>
              <a:gd name="connsiteX15" fmla="*/ 377310 w 3960440"/>
              <a:gd name="connsiteY15" fmla="*/ 1823142 h 2471214"/>
              <a:gd name="connsiteX16" fmla="*/ 86364 w 3960440"/>
              <a:gd name="connsiteY16" fmla="*/ 1823142 h 2471214"/>
              <a:gd name="connsiteX17" fmla="*/ 0 w 3960440"/>
              <a:gd name="connsiteY17" fmla="*/ 1736778 h 2471214"/>
              <a:gd name="connsiteX18" fmla="*/ 0 w 3960440"/>
              <a:gd name="connsiteY18" fmla="*/ 469346 h 2471214"/>
              <a:gd name="connsiteX19" fmla="*/ 86364 w 3960440"/>
              <a:gd name="connsiteY19" fmla="*/ 382982 h 2471214"/>
              <a:gd name="connsiteX20" fmla="*/ 2360207 w 3960440"/>
              <a:gd name="connsiteY20" fmla="*/ 33 h 2471214"/>
              <a:gd name="connsiteX21" fmla="*/ 2641724 w 3960440"/>
              <a:gd name="connsiteY21" fmla="*/ 127033 h 2471214"/>
              <a:gd name="connsiteX22" fmla="*/ 2984624 w 3960440"/>
              <a:gd name="connsiteY22" fmla="*/ 510149 h 2471214"/>
              <a:gd name="connsiteX23" fmla="*/ 3293657 w 3960440"/>
              <a:gd name="connsiteY23" fmla="*/ 941949 h 2471214"/>
              <a:gd name="connsiteX24" fmla="*/ 3306435 w 3960440"/>
              <a:gd name="connsiteY24" fmla="*/ 961437 h 2471214"/>
              <a:gd name="connsiteX25" fmla="*/ 3276272 w 3960440"/>
              <a:gd name="connsiteY25" fmla="*/ 959914 h 2471214"/>
              <a:gd name="connsiteX26" fmla="*/ 2813329 w 3960440"/>
              <a:gd name="connsiteY26" fmla="*/ 1101339 h 2471214"/>
              <a:gd name="connsiteX27" fmla="*/ 2762942 w 3960440"/>
              <a:gd name="connsiteY27" fmla="*/ 1142917 h 2471214"/>
              <a:gd name="connsiteX28" fmla="*/ 2743324 w 3960440"/>
              <a:gd name="connsiteY28" fmla="*/ 1123983 h 2471214"/>
              <a:gd name="connsiteX29" fmla="*/ 2510491 w 3960440"/>
              <a:gd name="connsiteY29" fmla="*/ 980049 h 2471214"/>
              <a:gd name="connsiteX30" fmla="*/ 2328457 w 3960440"/>
              <a:gd name="connsiteY30" fmla="*/ 742983 h 2471214"/>
              <a:gd name="connsiteX31" fmla="*/ 2233208 w 3960440"/>
              <a:gd name="connsiteY31" fmla="*/ 980050 h 2471214"/>
              <a:gd name="connsiteX32" fmla="*/ 2010957 w 3960440"/>
              <a:gd name="connsiteY32" fmla="*/ 1221349 h 2471214"/>
              <a:gd name="connsiteX33" fmla="*/ 1985265 w 3960440"/>
              <a:gd name="connsiteY33" fmla="*/ 1250199 h 2471214"/>
              <a:gd name="connsiteX34" fmla="*/ 2016224 w 3960440"/>
              <a:gd name="connsiteY34" fmla="*/ 1247078 h 2471214"/>
              <a:gd name="connsiteX35" fmla="*/ 2880320 w 3960440"/>
              <a:gd name="connsiteY35" fmla="*/ 1247078 h 2471214"/>
              <a:gd name="connsiteX36" fmla="*/ 3168352 w 3960440"/>
              <a:gd name="connsiteY36" fmla="*/ 1535110 h 2471214"/>
              <a:gd name="connsiteX37" fmla="*/ 2880320 w 3960440"/>
              <a:gd name="connsiteY37" fmla="*/ 1823142 h 2471214"/>
              <a:gd name="connsiteX38" fmla="*/ 2058544 w 3960440"/>
              <a:gd name="connsiteY38" fmla="*/ 1823142 h 2471214"/>
              <a:gd name="connsiteX39" fmla="*/ 2033414 w 3960440"/>
              <a:gd name="connsiteY39" fmla="*/ 1836721 h 2471214"/>
              <a:gd name="connsiteX40" fmla="*/ 1981324 w 3960440"/>
              <a:gd name="connsiteY40" fmla="*/ 1858466 h 2471214"/>
              <a:gd name="connsiteX41" fmla="*/ 1604557 w 3960440"/>
              <a:gd name="connsiteY41" fmla="*/ 1962183 h 2471214"/>
              <a:gd name="connsiteX42" fmla="*/ 1079625 w 3960440"/>
              <a:gd name="connsiteY42" fmla="*/ 1898683 h 2471214"/>
              <a:gd name="connsiteX43" fmla="*/ 594907 w 3960440"/>
              <a:gd name="connsiteY43" fmla="*/ 1595999 h 2471214"/>
              <a:gd name="connsiteX44" fmla="*/ 594907 w 3960440"/>
              <a:gd name="connsiteY44" fmla="*/ 499566 h 2471214"/>
              <a:gd name="connsiteX45" fmla="*/ 867957 w 3960440"/>
              <a:gd name="connsiteY45" fmla="*/ 484749 h 2471214"/>
              <a:gd name="connsiteX46" fmla="*/ 1445807 w 3960440"/>
              <a:gd name="connsiteY46" fmla="*/ 287899 h 2471214"/>
              <a:gd name="connsiteX47" fmla="*/ 1924174 w 3960440"/>
              <a:gd name="connsiteY47" fmla="*/ 116449 h 2471214"/>
              <a:gd name="connsiteX48" fmla="*/ 2360207 w 3960440"/>
              <a:gd name="connsiteY48" fmla="*/ 33 h 247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60440" h="2471214">
                <a:moveTo>
                  <a:pt x="3276364" y="1103062"/>
                </a:moveTo>
                <a:cubicBezTo>
                  <a:pt x="3654169" y="1103062"/>
                  <a:pt x="3960440" y="1409333"/>
                  <a:pt x="3960440" y="1787138"/>
                </a:cubicBezTo>
                <a:cubicBezTo>
                  <a:pt x="3960440" y="2164943"/>
                  <a:pt x="3654169" y="2471214"/>
                  <a:pt x="3276364" y="2471214"/>
                </a:cubicBezTo>
                <a:cubicBezTo>
                  <a:pt x="2993011" y="2471214"/>
                  <a:pt x="2749895" y="2298937"/>
                  <a:pt x="2646046" y="2053412"/>
                </a:cubicBezTo>
                <a:lnTo>
                  <a:pt x="2616086" y="1956897"/>
                </a:lnTo>
                <a:lnTo>
                  <a:pt x="2911275" y="1956897"/>
                </a:lnTo>
                <a:cubicBezTo>
                  <a:pt x="3144221" y="1956897"/>
                  <a:pt x="3333061" y="1768057"/>
                  <a:pt x="3333061" y="1535111"/>
                </a:cubicBezTo>
                <a:cubicBezTo>
                  <a:pt x="3333061" y="1360401"/>
                  <a:pt x="3226838" y="1210501"/>
                  <a:pt x="3075453" y="1146471"/>
                </a:cubicBezTo>
                <a:lnTo>
                  <a:pt x="3059442" y="1141501"/>
                </a:lnTo>
                <a:lnTo>
                  <a:pt x="3138499" y="1116960"/>
                </a:lnTo>
                <a:cubicBezTo>
                  <a:pt x="3183031" y="1107848"/>
                  <a:pt x="3229139" y="1103062"/>
                  <a:pt x="3276364" y="1103062"/>
                </a:cubicBezTo>
                <a:close/>
                <a:moveTo>
                  <a:pt x="86364" y="382982"/>
                </a:moveTo>
                <a:lnTo>
                  <a:pt x="377310" y="382982"/>
                </a:lnTo>
                <a:cubicBezTo>
                  <a:pt x="425008" y="382982"/>
                  <a:pt x="463674" y="421648"/>
                  <a:pt x="463674" y="469346"/>
                </a:cubicBezTo>
                <a:lnTo>
                  <a:pt x="463674" y="1736778"/>
                </a:lnTo>
                <a:cubicBezTo>
                  <a:pt x="463674" y="1784476"/>
                  <a:pt x="425008" y="1823142"/>
                  <a:pt x="377310" y="1823142"/>
                </a:cubicBezTo>
                <a:lnTo>
                  <a:pt x="86364" y="1823142"/>
                </a:lnTo>
                <a:cubicBezTo>
                  <a:pt x="38666" y="1823142"/>
                  <a:pt x="0" y="1784476"/>
                  <a:pt x="0" y="1736778"/>
                </a:cubicBezTo>
                <a:lnTo>
                  <a:pt x="0" y="469346"/>
                </a:lnTo>
                <a:cubicBezTo>
                  <a:pt x="0" y="421648"/>
                  <a:pt x="38666" y="382982"/>
                  <a:pt x="86364" y="382982"/>
                </a:cubicBezTo>
                <a:close/>
                <a:moveTo>
                  <a:pt x="2360207" y="33"/>
                </a:moveTo>
                <a:cubicBezTo>
                  <a:pt x="2479799" y="1797"/>
                  <a:pt x="2537655" y="42014"/>
                  <a:pt x="2641724" y="127033"/>
                </a:cubicBezTo>
                <a:cubicBezTo>
                  <a:pt x="2745794" y="212052"/>
                  <a:pt x="2875969" y="374330"/>
                  <a:pt x="2984624" y="510149"/>
                </a:cubicBezTo>
                <a:cubicBezTo>
                  <a:pt x="3093279" y="645968"/>
                  <a:pt x="3229099" y="843524"/>
                  <a:pt x="3293657" y="941949"/>
                </a:cubicBezTo>
                <a:lnTo>
                  <a:pt x="3306435" y="961437"/>
                </a:lnTo>
                <a:lnTo>
                  <a:pt x="3276272" y="959914"/>
                </a:lnTo>
                <a:cubicBezTo>
                  <a:pt x="3104788" y="959914"/>
                  <a:pt x="2945479" y="1012051"/>
                  <a:pt x="2813329" y="1101339"/>
                </a:cubicBezTo>
                <a:lnTo>
                  <a:pt x="2762942" y="1142917"/>
                </a:lnTo>
                <a:lnTo>
                  <a:pt x="2743324" y="1123983"/>
                </a:lnTo>
                <a:cubicBezTo>
                  <a:pt x="2681588" y="1077416"/>
                  <a:pt x="2579635" y="1043549"/>
                  <a:pt x="2510491" y="980049"/>
                </a:cubicBezTo>
                <a:cubicBezTo>
                  <a:pt x="2441347" y="916549"/>
                  <a:pt x="2364087" y="738749"/>
                  <a:pt x="2328457" y="742983"/>
                </a:cubicBezTo>
                <a:cubicBezTo>
                  <a:pt x="2292827" y="747217"/>
                  <a:pt x="2286125" y="900322"/>
                  <a:pt x="2233208" y="980050"/>
                </a:cubicBezTo>
                <a:cubicBezTo>
                  <a:pt x="2180291" y="1059778"/>
                  <a:pt x="2055760" y="1167021"/>
                  <a:pt x="2010957" y="1221349"/>
                </a:cubicBezTo>
                <a:lnTo>
                  <a:pt x="1985265" y="1250199"/>
                </a:lnTo>
                <a:lnTo>
                  <a:pt x="2016224" y="1247078"/>
                </a:lnTo>
                <a:lnTo>
                  <a:pt x="2880320" y="1247078"/>
                </a:lnTo>
                <a:cubicBezTo>
                  <a:pt x="3039396" y="1247078"/>
                  <a:pt x="3168352" y="1376034"/>
                  <a:pt x="3168352" y="1535110"/>
                </a:cubicBezTo>
                <a:cubicBezTo>
                  <a:pt x="3168352" y="1694186"/>
                  <a:pt x="3039396" y="1823142"/>
                  <a:pt x="2880320" y="1823142"/>
                </a:cubicBezTo>
                <a:lnTo>
                  <a:pt x="2058544" y="1823142"/>
                </a:lnTo>
                <a:lnTo>
                  <a:pt x="2033414" y="1836721"/>
                </a:lnTo>
                <a:cubicBezTo>
                  <a:pt x="2019336" y="1842834"/>
                  <a:pt x="2002314" y="1849470"/>
                  <a:pt x="1981324" y="1858466"/>
                </a:cubicBezTo>
                <a:cubicBezTo>
                  <a:pt x="1897363" y="1894449"/>
                  <a:pt x="1754840" y="1955480"/>
                  <a:pt x="1604557" y="1962183"/>
                </a:cubicBezTo>
                <a:cubicBezTo>
                  <a:pt x="1454274" y="1968886"/>
                  <a:pt x="1247900" y="1959714"/>
                  <a:pt x="1079625" y="1898683"/>
                </a:cubicBezTo>
                <a:cubicBezTo>
                  <a:pt x="911350" y="1837652"/>
                  <a:pt x="782938" y="1830243"/>
                  <a:pt x="594907" y="1595999"/>
                </a:cubicBezTo>
                <a:cubicBezTo>
                  <a:pt x="593143" y="570122"/>
                  <a:pt x="598083" y="716524"/>
                  <a:pt x="594907" y="499566"/>
                </a:cubicBezTo>
                <a:cubicBezTo>
                  <a:pt x="712382" y="498508"/>
                  <a:pt x="726140" y="520027"/>
                  <a:pt x="867957" y="484749"/>
                </a:cubicBezTo>
                <a:cubicBezTo>
                  <a:pt x="1009774" y="449471"/>
                  <a:pt x="1269771" y="349282"/>
                  <a:pt x="1445807" y="287899"/>
                </a:cubicBezTo>
                <a:cubicBezTo>
                  <a:pt x="1621843" y="226516"/>
                  <a:pt x="1771774" y="164427"/>
                  <a:pt x="1924174" y="116449"/>
                </a:cubicBezTo>
                <a:cubicBezTo>
                  <a:pt x="2076574" y="68471"/>
                  <a:pt x="2240615" y="-1731"/>
                  <a:pt x="2360207" y="33"/>
                </a:cubicBezTo>
                <a:close/>
              </a:path>
            </a:pathLst>
          </a:cu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61" eaLnBrk="0" fontAlgn="base" hangingPunct="0">
              <a:spcBef>
                <a:spcPct val="0"/>
              </a:spcBef>
              <a:spcAft>
                <a:spcPct val="0"/>
              </a:spcAft>
            </a:pPr>
            <a:endParaRPr lang="en-US" sz="2400">
              <a:latin typeface="Calibri" panose="020F0502020204030204" pitchFamily="34" charset="0"/>
              <a:ea typeface="ＭＳ Ｐゴシック" pitchFamily="1" charset="-128"/>
              <a:cs typeface="Calibri" panose="020F0502020204030204" pitchFamily="34" charset="0"/>
            </a:endParaRPr>
          </a:p>
        </p:txBody>
      </p:sp>
      <p:sp>
        <p:nvSpPr>
          <p:cNvPr id="246" name="Rechteck 44"/>
          <p:cNvSpPr/>
          <p:nvPr/>
        </p:nvSpPr>
        <p:spPr>
          <a:xfrm>
            <a:off x="6337144" y="5280576"/>
            <a:ext cx="2851307" cy="12976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accent1">
                    <a:lumMod val="75000"/>
                  </a:schemeClr>
                </a:solidFill>
                <a:latin typeface="Calibri" panose="020F0502020204030204" pitchFamily="34" charset="0"/>
                <a:cs typeface="Calibri" panose="020F0502020204030204" pitchFamily="34" charset="0"/>
              </a:rPr>
              <a:t>Training sessions to get fully prepared for business in order to hit the ground running, as well as </a:t>
            </a:r>
            <a:r>
              <a:rPr lang="en-US" sz="1200" dirty="0" err="1">
                <a:solidFill>
                  <a:schemeClr val="accent1">
                    <a:lumMod val="75000"/>
                  </a:schemeClr>
                </a:solidFill>
                <a:latin typeface="Calibri" panose="020F0502020204030204" pitchFamily="34" charset="0"/>
                <a:cs typeface="Calibri" panose="020F0502020204030204" pitchFamily="34" charset="0"/>
              </a:rPr>
              <a:t>secondment</a:t>
            </a:r>
            <a:r>
              <a:rPr lang="en-US" sz="1200" dirty="0">
                <a:solidFill>
                  <a:schemeClr val="accent1">
                    <a:lumMod val="75000"/>
                  </a:schemeClr>
                </a:solidFill>
                <a:latin typeface="Calibri" panose="020F0502020204030204" pitchFamily="34" charset="0"/>
                <a:cs typeface="Calibri" panose="020F0502020204030204" pitchFamily="34" charset="0"/>
              </a:rPr>
              <a:t> &amp; workspace opportunities in key cities in Brazil and Europe.</a:t>
            </a:r>
            <a:endParaRPr lang="de-DE" sz="1200" dirty="0">
              <a:solidFill>
                <a:schemeClr val="accent1">
                  <a:lumMod val="75000"/>
                </a:schemeClr>
              </a:solidFill>
              <a:latin typeface="Calibri" panose="020F0502020204030204" pitchFamily="34" charset="0"/>
              <a:cs typeface="Calibri" panose="020F0502020204030204" pitchFamily="34" charset="0"/>
            </a:endParaRPr>
          </a:p>
        </p:txBody>
      </p:sp>
      <p:sp>
        <p:nvSpPr>
          <p:cNvPr id="247" name="TextBox 166"/>
          <p:cNvSpPr txBox="1"/>
          <p:nvPr/>
        </p:nvSpPr>
        <p:spPr>
          <a:xfrm>
            <a:off x="6359185" y="5167261"/>
            <a:ext cx="2175216" cy="156435"/>
          </a:xfrm>
          <a:prstGeom prst="rect">
            <a:avLst/>
          </a:prstGeom>
          <a:noFill/>
        </p:spPr>
        <p:txBody>
          <a:bodyPr wrap="square" lIns="68580" tIns="34290" rIns="68580" bIns="34290" rtlCol="0">
            <a:noAutofit/>
          </a:bodyPr>
          <a:lstStyle/>
          <a:p>
            <a:r>
              <a:rPr lang="en-GB" sz="1600" b="1" cap="small" dirty="0">
                <a:solidFill>
                  <a:schemeClr val="accent1">
                    <a:lumMod val="75000"/>
                  </a:schemeClr>
                </a:solidFill>
                <a:latin typeface="Calibri" panose="020F0502020204030204" pitchFamily="34" charset="0"/>
                <a:cs typeface="Calibri" panose="020F0502020204030204" pitchFamily="34" charset="0"/>
              </a:rPr>
              <a:t>GET GOING!</a:t>
            </a:r>
          </a:p>
        </p:txBody>
      </p:sp>
      <p:sp>
        <p:nvSpPr>
          <p:cNvPr id="248" name="Freihandform: Form 39">
            <a:extLst>
              <a:ext uri="{FF2B5EF4-FFF2-40B4-BE49-F238E27FC236}">
                <a16:creationId xmlns:a16="http://schemas.microsoft.com/office/drawing/2014/main" id="{073A3DAF-C542-4842-8C64-3098C07057E9}"/>
              </a:ext>
            </a:extLst>
          </p:cNvPr>
          <p:cNvSpPr/>
          <p:nvPr/>
        </p:nvSpPr>
        <p:spPr bwMode="auto">
          <a:xfrm>
            <a:off x="5614593" y="3465089"/>
            <a:ext cx="465191" cy="425856"/>
          </a:xfrm>
          <a:custGeom>
            <a:avLst/>
            <a:gdLst>
              <a:gd name="connsiteX0" fmla="*/ 788438 w 3775592"/>
              <a:gd name="connsiteY0" fmla="*/ 2922720 h 3399150"/>
              <a:gd name="connsiteX1" fmla="*/ 793150 w 3775592"/>
              <a:gd name="connsiteY1" fmla="*/ 2934096 h 3399150"/>
              <a:gd name="connsiteX2" fmla="*/ 793150 w 3775592"/>
              <a:gd name="connsiteY2" fmla="*/ 3365903 h 3399150"/>
              <a:gd name="connsiteX3" fmla="*/ 759903 w 3775592"/>
              <a:gd name="connsiteY3" fmla="*/ 3399150 h 3399150"/>
              <a:gd name="connsiteX4" fmla="*/ 443632 w 3775592"/>
              <a:gd name="connsiteY4" fmla="*/ 3399150 h 3399150"/>
              <a:gd name="connsiteX5" fmla="*/ 410385 w 3775592"/>
              <a:gd name="connsiteY5" fmla="*/ 3365903 h 3399150"/>
              <a:gd name="connsiteX6" fmla="*/ 410385 w 3775592"/>
              <a:gd name="connsiteY6" fmla="*/ 3303224 h 3399150"/>
              <a:gd name="connsiteX7" fmla="*/ 1302122 w 3775592"/>
              <a:gd name="connsiteY7" fmla="*/ 2405706 h 3399150"/>
              <a:gd name="connsiteX8" fmla="*/ 1302122 w 3775592"/>
              <a:gd name="connsiteY8" fmla="*/ 3365903 h 3399150"/>
              <a:gd name="connsiteX9" fmla="*/ 1268875 w 3775592"/>
              <a:gd name="connsiteY9" fmla="*/ 3399150 h 3399150"/>
              <a:gd name="connsiteX10" fmla="*/ 952604 w 3775592"/>
              <a:gd name="connsiteY10" fmla="*/ 3399150 h 3399150"/>
              <a:gd name="connsiteX11" fmla="*/ 919357 w 3775592"/>
              <a:gd name="connsiteY11" fmla="*/ 3365903 h 3399150"/>
              <a:gd name="connsiteX12" fmla="*/ 919357 w 3775592"/>
              <a:gd name="connsiteY12" fmla="*/ 2790953 h 3399150"/>
              <a:gd name="connsiteX13" fmla="*/ 1433046 w 3775592"/>
              <a:gd name="connsiteY13" fmla="*/ 2383903 h 3399150"/>
              <a:gd name="connsiteX14" fmla="*/ 1811094 w 3775592"/>
              <a:gd name="connsiteY14" fmla="*/ 2759517 h 3399150"/>
              <a:gd name="connsiteX15" fmla="*/ 1811094 w 3775592"/>
              <a:gd name="connsiteY15" fmla="*/ 3365902 h 3399150"/>
              <a:gd name="connsiteX16" fmla="*/ 1777847 w 3775592"/>
              <a:gd name="connsiteY16" fmla="*/ 3399149 h 3399150"/>
              <a:gd name="connsiteX17" fmla="*/ 1461576 w 3775592"/>
              <a:gd name="connsiteY17" fmla="*/ 3399149 h 3399150"/>
              <a:gd name="connsiteX18" fmla="*/ 1428329 w 3775592"/>
              <a:gd name="connsiteY18" fmla="*/ 3365902 h 3399150"/>
              <a:gd name="connsiteX19" fmla="*/ 1428329 w 3775592"/>
              <a:gd name="connsiteY19" fmla="*/ 2395290 h 3399150"/>
              <a:gd name="connsiteX20" fmla="*/ 2314756 w 3775592"/>
              <a:gd name="connsiteY20" fmla="*/ 2344369 h 3399150"/>
              <a:gd name="connsiteX21" fmla="*/ 2320066 w 3775592"/>
              <a:gd name="connsiteY21" fmla="*/ 2357190 h 3399150"/>
              <a:gd name="connsiteX22" fmla="*/ 2320066 w 3775592"/>
              <a:gd name="connsiteY22" fmla="*/ 3365903 h 3399150"/>
              <a:gd name="connsiteX23" fmla="*/ 2286819 w 3775592"/>
              <a:gd name="connsiteY23" fmla="*/ 3399150 h 3399150"/>
              <a:gd name="connsiteX24" fmla="*/ 1970548 w 3775592"/>
              <a:gd name="connsiteY24" fmla="*/ 3399150 h 3399150"/>
              <a:gd name="connsiteX25" fmla="*/ 1937301 w 3775592"/>
              <a:gd name="connsiteY25" fmla="*/ 3365903 h 3399150"/>
              <a:gd name="connsiteX26" fmla="*/ 1937301 w 3775592"/>
              <a:gd name="connsiteY26" fmla="*/ 2724271 h 3399150"/>
              <a:gd name="connsiteX27" fmla="*/ 2822943 w 3775592"/>
              <a:gd name="connsiteY27" fmla="*/ 1832887 h 3399150"/>
              <a:gd name="connsiteX28" fmla="*/ 2829038 w 3775592"/>
              <a:gd name="connsiteY28" fmla="*/ 1847602 h 3399150"/>
              <a:gd name="connsiteX29" fmla="*/ 2829038 w 3775592"/>
              <a:gd name="connsiteY29" fmla="*/ 3365903 h 3399150"/>
              <a:gd name="connsiteX30" fmla="*/ 2795791 w 3775592"/>
              <a:gd name="connsiteY30" fmla="*/ 3399150 h 3399150"/>
              <a:gd name="connsiteX31" fmla="*/ 2479520 w 3775592"/>
              <a:gd name="connsiteY31" fmla="*/ 3399150 h 3399150"/>
              <a:gd name="connsiteX32" fmla="*/ 2446273 w 3775592"/>
              <a:gd name="connsiteY32" fmla="*/ 3365903 h 3399150"/>
              <a:gd name="connsiteX33" fmla="*/ 2446273 w 3775592"/>
              <a:gd name="connsiteY33" fmla="*/ 2211999 h 3399150"/>
              <a:gd name="connsiteX34" fmla="*/ 3315041 w 3775592"/>
              <a:gd name="connsiteY34" fmla="*/ 1337599 h 3399150"/>
              <a:gd name="connsiteX35" fmla="*/ 3328275 w 3775592"/>
              <a:gd name="connsiteY35" fmla="*/ 1343081 h 3399150"/>
              <a:gd name="connsiteX36" fmla="*/ 3338012 w 3775592"/>
              <a:gd name="connsiteY36" fmla="*/ 1366590 h 3399150"/>
              <a:gd name="connsiteX37" fmla="*/ 3338012 w 3775592"/>
              <a:gd name="connsiteY37" fmla="*/ 3365903 h 3399150"/>
              <a:gd name="connsiteX38" fmla="*/ 3304765 w 3775592"/>
              <a:gd name="connsiteY38" fmla="*/ 3399150 h 3399150"/>
              <a:gd name="connsiteX39" fmla="*/ 2988494 w 3775592"/>
              <a:gd name="connsiteY39" fmla="*/ 3399150 h 3399150"/>
              <a:gd name="connsiteX40" fmla="*/ 2955247 w 3775592"/>
              <a:gd name="connsiteY40" fmla="*/ 3365903 h 3399150"/>
              <a:gd name="connsiteX41" fmla="*/ 2955247 w 3775592"/>
              <a:gd name="connsiteY41" fmla="*/ 1699726 h 3399150"/>
              <a:gd name="connsiteX42" fmla="*/ 1140478 w 3775592"/>
              <a:gd name="connsiteY42" fmla="*/ 1128647 h 3399150"/>
              <a:gd name="connsiteX43" fmla="*/ 880128 w 3775592"/>
              <a:gd name="connsiteY43" fmla="*/ 1390685 h 3399150"/>
              <a:gd name="connsiteX44" fmla="*/ 1341185 w 3775592"/>
              <a:gd name="connsiteY44" fmla="*/ 1848772 h 3399150"/>
              <a:gd name="connsiteX45" fmla="*/ 548312 w 3775592"/>
              <a:gd name="connsiteY45" fmla="*/ 2646786 h 3399150"/>
              <a:gd name="connsiteX46" fmla="*/ 127783 w 3775592"/>
              <a:gd name="connsiteY46" fmla="*/ 2648145 h 3399150"/>
              <a:gd name="connsiteX47" fmla="*/ 87775 w 3775592"/>
              <a:gd name="connsiteY47" fmla="*/ 2608394 h 3399150"/>
              <a:gd name="connsiteX48" fmla="*/ 86416 w 3775592"/>
              <a:gd name="connsiteY48" fmla="*/ 2187865 h 3399150"/>
              <a:gd name="connsiteX49" fmla="*/ 1131367 w 3775592"/>
              <a:gd name="connsiteY49" fmla="*/ 1136138 h 3399150"/>
              <a:gd name="connsiteX50" fmla="*/ 2414112 w 3775592"/>
              <a:gd name="connsiteY50" fmla="*/ 0 h 3399150"/>
              <a:gd name="connsiteX51" fmla="*/ 3755105 w 3775592"/>
              <a:gd name="connsiteY51" fmla="*/ 11821 h 3399150"/>
              <a:gd name="connsiteX52" fmla="*/ 3775592 w 3775592"/>
              <a:gd name="connsiteY52" fmla="*/ 1352709 h 3399150"/>
              <a:gd name="connsiteX53" fmla="*/ 3321400 w 3775592"/>
              <a:gd name="connsiteY53" fmla="*/ 901442 h 3399150"/>
              <a:gd name="connsiteX54" fmla="*/ 1863869 w 3775592"/>
              <a:gd name="connsiteY54" fmla="*/ 2368422 h 3399150"/>
              <a:gd name="connsiteX55" fmla="*/ 1401973 w 3775592"/>
              <a:gd name="connsiteY55" fmla="*/ 1909502 h 3399150"/>
              <a:gd name="connsiteX56" fmla="*/ 1402140 w 3775592"/>
              <a:gd name="connsiteY56" fmla="*/ 1909334 h 3399150"/>
              <a:gd name="connsiteX57" fmla="*/ 1341185 w 3775592"/>
              <a:gd name="connsiteY57" fmla="*/ 1848772 h 3399150"/>
              <a:gd name="connsiteX58" fmla="*/ 880129 w 3775592"/>
              <a:gd name="connsiteY58" fmla="*/ 1390685 h 3399150"/>
              <a:gd name="connsiteX59" fmla="*/ 1140487 w 3775592"/>
              <a:gd name="connsiteY59" fmla="*/ 1128640 h 3399150"/>
              <a:gd name="connsiteX60" fmla="*/ 1140478 w 3775592"/>
              <a:gd name="connsiteY60" fmla="*/ 1128647 h 3399150"/>
              <a:gd name="connsiteX61" fmla="*/ 1341688 w 3775592"/>
              <a:gd name="connsiteY61" fmla="*/ 926132 h 3399150"/>
              <a:gd name="connsiteX62" fmla="*/ 1550764 w 3775592"/>
              <a:gd name="connsiteY62" fmla="*/ 1133860 h 3399150"/>
              <a:gd name="connsiteX63" fmla="*/ 1551896 w 3775592"/>
              <a:gd name="connsiteY63" fmla="*/ 1134780 h 3399150"/>
              <a:gd name="connsiteX64" fmla="*/ 1591905 w 3775592"/>
              <a:gd name="connsiteY64" fmla="*/ 1174531 h 3399150"/>
              <a:gd name="connsiteX65" fmla="*/ 1592831 w 3775592"/>
              <a:gd name="connsiteY65" fmla="*/ 1175657 h 3399150"/>
              <a:gd name="connsiteX66" fmla="*/ 1863700 w 3775592"/>
              <a:gd name="connsiteY66" fmla="*/ 1444781 h 3399150"/>
              <a:gd name="connsiteX67" fmla="*/ 2859504 w 3775592"/>
              <a:gd name="connsiteY67" fmla="*/ 442522 h 3399150"/>
              <a:gd name="connsiteX68" fmla="*/ 3231508 w 3775592"/>
              <a:gd name="connsiteY68" fmla="*/ 812130 h 3399150"/>
              <a:gd name="connsiteX69" fmla="*/ 2859504 w 3775592"/>
              <a:gd name="connsiteY69" fmla="*/ 442522 h 3399150"/>
              <a:gd name="connsiteX70" fmla="*/ 2859504 w 3775592"/>
              <a:gd name="connsiteY70" fmla="*/ 442522 h 33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775592" h="3399150">
                <a:moveTo>
                  <a:pt x="788438" y="2922720"/>
                </a:moveTo>
                <a:lnTo>
                  <a:pt x="793150" y="2934096"/>
                </a:lnTo>
                <a:lnTo>
                  <a:pt x="793150" y="3365903"/>
                </a:lnTo>
                <a:cubicBezTo>
                  <a:pt x="793150" y="3384265"/>
                  <a:pt x="778265" y="3399150"/>
                  <a:pt x="759903" y="3399150"/>
                </a:cubicBezTo>
                <a:lnTo>
                  <a:pt x="443632" y="3399150"/>
                </a:lnTo>
                <a:cubicBezTo>
                  <a:pt x="425270" y="3399150"/>
                  <a:pt x="410385" y="3384265"/>
                  <a:pt x="410385" y="3365903"/>
                </a:cubicBezTo>
                <a:lnTo>
                  <a:pt x="410385" y="3303224"/>
                </a:lnTo>
                <a:close/>
                <a:moveTo>
                  <a:pt x="1302122" y="2405706"/>
                </a:moveTo>
                <a:lnTo>
                  <a:pt x="1302122" y="3365903"/>
                </a:lnTo>
                <a:cubicBezTo>
                  <a:pt x="1302122" y="3384265"/>
                  <a:pt x="1287237" y="3399150"/>
                  <a:pt x="1268875" y="3399150"/>
                </a:cubicBezTo>
                <a:lnTo>
                  <a:pt x="952604" y="3399150"/>
                </a:lnTo>
                <a:cubicBezTo>
                  <a:pt x="934242" y="3399150"/>
                  <a:pt x="919357" y="3384265"/>
                  <a:pt x="919357" y="3365903"/>
                </a:cubicBezTo>
                <a:lnTo>
                  <a:pt x="919357" y="2790953"/>
                </a:lnTo>
                <a:close/>
                <a:moveTo>
                  <a:pt x="1433046" y="2383903"/>
                </a:moveTo>
                <a:lnTo>
                  <a:pt x="1811094" y="2759517"/>
                </a:lnTo>
                <a:lnTo>
                  <a:pt x="1811094" y="3365902"/>
                </a:lnTo>
                <a:cubicBezTo>
                  <a:pt x="1811094" y="3384264"/>
                  <a:pt x="1796209" y="3399149"/>
                  <a:pt x="1777847" y="3399149"/>
                </a:cubicBezTo>
                <a:lnTo>
                  <a:pt x="1461576" y="3399149"/>
                </a:lnTo>
                <a:cubicBezTo>
                  <a:pt x="1443214" y="3399149"/>
                  <a:pt x="1428329" y="3384264"/>
                  <a:pt x="1428329" y="3365902"/>
                </a:cubicBezTo>
                <a:lnTo>
                  <a:pt x="1428329" y="2395290"/>
                </a:lnTo>
                <a:close/>
                <a:moveTo>
                  <a:pt x="2314756" y="2344369"/>
                </a:moveTo>
                <a:lnTo>
                  <a:pt x="2320066" y="2357190"/>
                </a:lnTo>
                <a:lnTo>
                  <a:pt x="2320066" y="3365903"/>
                </a:lnTo>
                <a:cubicBezTo>
                  <a:pt x="2320066" y="3384265"/>
                  <a:pt x="2305181" y="3399150"/>
                  <a:pt x="2286819" y="3399150"/>
                </a:cubicBezTo>
                <a:lnTo>
                  <a:pt x="1970548" y="3399150"/>
                </a:lnTo>
                <a:cubicBezTo>
                  <a:pt x="1952186" y="3399150"/>
                  <a:pt x="1937301" y="3384265"/>
                  <a:pt x="1937301" y="3365903"/>
                </a:cubicBezTo>
                <a:lnTo>
                  <a:pt x="1937301" y="2724271"/>
                </a:lnTo>
                <a:close/>
                <a:moveTo>
                  <a:pt x="2822943" y="1832887"/>
                </a:moveTo>
                <a:lnTo>
                  <a:pt x="2829038" y="1847602"/>
                </a:lnTo>
                <a:lnTo>
                  <a:pt x="2829038" y="3365903"/>
                </a:lnTo>
                <a:cubicBezTo>
                  <a:pt x="2829038" y="3384265"/>
                  <a:pt x="2814153" y="3399150"/>
                  <a:pt x="2795791" y="3399150"/>
                </a:cubicBezTo>
                <a:lnTo>
                  <a:pt x="2479520" y="3399150"/>
                </a:lnTo>
                <a:cubicBezTo>
                  <a:pt x="2461158" y="3399150"/>
                  <a:pt x="2446273" y="3384265"/>
                  <a:pt x="2446273" y="3365903"/>
                </a:cubicBezTo>
                <a:lnTo>
                  <a:pt x="2446273" y="2211999"/>
                </a:lnTo>
                <a:close/>
                <a:moveTo>
                  <a:pt x="3315041" y="1337599"/>
                </a:moveTo>
                <a:lnTo>
                  <a:pt x="3328275" y="1343081"/>
                </a:lnTo>
                <a:cubicBezTo>
                  <a:pt x="3334291" y="1349097"/>
                  <a:pt x="3338012" y="1357409"/>
                  <a:pt x="3338012" y="1366590"/>
                </a:cubicBezTo>
                <a:lnTo>
                  <a:pt x="3338012" y="3365903"/>
                </a:lnTo>
                <a:cubicBezTo>
                  <a:pt x="3338012" y="3384265"/>
                  <a:pt x="3323127" y="3399150"/>
                  <a:pt x="3304765" y="3399150"/>
                </a:cubicBezTo>
                <a:lnTo>
                  <a:pt x="2988494" y="3399150"/>
                </a:lnTo>
                <a:cubicBezTo>
                  <a:pt x="2970132" y="3399150"/>
                  <a:pt x="2955247" y="3384265"/>
                  <a:pt x="2955247" y="3365903"/>
                </a:cubicBezTo>
                <a:lnTo>
                  <a:pt x="2955247" y="1699726"/>
                </a:lnTo>
                <a:close/>
                <a:moveTo>
                  <a:pt x="1140478" y="1128647"/>
                </a:moveTo>
                <a:lnTo>
                  <a:pt x="880128" y="1390685"/>
                </a:lnTo>
                <a:lnTo>
                  <a:pt x="1341185" y="1848772"/>
                </a:lnTo>
                <a:lnTo>
                  <a:pt x="548312" y="2646786"/>
                </a:lnTo>
                <a:cubicBezTo>
                  <a:pt x="432561" y="2763286"/>
                  <a:pt x="244284" y="2763895"/>
                  <a:pt x="127783" y="2648145"/>
                </a:cubicBezTo>
                <a:lnTo>
                  <a:pt x="87775" y="2608394"/>
                </a:lnTo>
                <a:cubicBezTo>
                  <a:pt x="-28726" y="2492643"/>
                  <a:pt x="-29334" y="2304365"/>
                  <a:pt x="86416" y="2187865"/>
                </a:cubicBezTo>
                <a:lnTo>
                  <a:pt x="1131367" y="1136138"/>
                </a:lnTo>
                <a:close/>
                <a:moveTo>
                  <a:pt x="2414112" y="0"/>
                </a:moveTo>
                <a:lnTo>
                  <a:pt x="3755105" y="11821"/>
                </a:lnTo>
                <a:lnTo>
                  <a:pt x="3775592" y="1352709"/>
                </a:lnTo>
                <a:lnTo>
                  <a:pt x="3321400" y="901442"/>
                </a:lnTo>
                <a:lnTo>
                  <a:pt x="1863869" y="2368422"/>
                </a:lnTo>
                <a:lnTo>
                  <a:pt x="1401973" y="1909502"/>
                </a:lnTo>
                <a:lnTo>
                  <a:pt x="1402140" y="1909334"/>
                </a:lnTo>
                <a:lnTo>
                  <a:pt x="1341185" y="1848772"/>
                </a:lnTo>
                <a:lnTo>
                  <a:pt x="880129" y="1390685"/>
                </a:lnTo>
                <a:lnTo>
                  <a:pt x="1140487" y="1128640"/>
                </a:lnTo>
                <a:lnTo>
                  <a:pt x="1140478" y="1128647"/>
                </a:lnTo>
                <a:lnTo>
                  <a:pt x="1341688" y="926132"/>
                </a:lnTo>
                <a:lnTo>
                  <a:pt x="1550764" y="1133860"/>
                </a:lnTo>
                <a:lnTo>
                  <a:pt x="1551896" y="1134780"/>
                </a:lnTo>
                <a:lnTo>
                  <a:pt x="1591905" y="1174531"/>
                </a:lnTo>
                <a:lnTo>
                  <a:pt x="1592831" y="1175657"/>
                </a:lnTo>
                <a:lnTo>
                  <a:pt x="1863700" y="1444781"/>
                </a:lnTo>
                <a:lnTo>
                  <a:pt x="2859504" y="442522"/>
                </a:lnTo>
                <a:lnTo>
                  <a:pt x="3231508" y="812130"/>
                </a:lnTo>
                <a:lnTo>
                  <a:pt x="2859504" y="442522"/>
                </a:lnTo>
                <a:lnTo>
                  <a:pt x="2859504" y="442522"/>
                </a:lnTo>
                <a:close/>
              </a:path>
            </a:pathLst>
          </a:cu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4361" eaLnBrk="0" fontAlgn="base" hangingPunct="0">
              <a:spcBef>
                <a:spcPct val="0"/>
              </a:spcBef>
              <a:spcAft>
                <a:spcPct val="0"/>
              </a:spcAft>
            </a:pPr>
            <a:endParaRPr lang="de-DE" sz="2400">
              <a:latin typeface="Calibri" panose="020F0502020204030204" pitchFamily="34" charset="0"/>
              <a:ea typeface="ＭＳ Ｐゴシック" pitchFamily="1" charset="-128"/>
              <a:cs typeface="Calibri" panose="020F0502020204030204" pitchFamily="34" charset="0"/>
            </a:endParaRPr>
          </a:p>
        </p:txBody>
      </p:sp>
      <p:sp>
        <p:nvSpPr>
          <p:cNvPr id="249" name="Freeform 458"/>
          <p:cNvSpPr>
            <a:spLocks noChangeArrowheads="1"/>
          </p:cNvSpPr>
          <p:nvPr/>
        </p:nvSpPr>
        <p:spPr bwMode="auto">
          <a:xfrm>
            <a:off x="8689400" y="2642732"/>
            <a:ext cx="642114" cy="640703"/>
          </a:xfrm>
          <a:custGeom>
            <a:avLst/>
            <a:gdLst>
              <a:gd name="T0" fmla="*/ 1947 w 1948"/>
              <a:gd name="T1" fmla="*/ 976 h 1946"/>
              <a:gd name="T2" fmla="*/ 1947 w 1948"/>
              <a:gd name="T3" fmla="*/ 976 h 1946"/>
              <a:gd name="T4" fmla="*/ 976 w 1948"/>
              <a:gd name="T5" fmla="*/ 0 h 1946"/>
              <a:gd name="T6" fmla="*/ 0 w 1948"/>
              <a:gd name="T7" fmla="*/ 976 h 1946"/>
              <a:gd name="T8" fmla="*/ 976 w 1948"/>
              <a:gd name="T9" fmla="*/ 1945 h 1946"/>
              <a:gd name="T10" fmla="*/ 1947 w 1948"/>
              <a:gd name="T11" fmla="*/ 976 h 1946"/>
            </a:gdLst>
            <a:ahLst/>
            <a:cxnLst>
              <a:cxn ang="0">
                <a:pos x="T0" y="T1"/>
              </a:cxn>
              <a:cxn ang="0">
                <a:pos x="T2" y="T3"/>
              </a:cxn>
              <a:cxn ang="0">
                <a:pos x="T4" y="T5"/>
              </a:cxn>
              <a:cxn ang="0">
                <a:pos x="T6" y="T7"/>
              </a:cxn>
              <a:cxn ang="0">
                <a:pos x="T8" y="T9"/>
              </a:cxn>
              <a:cxn ang="0">
                <a:pos x="T10" y="T11"/>
              </a:cxn>
            </a:cxnLst>
            <a:rect l="0" t="0" r="r" b="b"/>
            <a:pathLst>
              <a:path w="1948" h="1946">
                <a:moveTo>
                  <a:pt x="1947" y="976"/>
                </a:moveTo>
                <a:lnTo>
                  <a:pt x="1947" y="976"/>
                </a:lnTo>
                <a:cubicBezTo>
                  <a:pt x="1947" y="437"/>
                  <a:pt x="1510" y="0"/>
                  <a:pt x="976" y="0"/>
                </a:cubicBezTo>
                <a:cubicBezTo>
                  <a:pt x="437" y="0"/>
                  <a:pt x="0" y="437"/>
                  <a:pt x="0" y="976"/>
                </a:cubicBezTo>
                <a:cubicBezTo>
                  <a:pt x="0" y="1510"/>
                  <a:pt x="437" y="1945"/>
                  <a:pt x="976" y="1945"/>
                </a:cubicBezTo>
                <a:cubicBezTo>
                  <a:pt x="1510" y="1945"/>
                  <a:pt x="1947" y="1510"/>
                  <a:pt x="1947" y="976"/>
                </a:cubicBezTo>
              </a:path>
            </a:pathLst>
          </a:custGeom>
          <a:solidFill>
            <a:srgbClr val="00B050"/>
          </a:solidFill>
          <a:ln>
            <a:noFill/>
          </a:ln>
          <a:effectLst/>
        </p:spPr>
        <p:txBody>
          <a:bodyPr wrap="none" lIns="68580" tIns="34290" rIns="68580" bIns="34290" anchor="ctr">
            <a:normAutofit/>
          </a:bodyPr>
          <a:lstStyle/>
          <a:p>
            <a:endParaRPr lang="en-US" sz="2700">
              <a:latin typeface="Calibri" panose="020F0502020204030204" pitchFamily="34" charset="0"/>
              <a:cs typeface="Calibri" panose="020F0502020204030204" pitchFamily="34" charset="0"/>
            </a:endParaRPr>
          </a:p>
        </p:txBody>
      </p:sp>
      <p:sp>
        <p:nvSpPr>
          <p:cNvPr id="250" name="TextBox 66"/>
          <p:cNvSpPr txBox="1"/>
          <p:nvPr/>
        </p:nvSpPr>
        <p:spPr>
          <a:xfrm>
            <a:off x="8742080" y="2709300"/>
            <a:ext cx="534225" cy="415471"/>
          </a:xfrm>
          <a:prstGeom prst="rect">
            <a:avLst/>
          </a:prstGeom>
          <a:noFill/>
        </p:spPr>
        <p:txBody>
          <a:bodyPr wrap="none" lIns="137132" tIns="68567" rIns="137132" bIns="68567" rtlCol="0">
            <a:noAutofit/>
          </a:bodyPr>
          <a:lstStyle/>
          <a:p>
            <a:pPr algn="ctr"/>
            <a:r>
              <a:rPr lang="en-US" sz="2400" b="1" dirty="0">
                <a:solidFill>
                  <a:schemeClr val="bg1"/>
                </a:solidFill>
                <a:latin typeface="Calibri" panose="020F0502020204030204" pitchFamily="34" charset="0"/>
                <a:cs typeface="Calibri" panose="020F0502020204030204" pitchFamily="34" charset="0"/>
              </a:rPr>
              <a:t>5</a:t>
            </a:r>
            <a:endParaRPr lang="id-ID" sz="2400" b="1" dirty="0">
              <a:solidFill>
                <a:schemeClr val="bg1"/>
              </a:solidFill>
              <a:latin typeface="Calibri" panose="020F0502020204030204" pitchFamily="34" charset="0"/>
              <a:cs typeface="Calibri" panose="020F0502020204030204" pitchFamily="34" charset="0"/>
            </a:endParaRPr>
          </a:p>
        </p:txBody>
      </p:sp>
      <p:sp>
        <p:nvSpPr>
          <p:cNvPr id="251" name="Freihandform: Form 26">
            <a:extLst>
              <a:ext uri="{FF2B5EF4-FFF2-40B4-BE49-F238E27FC236}">
                <a16:creationId xmlns:a16="http://schemas.microsoft.com/office/drawing/2014/main" id="{F05ECEA2-FE5E-40A4-90BE-99077AB54CDC}"/>
              </a:ext>
            </a:extLst>
          </p:cNvPr>
          <p:cNvSpPr/>
          <p:nvPr/>
        </p:nvSpPr>
        <p:spPr bwMode="auto">
          <a:xfrm>
            <a:off x="6289155" y="1580267"/>
            <a:ext cx="396000" cy="468000"/>
          </a:xfrm>
          <a:custGeom>
            <a:avLst/>
            <a:gdLst>
              <a:gd name="connsiteX0" fmla="*/ 2640083 w 3359902"/>
              <a:gd name="connsiteY0" fmla="*/ 1885757 h 3935691"/>
              <a:gd name="connsiteX1" fmla="*/ 2692506 w 3359902"/>
              <a:gd name="connsiteY1" fmla="*/ 1902763 h 3935691"/>
              <a:gd name="connsiteX2" fmla="*/ 2700543 w 3359902"/>
              <a:gd name="connsiteY2" fmla="*/ 2004280 h 3935691"/>
              <a:gd name="connsiteX3" fmla="*/ 2139663 w 3359902"/>
              <a:gd name="connsiteY3" fmla="*/ 2661605 h 3935691"/>
              <a:gd name="connsiteX4" fmla="*/ 2038146 w 3359902"/>
              <a:gd name="connsiteY4" fmla="*/ 2669642 h 3935691"/>
              <a:gd name="connsiteX5" fmla="*/ 2030109 w 3359902"/>
              <a:gd name="connsiteY5" fmla="*/ 2568125 h 3935691"/>
              <a:gd name="connsiteX6" fmla="*/ 2590989 w 3359902"/>
              <a:gd name="connsiteY6" fmla="*/ 1910800 h 3935691"/>
              <a:gd name="connsiteX7" fmla="*/ 2640083 w 3359902"/>
              <a:gd name="connsiteY7" fmla="*/ 1885757 h 3935691"/>
              <a:gd name="connsiteX8" fmla="*/ 1602508 w 3359902"/>
              <a:gd name="connsiteY8" fmla="*/ 1000418 h 3935691"/>
              <a:gd name="connsiteX9" fmla="*/ 1654931 w 3359902"/>
              <a:gd name="connsiteY9" fmla="*/ 1017424 h 3935691"/>
              <a:gd name="connsiteX10" fmla="*/ 1662968 w 3359902"/>
              <a:gd name="connsiteY10" fmla="*/ 1118941 h 3935691"/>
              <a:gd name="connsiteX11" fmla="*/ 1102088 w 3359902"/>
              <a:gd name="connsiteY11" fmla="*/ 1776265 h 3935691"/>
              <a:gd name="connsiteX12" fmla="*/ 1000571 w 3359902"/>
              <a:gd name="connsiteY12" fmla="*/ 1784302 h 3935691"/>
              <a:gd name="connsiteX13" fmla="*/ 992534 w 3359902"/>
              <a:gd name="connsiteY13" fmla="*/ 1682785 h 3935691"/>
              <a:gd name="connsiteX14" fmla="*/ 1553414 w 3359902"/>
              <a:gd name="connsiteY14" fmla="*/ 1025461 h 3935691"/>
              <a:gd name="connsiteX15" fmla="*/ 1602508 w 3359902"/>
              <a:gd name="connsiteY15" fmla="*/ 1000418 h 3935691"/>
              <a:gd name="connsiteX16" fmla="*/ 839622 w 3359902"/>
              <a:gd name="connsiteY16" fmla="*/ 216024 h 3935691"/>
              <a:gd name="connsiteX17" fmla="*/ 839622 w 3359902"/>
              <a:gd name="connsiteY17" fmla="*/ 2658526 h 3935691"/>
              <a:gd name="connsiteX18" fmla="*/ 1449286 w 3359902"/>
              <a:gd name="connsiteY18" fmla="*/ 2010715 h 3935691"/>
              <a:gd name="connsiteX19" fmla="*/ 1168474 w 3359902"/>
              <a:gd name="connsiteY19" fmla="*/ 1771105 h 3935691"/>
              <a:gd name="connsiteX20" fmla="*/ 1668317 w 3359902"/>
              <a:gd name="connsiteY20" fmla="*/ 1185313 h 3935691"/>
              <a:gd name="connsiteX21" fmla="*/ 2524603 w 3359902"/>
              <a:gd name="connsiteY21" fmla="*/ 1915962 h 3935691"/>
              <a:gd name="connsiteX22" fmla="*/ 2024759 w 3359902"/>
              <a:gd name="connsiteY22" fmla="*/ 2501754 h 3935691"/>
              <a:gd name="connsiteX23" fmla="*/ 1743946 w 3359902"/>
              <a:gd name="connsiteY23" fmla="*/ 2262143 h 3935691"/>
              <a:gd name="connsiteX24" fmla="*/ 839622 w 3359902"/>
              <a:gd name="connsiteY24" fmla="*/ 3432861 h 3935691"/>
              <a:gd name="connsiteX25" fmla="*/ 839622 w 3359902"/>
              <a:gd name="connsiteY25" fmla="*/ 3528392 h 3935691"/>
              <a:gd name="connsiteX26" fmla="*/ 3143878 w 3359902"/>
              <a:gd name="connsiteY26" fmla="*/ 3528392 h 3935691"/>
              <a:gd name="connsiteX27" fmla="*/ 3143878 w 3359902"/>
              <a:gd name="connsiteY27" fmla="*/ 864096 h 3935691"/>
              <a:gd name="connsiteX28" fmla="*/ 2639825 w 3359902"/>
              <a:gd name="connsiteY28" fmla="*/ 864096 h 3935691"/>
              <a:gd name="connsiteX29" fmla="*/ 2495806 w 3359902"/>
              <a:gd name="connsiteY29" fmla="*/ 720077 h 3935691"/>
              <a:gd name="connsiteX30" fmla="*/ 2495806 w 3359902"/>
              <a:gd name="connsiteY30" fmla="*/ 216024 h 3935691"/>
              <a:gd name="connsiteX31" fmla="*/ 784383 w 3359902"/>
              <a:gd name="connsiteY31" fmla="*/ 0 h 3935691"/>
              <a:gd name="connsiteX32" fmla="*/ 2639825 w 3359902"/>
              <a:gd name="connsiteY32" fmla="*/ 0 h 3935691"/>
              <a:gd name="connsiteX33" fmla="*/ 2649602 w 3359902"/>
              <a:gd name="connsiteY33" fmla="*/ 0 h 3935691"/>
              <a:gd name="connsiteX34" fmla="*/ 3359902 w 3359902"/>
              <a:gd name="connsiteY34" fmla="*/ 806455 h 3935691"/>
              <a:gd name="connsiteX35" fmla="*/ 3359902 w 3359902"/>
              <a:gd name="connsiteY35" fmla="*/ 3581176 h 3935691"/>
              <a:gd name="connsiteX36" fmla="*/ 3199117 w 3359902"/>
              <a:gd name="connsiteY36" fmla="*/ 3741961 h 3935691"/>
              <a:gd name="connsiteX37" fmla="*/ 784383 w 3359902"/>
              <a:gd name="connsiteY37" fmla="*/ 3741961 h 3935691"/>
              <a:gd name="connsiteX38" fmla="*/ 670691 w 3359902"/>
              <a:gd name="connsiteY38" fmla="*/ 3694868 h 3935691"/>
              <a:gd name="connsiteX39" fmla="*/ 655099 w 3359902"/>
              <a:gd name="connsiteY39" fmla="*/ 3671742 h 3935691"/>
              <a:gd name="connsiteX40" fmla="*/ 451210 w 3359902"/>
              <a:gd name="connsiteY40" fmla="*/ 3935691 h 3935691"/>
              <a:gd name="connsiteX41" fmla="*/ 0 w 3359902"/>
              <a:gd name="connsiteY41" fmla="*/ 3550684 h 3935691"/>
              <a:gd name="connsiteX42" fmla="*/ 623598 w 3359902"/>
              <a:gd name="connsiteY42" fmla="*/ 2888067 h 3935691"/>
              <a:gd name="connsiteX43" fmla="*/ 623598 w 3359902"/>
              <a:gd name="connsiteY43" fmla="*/ 160785 h 3935691"/>
              <a:gd name="connsiteX44" fmla="*/ 784383 w 3359902"/>
              <a:gd name="connsiteY44" fmla="*/ 0 h 3935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359902" h="3935691">
                <a:moveTo>
                  <a:pt x="2640083" y="1885757"/>
                </a:moveTo>
                <a:cubicBezTo>
                  <a:pt x="2658454" y="1884303"/>
                  <a:pt x="2677379" y="1889856"/>
                  <a:pt x="2692506" y="1902763"/>
                </a:cubicBezTo>
                <a:cubicBezTo>
                  <a:pt x="2722759" y="1928577"/>
                  <a:pt x="2726357" y="1974028"/>
                  <a:pt x="2700543" y="2004280"/>
                </a:cubicBezTo>
                <a:lnTo>
                  <a:pt x="2139663" y="2661605"/>
                </a:lnTo>
                <a:cubicBezTo>
                  <a:pt x="2113849" y="2691857"/>
                  <a:pt x="2068399" y="2695456"/>
                  <a:pt x="2038146" y="2669642"/>
                </a:cubicBezTo>
                <a:cubicBezTo>
                  <a:pt x="2007893" y="2643828"/>
                  <a:pt x="2004295" y="2598377"/>
                  <a:pt x="2030109" y="2568125"/>
                </a:cubicBezTo>
                <a:lnTo>
                  <a:pt x="2590989" y="1910800"/>
                </a:lnTo>
                <a:cubicBezTo>
                  <a:pt x="2603896" y="1895674"/>
                  <a:pt x="2621712" y="1887212"/>
                  <a:pt x="2640083" y="1885757"/>
                </a:cubicBezTo>
                <a:close/>
                <a:moveTo>
                  <a:pt x="1602508" y="1000418"/>
                </a:moveTo>
                <a:cubicBezTo>
                  <a:pt x="1620879" y="998963"/>
                  <a:pt x="1639804" y="1004517"/>
                  <a:pt x="1654931" y="1017424"/>
                </a:cubicBezTo>
                <a:cubicBezTo>
                  <a:pt x="1685183" y="1043239"/>
                  <a:pt x="1688782" y="1088688"/>
                  <a:pt x="1662968" y="1118941"/>
                </a:cubicBezTo>
                <a:lnTo>
                  <a:pt x="1102088" y="1776265"/>
                </a:lnTo>
                <a:cubicBezTo>
                  <a:pt x="1076274" y="1806518"/>
                  <a:pt x="1030824" y="1810116"/>
                  <a:pt x="1000571" y="1784302"/>
                </a:cubicBezTo>
                <a:cubicBezTo>
                  <a:pt x="970319" y="1758489"/>
                  <a:pt x="966720" y="1713038"/>
                  <a:pt x="992534" y="1682785"/>
                </a:cubicBezTo>
                <a:lnTo>
                  <a:pt x="1553414" y="1025461"/>
                </a:lnTo>
                <a:cubicBezTo>
                  <a:pt x="1566321" y="1010335"/>
                  <a:pt x="1584137" y="1001872"/>
                  <a:pt x="1602508" y="1000418"/>
                </a:cubicBezTo>
                <a:close/>
                <a:moveTo>
                  <a:pt x="839622" y="216024"/>
                </a:moveTo>
                <a:lnTo>
                  <a:pt x="839622" y="2658526"/>
                </a:lnTo>
                <a:lnTo>
                  <a:pt x="1449286" y="2010715"/>
                </a:lnTo>
                <a:lnTo>
                  <a:pt x="1168474" y="1771105"/>
                </a:lnTo>
                <a:lnTo>
                  <a:pt x="1668317" y="1185313"/>
                </a:lnTo>
                <a:lnTo>
                  <a:pt x="2524603" y="1915962"/>
                </a:lnTo>
                <a:lnTo>
                  <a:pt x="2024759" y="2501754"/>
                </a:lnTo>
                <a:lnTo>
                  <a:pt x="1743946" y="2262143"/>
                </a:lnTo>
                <a:lnTo>
                  <a:pt x="839622" y="3432861"/>
                </a:lnTo>
                <a:lnTo>
                  <a:pt x="839622" y="3528392"/>
                </a:lnTo>
                <a:lnTo>
                  <a:pt x="3143878" y="3528392"/>
                </a:lnTo>
                <a:lnTo>
                  <a:pt x="3143878" y="864096"/>
                </a:lnTo>
                <a:lnTo>
                  <a:pt x="2639825" y="864096"/>
                </a:lnTo>
                <a:cubicBezTo>
                  <a:pt x="2560286" y="864096"/>
                  <a:pt x="2495806" y="799616"/>
                  <a:pt x="2495806" y="720077"/>
                </a:cubicBezTo>
                <a:lnTo>
                  <a:pt x="2495806" y="216024"/>
                </a:lnTo>
                <a:close/>
                <a:moveTo>
                  <a:pt x="784383" y="0"/>
                </a:moveTo>
                <a:lnTo>
                  <a:pt x="2639825" y="0"/>
                </a:lnTo>
                <a:lnTo>
                  <a:pt x="2649602" y="0"/>
                </a:lnTo>
                <a:lnTo>
                  <a:pt x="3359902" y="806455"/>
                </a:lnTo>
                <a:lnTo>
                  <a:pt x="3359902" y="3581176"/>
                </a:lnTo>
                <a:cubicBezTo>
                  <a:pt x="3359902" y="3669975"/>
                  <a:pt x="3287916" y="3741961"/>
                  <a:pt x="3199117" y="3741961"/>
                </a:cubicBezTo>
                <a:lnTo>
                  <a:pt x="784383" y="3741961"/>
                </a:lnTo>
                <a:cubicBezTo>
                  <a:pt x="739984" y="3741961"/>
                  <a:pt x="699787" y="3723965"/>
                  <a:pt x="670691" y="3694868"/>
                </a:cubicBezTo>
                <a:lnTo>
                  <a:pt x="655099" y="3671742"/>
                </a:lnTo>
                <a:lnTo>
                  <a:pt x="451210" y="3935691"/>
                </a:lnTo>
                <a:lnTo>
                  <a:pt x="0" y="3550684"/>
                </a:lnTo>
                <a:lnTo>
                  <a:pt x="623598" y="2888067"/>
                </a:lnTo>
                <a:lnTo>
                  <a:pt x="623598" y="160785"/>
                </a:lnTo>
                <a:cubicBezTo>
                  <a:pt x="623598" y="71986"/>
                  <a:pt x="695584" y="0"/>
                  <a:pt x="784383" y="0"/>
                </a:cubicBezTo>
                <a:close/>
              </a:path>
            </a:pathLst>
          </a:cu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4361" eaLnBrk="0" fontAlgn="base" hangingPunct="0">
              <a:spcBef>
                <a:spcPct val="0"/>
              </a:spcBef>
              <a:spcAft>
                <a:spcPct val="0"/>
              </a:spcAft>
            </a:pPr>
            <a:endParaRPr lang="de-DE" sz="2400">
              <a:latin typeface="Calibri" panose="020F0502020204030204" pitchFamily="34" charset="0"/>
              <a:ea typeface="ＭＳ Ｐゴシック" pitchFamily="1" charset="-128"/>
              <a:cs typeface="Calibri" panose="020F0502020204030204" pitchFamily="34" charset="0"/>
            </a:endParaRPr>
          </a:p>
        </p:txBody>
      </p:sp>
      <p:pic>
        <p:nvPicPr>
          <p:cNvPr id="2" name="Grafik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91142" y="5209919"/>
            <a:ext cx="511900" cy="337388"/>
          </a:xfrm>
          <a:prstGeom prst="rect">
            <a:avLst/>
          </a:prstGeom>
          <a:solidFill>
            <a:srgbClr val="00B050"/>
          </a:solidFill>
        </p:spPr>
      </p:pic>
      <p:sp>
        <p:nvSpPr>
          <p:cNvPr id="73" name="Titel 1"/>
          <p:cNvSpPr txBox="1">
            <a:spLocks/>
          </p:cNvSpPr>
          <p:nvPr/>
        </p:nvSpPr>
        <p:spPr bwMode="auto">
          <a:xfrm>
            <a:off x="-127000" y="39900"/>
            <a:ext cx="10049197" cy="461665"/>
          </a:xfrm>
          <a:prstGeom prst="rect">
            <a:avLst/>
          </a:prstGeom>
          <a:noFill/>
          <a:ln>
            <a:noFill/>
          </a:ln>
        </p:spPr>
        <p:txBody>
          <a:bodyPr wrap="square" rtlCol="0">
            <a:spAutoFit/>
          </a:bodyPr>
          <a:lstStyle>
            <a:defPPr>
              <a:defRPr lang="es-ES_tradnl"/>
            </a:defPPr>
            <a:lvl1pPr>
              <a:defRPr sz="2400" b="1">
                <a:solidFill>
                  <a:schemeClr val="bg1"/>
                </a:solidFill>
                <a:latin typeface="Calibri" panose="020F0502020204030204" pitchFamily="34" charset="0"/>
                <a:cs typeface="Calibri" panose="020F0502020204030204" pitchFamily="34" charset="0"/>
              </a:defRPr>
            </a:lvl1pPr>
          </a:lstStyle>
          <a:p>
            <a:pPr algn="ctr"/>
            <a:r>
              <a:rPr lang="en-US" dirty="0">
                <a:solidFill>
                  <a:schemeClr val="accent1">
                    <a:lumMod val="75000"/>
                  </a:schemeClr>
                </a:solidFill>
              </a:rPr>
              <a:t>Service Portfolio &amp; Customer Value</a:t>
            </a:r>
          </a:p>
        </p:txBody>
      </p:sp>
      <p:sp>
        <p:nvSpPr>
          <p:cNvPr id="71" name="Rechteck 70"/>
          <p:cNvSpPr/>
          <p:nvPr/>
        </p:nvSpPr>
        <p:spPr>
          <a:xfrm rot="19103707">
            <a:off x="-193035" y="177974"/>
            <a:ext cx="1292370" cy="483579"/>
          </a:xfrm>
          <a:prstGeom prst="rect">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a:solidFill>
                  <a:schemeClr val="bg1"/>
                </a:solidFill>
                <a:latin typeface="Calibri" panose="020F0502020204030204" pitchFamily="34" charset="0"/>
                <a:cs typeface="Calibri" panose="020F0502020204030204" pitchFamily="34" charset="0"/>
              </a:rPr>
              <a:t>How</a:t>
            </a:r>
            <a:r>
              <a:rPr lang="de-DE" sz="1600" b="1" dirty="0">
                <a:solidFill>
                  <a:schemeClr val="bg1"/>
                </a:solidFill>
                <a:latin typeface="Calibri" panose="020F0502020204030204" pitchFamily="34" charset="0"/>
                <a:cs typeface="Calibri" panose="020F0502020204030204" pitchFamily="34" charset="0"/>
              </a:rPr>
              <a:t>?!</a:t>
            </a:r>
          </a:p>
        </p:txBody>
      </p:sp>
      <p:cxnSp>
        <p:nvCxnSpPr>
          <p:cNvPr id="76" name="Straight Connector 21"/>
          <p:cNvCxnSpPr/>
          <p:nvPr/>
        </p:nvCxnSpPr>
        <p:spPr>
          <a:xfrm>
            <a:off x="630195" y="658301"/>
            <a:ext cx="9272165"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21"/>
          <p:cNvCxnSpPr/>
          <p:nvPr/>
        </p:nvCxnSpPr>
        <p:spPr>
          <a:xfrm>
            <a:off x="741408" y="565065"/>
            <a:ext cx="9156077" cy="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sp>
        <p:nvSpPr>
          <p:cNvPr id="3" name="Textfeld 2"/>
          <p:cNvSpPr txBox="1"/>
          <p:nvPr/>
        </p:nvSpPr>
        <p:spPr>
          <a:xfrm>
            <a:off x="3762632" y="772297"/>
            <a:ext cx="1692876" cy="523220"/>
          </a:xfrm>
          <a:prstGeom prst="rect">
            <a:avLst/>
          </a:prstGeom>
          <a:noFill/>
        </p:spPr>
        <p:txBody>
          <a:bodyPr wrap="square" rtlCol="0">
            <a:spAutoFit/>
          </a:bodyPr>
          <a:lstStyle/>
          <a:p>
            <a:pPr algn="ctr"/>
            <a:r>
              <a:rPr lang="de-DE" sz="1400" b="1" dirty="0">
                <a:solidFill>
                  <a:srgbClr val="2E75B6"/>
                </a:solidFill>
                <a:latin typeface="Calibri" panose="020F0502020204030204" pitchFamily="34" charset="0"/>
                <a:cs typeface="Calibri" panose="020F0502020204030204" pitchFamily="34" charset="0"/>
              </a:rPr>
              <a:t>ENRICH in Brazil Experience</a:t>
            </a:r>
          </a:p>
        </p:txBody>
      </p:sp>
      <p:pic>
        <p:nvPicPr>
          <p:cNvPr id="70" name="Picture 2" descr="Regional Centre for Information and Scientific Development Lt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0591" y="6346270"/>
            <a:ext cx="1569299" cy="402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38151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11.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12.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13.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14.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15.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16.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17.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18.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19.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2.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20.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21.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22.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23.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24.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25.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26.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27.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28.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29.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3.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30.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31.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32.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33.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34.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35.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36.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37.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38.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39.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4.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40.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41.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42.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43.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44.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45.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46.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47.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48.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49.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5.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50.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51.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52.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53.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54.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55.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56.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57.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58.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59.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6.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60.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61.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62.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63.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64.xml><?xml version="1.0" encoding="utf-8"?>
<p:tagLst xmlns:a="http://schemas.openxmlformats.org/drawingml/2006/main" xmlns:r="http://schemas.openxmlformats.org/officeDocument/2006/relationships" xmlns:p="http://schemas.openxmlformats.org/presentationml/2006/main">
  <p:tag name="EE4P_TEMPLATESTYLE" val="11"/>
  <p:tag name="EE4P_MAPWIZARD_ID" val="Europe"/>
  <p:tag name="EE4P_MAPWIZARD" val="Europe"/>
</p:tagLst>
</file>

<file path=ppt/tags/tag7.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8.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ags/tag9.xml><?xml version="1.0" encoding="utf-8"?>
<p:tagLst xmlns:a="http://schemas.openxmlformats.org/drawingml/2006/main" xmlns:r="http://schemas.openxmlformats.org/officeDocument/2006/relationships" xmlns:p="http://schemas.openxmlformats.org/presentationml/2006/main">
  <p:tag name="EE4P_MAPWIZARD" val="Brazil"/>
  <p:tag name="EE4P_MAPWIZARD_ID" val="BR"/>
</p:tagLst>
</file>

<file path=ppt/theme/theme1.xml><?xml version="1.0" encoding="utf-8"?>
<a:theme xmlns:a="http://schemas.openxmlformats.org/drawingml/2006/main" name="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ersonalizado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17</TotalTime>
  <Words>1497</Words>
  <Application>Microsoft Office PowerPoint</Application>
  <PresentationFormat>A4 (210x297 mm)</PresentationFormat>
  <Paragraphs>204</Paragraphs>
  <Slides>14</Slides>
  <Notes>14</Notes>
  <HiddenSlides>0</HiddenSlides>
  <MMClips>0</MMClips>
  <ScaleCrop>false</ScaleCrop>
  <HeadingPairs>
    <vt:vector size="8" baseType="variant">
      <vt:variant>
        <vt:lpstr>Használt betűtípusok</vt:lpstr>
      </vt:variant>
      <vt:variant>
        <vt:i4>7</vt:i4>
      </vt:variant>
      <vt:variant>
        <vt:lpstr>Téma</vt:lpstr>
      </vt:variant>
      <vt:variant>
        <vt:i4>1</vt:i4>
      </vt:variant>
      <vt:variant>
        <vt:lpstr>Beágyazott OLE kiszolgálók</vt:lpstr>
      </vt:variant>
      <vt:variant>
        <vt:i4>1</vt:i4>
      </vt:variant>
      <vt:variant>
        <vt:lpstr>Diacímek</vt:lpstr>
      </vt:variant>
      <vt:variant>
        <vt:i4>14</vt:i4>
      </vt:variant>
    </vt:vector>
  </HeadingPairs>
  <TitlesOfParts>
    <vt:vector size="23" baseType="lpstr">
      <vt:lpstr>Arial</vt:lpstr>
      <vt:lpstr>Arial Narrow</vt:lpstr>
      <vt:lpstr>Calibri</vt:lpstr>
      <vt:lpstr>Century Gothic</vt:lpstr>
      <vt:lpstr>Franklin Gothic Book</vt:lpstr>
      <vt:lpstr>Open Sans</vt:lpstr>
      <vt:lpstr>Wingdings</vt:lpstr>
      <vt:lpstr>Diseño personalizado</vt:lpstr>
      <vt:lpstr>Worksheet</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Usuario de Microsoft Office</dc:creator>
  <cp:lastModifiedBy>Zita Buday</cp:lastModifiedBy>
  <cp:revision>132</cp:revision>
  <cp:lastPrinted>2018-05-14T11:50:53Z</cp:lastPrinted>
  <dcterms:created xsi:type="dcterms:W3CDTF">2017-04-18T09:03:18Z</dcterms:created>
  <dcterms:modified xsi:type="dcterms:W3CDTF">2019-10-11T09:54:07Z</dcterms:modified>
</cp:coreProperties>
</file>